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30" r:id="rId5"/>
    <p:sldMasterId id="2147483671" r:id="rId6"/>
    <p:sldMasterId id="2147483741" r:id="rId7"/>
  </p:sldMasterIdLst>
  <p:notesMasterIdLst>
    <p:notesMasterId r:id="rId17"/>
  </p:notesMasterIdLst>
  <p:handoutMasterIdLst>
    <p:handoutMasterId r:id="rId18"/>
  </p:handoutMasterIdLst>
  <p:sldIdLst>
    <p:sldId id="581" r:id="rId8"/>
    <p:sldId id="545" r:id="rId9"/>
    <p:sldId id="428" r:id="rId10"/>
    <p:sldId id="643" r:id="rId11"/>
    <p:sldId id="654" r:id="rId12"/>
    <p:sldId id="264" r:id="rId13"/>
    <p:sldId id="659" r:id="rId14"/>
    <p:sldId id="645" r:id="rId15"/>
    <p:sldId id="557" r:id="rId16"/>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581"/>
          </p14:sldIdLst>
        </p14:section>
        <p14:section name="Content slides" id="{0C749B40-D26C-4827-815A-EF0EDBB1F1D9}">
          <p14:sldIdLst>
            <p14:sldId id="545"/>
            <p14:sldId id="428"/>
            <p14:sldId id="643"/>
            <p14:sldId id="654"/>
            <p14:sldId id="264"/>
            <p14:sldId id="659"/>
            <p14:sldId id="645"/>
          </p14:sldIdLst>
        </p14:section>
        <p14:section name="Graphs and charts" id="{EA9C0D2A-1C38-41A1-B096-1BCE05E56F9D}">
          <p14:sldIdLst/>
        </p14:section>
        <p14:section name="Section Opener options" id="{D3773CD4-779B-43AF-9FBD-7EF941CCFCD7}">
          <p14:sldIdLst/>
        </p14:section>
        <p14:section name="Elements" id="{41708F08-FC16-48B6-A0C3-BF7BEC48C524}">
          <p14:sldIdLst>
            <p14:sldId id="55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m Kettenacker" initials="TK" lastIdx="2" clrIdx="0">
    <p:extLst>
      <p:ext uri="{19B8F6BF-5375-455C-9EA6-DF929625EA0E}">
        <p15:presenceInfo xmlns:p15="http://schemas.microsoft.com/office/powerpoint/2012/main" userId="S::tim.kettenacker@capgemini.com::b81c7b9d-f343-4d96-af3f-df0827e6f4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A91"/>
    <a:srgbClr val="88B2DC"/>
    <a:srgbClr val="F2B796"/>
    <a:srgbClr val="12ABDB"/>
    <a:srgbClr val="F5F4E5"/>
    <a:srgbClr val="00B0E3"/>
    <a:srgbClr val="1AAFD9"/>
    <a:srgbClr val="4701A7"/>
    <a:srgbClr val="0070AD"/>
    <a:srgbClr val="860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9348" autoAdjust="0"/>
  </p:normalViewPr>
  <p:slideViewPr>
    <p:cSldViewPr>
      <p:cViewPr varScale="1">
        <p:scale>
          <a:sx n="77" d="100"/>
          <a:sy n="77" d="100"/>
        </p:scale>
        <p:origin x="192" y="58"/>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859"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2-11-2019</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2/11/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2873804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2545278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336685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3172583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204705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2057695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3700854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3.xml"/><Relationship Id="rId4" Type="http://schemas.openxmlformats.org/officeDocument/2006/relationships/image" Target="../media/image16.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Master" Target="../slideMasters/slideMaster3.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image" Target="../media/image23.emf"/><Relationship Id="rId7" Type="http://schemas.openxmlformats.org/officeDocument/2006/relationships/image" Target="../media/image17.emf"/><Relationship Id="rId2" Type="http://schemas.openxmlformats.org/officeDocument/2006/relationships/image" Target="../media/image22.emf"/><Relationship Id="rId1" Type="http://schemas.openxmlformats.org/officeDocument/2006/relationships/slideMaster" Target="../slideMasters/slideMaster3.xml"/><Relationship Id="rId6" Type="http://schemas.openxmlformats.org/officeDocument/2006/relationships/image" Target="../media/image26.emf"/><Relationship Id="rId11" Type="http://schemas.openxmlformats.org/officeDocument/2006/relationships/image" Target="../media/image27.emf"/><Relationship Id="rId5" Type="http://schemas.openxmlformats.org/officeDocument/2006/relationships/image" Target="../media/image25.emf"/><Relationship Id="rId10" Type="http://schemas.openxmlformats.org/officeDocument/2006/relationships/image" Target="../media/image21.emf"/><Relationship Id="rId4" Type="http://schemas.openxmlformats.org/officeDocument/2006/relationships/image" Target="../media/image24.emf"/><Relationship Id="rId9" Type="http://schemas.openxmlformats.org/officeDocument/2006/relationships/image" Target="../media/image20.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image" Target="../media/image33.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4.emf"/><Relationship Id="rId4" Type="http://schemas.openxmlformats.org/officeDocument/2006/relationships/oleObject" Target="../embeddings/oleObject2.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Cover1">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802731-C8A2-4263-A89B-6BB49DF3D8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11" name="Title 1"/>
          <p:cNvSpPr>
            <a:spLocks noGrp="1"/>
          </p:cNvSpPr>
          <p:nvPr>
            <p:ph type="ctrTitle" hasCustomPrompt="1"/>
          </p:nvPr>
        </p:nvSpPr>
        <p:spPr>
          <a:xfrm>
            <a:off x="407988" y="2050542"/>
            <a:ext cx="523081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14141"/>
            <a:ext cx="523081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Click to insert presenter, location, and date</a:t>
            </a:r>
          </a:p>
        </p:txBody>
      </p:sp>
      <p:pic>
        <p:nvPicPr>
          <p:cNvPr id="9"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7831" y="404813"/>
            <a:ext cx="2286000" cy="510013"/>
          </a:xfrm>
          <a:prstGeom prst="rect">
            <a:avLst/>
          </a:prstGeom>
        </p:spPr>
      </p:pic>
      <p:sp>
        <p:nvSpPr>
          <p:cNvPr id="6" name="Freeform: Shape 5">
            <a:extLst>
              <a:ext uri="{FF2B5EF4-FFF2-40B4-BE49-F238E27FC236}">
                <a16:creationId xmlns:a16="http://schemas.microsoft.com/office/drawing/2014/main" id="{B47A3DBF-43AD-4A88-AD6E-2056A14C5696}"/>
              </a:ext>
            </a:extLst>
          </p:cNvPr>
          <p:cNvSpPr/>
          <p:nvPr userDrawn="1"/>
        </p:nvSpPr>
        <p:spPr>
          <a:xfrm rot="790471">
            <a:off x="7800515" y="4718411"/>
            <a:ext cx="2079875" cy="2237681"/>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9875" h="2237681">
                <a:moveTo>
                  <a:pt x="0" y="1731713"/>
                </a:moveTo>
                <a:cubicBezTo>
                  <a:pt x="650240" y="1254193"/>
                  <a:pt x="1029703" y="669352"/>
                  <a:pt x="1490967" y="100392"/>
                </a:cubicBezTo>
                <a:lnTo>
                  <a:pt x="1856817" y="0"/>
                </a:lnTo>
                <a:lnTo>
                  <a:pt x="2079875" y="484628"/>
                </a:lnTo>
                <a:lnTo>
                  <a:pt x="256032" y="2237681"/>
                </a:lnTo>
                <a:lnTo>
                  <a:pt x="0" y="1731713"/>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35C1FF5-492E-44AE-BDEF-FA0483553B9F}"/>
              </a:ext>
            </a:extLst>
          </p:cNvPr>
          <p:cNvSpPr/>
          <p:nvPr userDrawn="1"/>
        </p:nvSpPr>
        <p:spPr>
          <a:xfrm rot="19453922">
            <a:off x="6864298" y="5119794"/>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1923805345"/>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E6C4BF-093E-46DF-8B6F-DC0B5FE4C8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3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4800" y="678729"/>
            <a:ext cx="8458200" cy="1182207"/>
          </a:xfrm>
          <a:prstGeom prst="rect">
            <a:avLst/>
          </a:prstGeom>
        </p:spPr>
        <p:txBody>
          <a:bodyPr anchor="ctr" anchorCtr="0">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8" name="Graphic 4">
            <a:extLst>
              <a:ext uri="{FF2B5EF4-FFF2-40B4-BE49-F238E27FC236}">
                <a16:creationId xmlns:a16="http://schemas.microsoft.com/office/drawing/2014/main" id="{A7AEEF80-BDB6-4067-A8D0-0741D7BBA2C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6" name="Freeform: Shape 5">
            <a:extLst>
              <a:ext uri="{FF2B5EF4-FFF2-40B4-BE49-F238E27FC236}">
                <a16:creationId xmlns:a16="http://schemas.microsoft.com/office/drawing/2014/main" id="{F41F5ADD-DE0B-4678-90AE-5AB7B99D1076}"/>
              </a:ext>
            </a:extLst>
          </p:cNvPr>
          <p:cNvSpPr/>
          <p:nvPr userDrawn="1"/>
        </p:nvSpPr>
        <p:spPr>
          <a:xfrm>
            <a:off x="9220200" y="3884565"/>
            <a:ext cx="1737360" cy="2048256"/>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7360" h="2048256">
                <a:moveTo>
                  <a:pt x="0" y="1542288"/>
                </a:moveTo>
                <a:cubicBezTo>
                  <a:pt x="650240" y="1064768"/>
                  <a:pt x="1050544" y="568960"/>
                  <a:pt x="1511808" y="0"/>
                </a:cubicBezTo>
                <a:lnTo>
                  <a:pt x="1737360" y="182880"/>
                </a:lnTo>
                <a:lnTo>
                  <a:pt x="1676400" y="871728"/>
                </a:lnTo>
                <a:lnTo>
                  <a:pt x="256032" y="2048256"/>
                </a:lnTo>
                <a:lnTo>
                  <a:pt x="0" y="1542288"/>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463BCD7-AF96-440F-86A6-662A7929CEDC}"/>
              </a:ext>
            </a:extLst>
          </p:cNvPr>
          <p:cNvSpPr/>
          <p:nvPr userDrawn="1"/>
        </p:nvSpPr>
        <p:spPr>
          <a:xfrm rot="18858237">
            <a:off x="8313916" y="4201379"/>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8705220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Section Opener1">
    <p:bg>
      <p:bgPr>
        <a:solidFill>
          <a:schemeClr val="bg1"/>
        </a:solidFill>
        <a:effectLst/>
      </p:bgPr>
    </p:bg>
    <p:spTree>
      <p:nvGrpSpPr>
        <p:cNvPr id="1" name=""/>
        <p:cNvGrpSpPr/>
        <p:nvPr/>
      </p:nvGrpSpPr>
      <p:grpSpPr>
        <a:xfrm>
          <a:off x="0" y="0"/>
          <a:ext cx="0" cy="0"/>
          <a:chOff x="0" y="0"/>
          <a:chExt cx="0" cy="0"/>
        </a:xfrm>
      </p:grpSpPr>
      <p:pic>
        <p:nvPicPr>
          <p:cNvPr id="6" name="Picture 5" descr="A close up of a computer&#10;&#10;Description generated with high confidence">
            <a:extLst>
              <a:ext uri="{FF2B5EF4-FFF2-40B4-BE49-F238E27FC236}">
                <a16:creationId xmlns:a16="http://schemas.microsoft.com/office/drawing/2014/main" id="{3C1C530E-20CC-4EA9-92B1-D6B52EAFD1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3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4800" y="676656"/>
            <a:ext cx="8458200" cy="1182207"/>
          </a:xfrm>
          <a:prstGeom prst="rect">
            <a:avLst/>
          </a:prstGeom>
        </p:spPr>
        <p:txBody>
          <a:bodyPr anchor="ctr" anchorCtr="0">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8" name="Graphic 4">
            <a:extLst>
              <a:ext uri="{FF2B5EF4-FFF2-40B4-BE49-F238E27FC236}">
                <a16:creationId xmlns:a16="http://schemas.microsoft.com/office/drawing/2014/main" id="{A7AEEF80-BDB6-4067-A8D0-0741D7BBA2C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5" name="Freeform: Shape 4">
            <a:extLst>
              <a:ext uri="{FF2B5EF4-FFF2-40B4-BE49-F238E27FC236}">
                <a16:creationId xmlns:a16="http://schemas.microsoft.com/office/drawing/2014/main" id="{1B8FF730-9629-43F6-95F9-5D823479010A}"/>
              </a:ext>
            </a:extLst>
          </p:cNvPr>
          <p:cNvSpPr/>
          <p:nvPr userDrawn="1"/>
        </p:nvSpPr>
        <p:spPr>
          <a:xfrm>
            <a:off x="4389120" y="4846320"/>
            <a:ext cx="2143760" cy="1971040"/>
          </a:xfrm>
          <a:custGeom>
            <a:avLst/>
            <a:gdLst>
              <a:gd name="connsiteX0" fmla="*/ 1960880 w 2235200"/>
              <a:gd name="connsiteY0" fmla="*/ 0 h 1971040"/>
              <a:gd name="connsiteX1" fmla="*/ 0 w 2235200"/>
              <a:gd name="connsiteY1" fmla="*/ 1524000 h 1971040"/>
              <a:gd name="connsiteX2" fmla="*/ 396240 w 2235200"/>
              <a:gd name="connsiteY2" fmla="*/ 1930400 h 1971040"/>
              <a:gd name="connsiteX3" fmla="*/ 731520 w 2235200"/>
              <a:gd name="connsiteY3" fmla="*/ 1971040 h 1971040"/>
              <a:gd name="connsiteX4" fmla="*/ 2235200 w 2235200"/>
              <a:gd name="connsiteY4" fmla="*/ 721360 h 1971040"/>
              <a:gd name="connsiteX5" fmla="*/ 1960880 w 2235200"/>
              <a:gd name="connsiteY5" fmla="*/ 0 h 1971040"/>
              <a:gd name="connsiteX0" fmla="*/ 1960880 w 2143760"/>
              <a:gd name="connsiteY0" fmla="*/ 0 h 1971040"/>
              <a:gd name="connsiteX1" fmla="*/ 0 w 2143760"/>
              <a:gd name="connsiteY1" fmla="*/ 1524000 h 1971040"/>
              <a:gd name="connsiteX2" fmla="*/ 396240 w 2143760"/>
              <a:gd name="connsiteY2" fmla="*/ 1930400 h 1971040"/>
              <a:gd name="connsiteX3" fmla="*/ 731520 w 2143760"/>
              <a:gd name="connsiteY3" fmla="*/ 1971040 h 1971040"/>
              <a:gd name="connsiteX4" fmla="*/ 2143760 w 2143760"/>
              <a:gd name="connsiteY4" fmla="*/ 731520 h 1971040"/>
              <a:gd name="connsiteX5" fmla="*/ 1960880 w 2143760"/>
              <a:gd name="connsiteY5" fmla="*/ 0 h 1971040"/>
              <a:gd name="connsiteX0" fmla="*/ 1960880 w 2143760"/>
              <a:gd name="connsiteY0" fmla="*/ 0 h 1971040"/>
              <a:gd name="connsiteX1" fmla="*/ 0 w 2143760"/>
              <a:gd name="connsiteY1" fmla="*/ 1524000 h 1971040"/>
              <a:gd name="connsiteX2" fmla="*/ 396240 w 2143760"/>
              <a:gd name="connsiteY2" fmla="*/ 1930400 h 1971040"/>
              <a:gd name="connsiteX3" fmla="*/ 731520 w 2143760"/>
              <a:gd name="connsiteY3" fmla="*/ 1971040 h 1971040"/>
              <a:gd name="connsiteX4" fmla="*/ 2143760 w 2143760"/>
              <a:gd name="connsiteY4" fmla="*/ 731520 h 1971040"/>
              <a:gd name="connsiteX5" fmla="*/ 1960880 w 2143760"/>
              <a:gd name="connsiteY5" fmla="*/ 0 h 197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3760" h="1971040">
                <a:moveTo>
                  <a:pt x="1960880" y="0"/>
                </a:moveTo>
                <a:lnTo>
                  <a:pt x="0" y="1524000"/>
                </a:lnTo>
                <a:lnTo>
                  <a:pt x="396240" y="1930400"/>
                </a:lnTo>
                <a:lnTo>
                  <a:pt x="731520" y="1971040"/>
                </a:lnTo>
                <a:cubicBezTo>
                  <a:pt x="1202267" y="1557867"/>
                  <a:pt x="1713653" y="1236133"/>
                  <a:pt x="2143760" y="731520"/>
                </a:cubicBezTo>
                <a:lnTo>
                  <a:pt x="1960880" y="0"/>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EEBE33C-AD9B-427F-AECD-8170875D40FF}"/>
              </a:ext>
            </a:extLst>
          </p:cNvPr>
          <p:cNvSpPr/>
          <p:nvPr userDrawn="1"/>
        </p:nvSpPr>
        <p:spPr>
          <a:xfrm rot="19287543">
            <a:off x="4290686" y="5897877"/>
            <a:ext cx="2486198" cy="339653"/>
          </a:xfrm>
          <a:prstGeom prst="rect">
            <a:avLst/>
          </a:prstGeom>
        </p:spPr>
        <p:txBody>
          <a:bodyPr wrap="none" lIns="0" tIns="0" rIns="0" bIns="0" anchor="t" anchorCtr="1">
            <a:prstTxWarp prst="textArchDown">
              <a:avLst/>
            </a:prstTxWarp>
            <a:noAutofit/>
          </a:bodyPr>
          <a:lstStyle/>
          <a:p>
            <a:pPr algn="ctr"/>
            <a:r>
              <a:rPr lang="en-US" sz="1400" b="1" dirty="0">
                <a:solidFill>
                  <a:schemeClr val="bg1"/>
                </a:solidFill>
                <a:effectLst/>
                <a:latin typeface="+mj-lt"/>
                <a:ea typeface="Calibri" panose="020F0502020204030204" pitchFamily="34" charset="0"/>
              </a:rPr>
              <a:t>INSIGHTS &amp; DATA</a:t>
            </a:r>
            <a:endParaRPr lang="en-US" sz="1400" b="1" dirty="0">
              <a:solidFill>
                <a:schemeClr val="bg1"/>
              </a:solidFill>
              <a:latin typeface="+mj-lt"/>
            </a:endParaRPr>
          </a:p>
        </p:txBody>
      </p:sp>
    </p:spTree>
    <p:extLst>
      <p:ext uri="{BB962C8B-B14F-4D97-AF65-F5344CB8AC3E}">
        <p14:creationId xmlns:p14="http://schemas.microsoft.com/office/powerpoint/2010/main" val="23180894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8_Section Opener1">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man, sky, person, sitting&#10;&#10;Description generated with high confidence">
            <a:extLst>
              <a:ext uri="{FF2B5EF4-FFF2-40B4-BE49-F238E27FC236}">
                <a16:creationId xmlns:a16="http://schemas.microsoft.com/office/drawing/2014/main" id="{39D29661-5659-4AE5-A52A-60B15DEBB5B7}"/>
              </a:ext>
            </a:extLst>
          </p:cNvPr>
          <p:cNvPicPr>
            <a:picLocks noChangeAspect="1"/>
          </p:cNvPicPr>
          <p:nvPr userDrawn="1"/>
        </p:nvPicPr>
        <p:blipFill>
          <a:blip r:embed="rId2">
            <a:extLst>
              <a:ext uri="{28A0092B-C50C-407E-A947-70E740481C1C}">
                <a14:useLocalDpi xmlns:a14="http://schemas.microsoft.com/office/drawing/2010/main" val="0"/>
              </a:ext>
            </a:extLst>
          </a:blip>
          <a:srcRect t="12302" r="18200"/>
          <a:stretch>
            <a:fillRect/>
          </a:stretch>
        </p:blipFill>
        <p:spPr>
          <a:xfrm>
            <a:off x="0" y="2"/>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0 w 12192000"/>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0" h="6857999">
                <a:moveTo>
                  <a:pt x="0" y="0"/>
                </a:moveTo>
                <a:lnTo>
                  <a:pt x="12192000" y="0"/>
                </a:lnTo>
                <a:lnTo>
                  <a:pt x="12192000" y="6857999"/>
                </a:lnTo>
                <a:lnTo>
                  <a:pt x="0" y="6857999"/>
                </a:lnTo>
                <a:close/>
              </a:path>
            </a:pathLst>
          </a:cu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4800" y="739233"/>
            <a:ext cx="8458200" cy="1182207"/>
          </a:xfrm>
          <a:prstGeom prst="rect">
            <a:avLst/>
          </a:prstGeom>
        </p:spPr>
        <p:txBody>
          <a:bodyPr anchor="ctr" anchorCtr="0">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8" name="Graphic 4">
            <a:extLst>
              <a:ext uri="{FF2B5EF4-FFF2-40B4-BE49-F238E27FC236}">
                <a16:creationId xmlns:a16="http://schemas.microsoft.com/office/drawing/2014/main" id="{A7AEEF80-BDB6-4067-A8D0-0741D7BBA2C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6" name="Freeform: Shape 5">
            <a:extLst>
              <a:ext uri="{FF2B5EF4-FFF2-40B4-BE49-F238E27FC236}">
                <a16:creationId xmlns:a16="http://schemas.microsoft.com/office/drawing/2014/main" id="{26129C6E-7535-4708-87FA-DF173770BDF5}"/>
              </a:ext>
            </a:extLst>
          </p:cNvPr>
          <p:cNvSpPr/>
          <p:nvPr userDrawn="1"/>
        </p:nvSpPr>
        <p:spPr>
          <a:xfrm>
            <a:off x="8315227" y="4478454"/>
            <a:ext cx="1737360" cy="2048256"/>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7360" h="2048256">
                <a:moveTo>
                  <a:pt x="0" y="1542288"/>
                </a:moveTo>
                <a:cubicBezTo>
                  <a:pt x="650240" y="1064768"/>
                  <a:pt x="1050544" y="568960"/>
                  <a:pt x="1511808" y="0"/>
                </a:cubicBezTo>
                <a:lnTo>
                  <a:pt x="1737360" y="182880"/>
                </a:lnTo>
                <a:lnTo>
                  <a:pt x="1676400" y="871728"/>
                </a:lnTo>
                <a:lnTo>
                  <a:pt x="256032" y="2048256"/>
                </a:lnTo>
                <a:lnTo>
                  <a:pt x="0" y="1542288"/>
                </a:lnTo>
                <a:close/>
              </a:path>
            </a:pathLst>
          </a:custGeom>
          <a:solidFill>
            <a:srgbClr val="1AA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5811EAB-1302-484C-A9FE-7869B1D16F20}"/>
              </a:ext>
            </a:extLst>
          </p:cNvPr>
          <p:cNvSpPr/>
          <p:nvPr userDrawn="1"/>
        </p:nvSpPr>
        <p:spPr>
          <a:xfrm rot="18646368">
            <a:off x="7408944" y="4738707"/>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1308324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4" name="Freeform 53"/>
          <p:cNvSpPr>
            <a:spLocks/>
          </p:cNvSpPr>
          <p:nvPr userDrawn="1"/>
        </p:nvSpPr>
        <p:spPr bwMode="auto">
          <a:xfrm rot="5400000" flipH="1" flipV="1">
            <a:off x="5677106" y="-1852053"/>
            <a:ext cx="8583089" cy="8953181"/>
          </a:xfrm>
          <a:custGeom>
            <a:avLst/>
            <a:gdLst>
              <a:gd name="T0" fmla="*/ 0 w 508"/>
              <a:gd name="T1" fmla="*/ 475 h 529"/>
              <a:gd name="T2" fmla="*/ 508 w 508"/>
              <a:gd name="T3" fmla="*/ 475 h 529"/>
              <a:gd name="T4" fmla="*/ 508 w 508"/>
              <a:gd name="T5" fmla="*/ 290 h 529"/>
              <a:gd name="T6" fmla="*/ 229 w 508"/>
              <a:gd name="T7" fmla="*/ 364 h 529"/>
              <a:gd name="T8" fmla="*/ 158 w 508"/>
              <a:gd name="T9" fmla="*/ 226 h 529"/>
              <a:gd name="T10" fmla="*/ 162 w 508"/>
              <a:gd name="T11" fmla="*/ 0 h 529"/>
              <a:gd name="T12" fmla="*/ 0 w 508"/>
              <a:gd name="T13" fmla="*/ 25 h 529"/>
              <a:gd name="T14" fmla="*/ 0 w 508"/>
              <a:gd name="T15" fmla="*/ 475 h 5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529">
                <a:moveTo>
                  <a:pt x="0" y="475"/>
                </a:moveTo>
                <a:cubicBezTo>
                  <a:pt x="508" y="475"/>
                  <a:pt x="508" y="475"/>
                  <a:pt x="508" y="475"/>
                </a:cubicBezTo>
                <a:cubicBezTo>
                  <a:pt x="508" y="290"/>
                  <a:pt x="508" y="290"/>
                  <a:pt x="508" y="290"/>
                </a:cubicBezTo>
                <a:cubicBezTo>
                  <a:pt x="508" y="290"/>
                  <a:pt x="427" y="198"/>
                  <a:pt x="229" y="364"/>
                </a:cubicBezTo>
                <a:cubicBezTo>
                  <a:pt x="31" y="529"/>
                  <a:pt x="87" y="338"/>
                  <a:pt x="158" y="226"/>
                </a:cubicBezTo>
                <a:cubicBezTo>
                  <a:pt x="229" y="115"/>
                  <a:pt x="241" y="48"/>
                  <a:pt x="162" y="0"/>
                </a:cubicBezTo>
                <a:cubicBezTo>
                  <a:pt x="49" y="62"/>
                  <a:pt x="12" y="43"/>
                  <a:pt x="0" y="25"/>
                </a:cubicBezTo>
                <a:lnTo>
                  <a:pt x="0" y="47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4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53" name="Rectangle 52"/>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54" name="Rectangle 53"/>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55" name="Rectangle 54"/>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56" name="Rectangle 55"/>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57" name="Rectangle 56"/>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58" name="Rectangle 57"/>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59" name="Rectangle 58"/>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60" name="Rectangle 59"/>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61" name="Rectangle 60"/>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62" name="Rectangle 61"/>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63" name="Rectangle 62"/>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64" name="Rectangle 63"/>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65" name="Rectangle 64"/>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66" name="Rectangle 65"/>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67" name="Rectangle 66"/>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68" name="Rectangle 67"/>
          <p:cNvSpPr/>
          <p:nvPr userDrawn="1"/>
        </p:nvSpPr>
        <p:spPr>
          <a:xfrm>
            <a:off x="14282011" y="3089930"/>
            <a:ext cx="595070" cy="621323"/>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69" name="Rectangle 68"/>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70" name="Rectangle 69"/>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71" name="Rectangle 70"/>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72" name="Rectangle 71"/>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73" name="Rectangle 72"/>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74" name="Rectangle 73"/>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0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Titre 2"/>
          <p:cNvSpPr>
            <a:spLocks noGrp="1"/>
          </p:cNvSpPr>
          <p:nvPr>
            <p:ph type="title"/>
          </p:nvPr>
        </p:nvSpPr>
        <p:spPr>
          <a:xfrm>
            <a:off x="6744000" y="3063172"/>
            <a:ext cx="5171775" cy="722376"/>
          </a:xfrm>
          <a:prstGeom prst="rect">
            <a:avLst/>
          </a:prstGeom>
        </p:spPr>
        <p:txBody>
          <a:bodyPr lIns="0" tIns="0" rIns="0" bIns="0" anchor="ctr" anchorCtr="0">
            <a:noAutofit/>
          </a:bodyPr>
          <a:lstStyle>
            <a:lvl1pPr marL="0" marR="0" indent="0" algn="l" defTabSz="914400" rtl="0" eaLnBrk="1" fontAlgn="auto" latinLnBrk="0" hangingPunct="1">
              <a:lnSpc>
                <a:spcPts val="3000"/>
              </a:lnSpc>
              <a:spcBef>
                <a:spcPct val="0"/>
              </a:spcBef>
              <a:spcAft>
                <a:spcPts val="0"/>
              </a:spcAft>
              <a:buClrTx/>
              <a:buSzTx/>
              <a:buFontTx/>
              <a:buNone/>
              <a:tabLst/>
              <a:defRPr kumimoji="0" lang="en-US" sz="1800" b="0" i="0" u="none" strike="noStrike" kern="1200" cap="none" spc="0" normalizeH="0" baseline="0" noProof="0" dirty="0">
                <a:ln>
                  <a:noFill/>
                </a:ln>
                <a:solidFill>
                  <a:schemeClr val="tx2"/>
                </a:solidFill>
                <a:effectLst/>
                <a:uLnTx/>
                <a:uFillTx/>
                <a:latin typeface="+mj-lt"/>
                <a:ea typeface="+mj-ea"/>
                <a:cs typeface="+mj-cs"/>
              </a:defRPr>
            </a:lvl1pPr>
          </a:lstStyle>
          <a:p>
            <a:r>
              <a:rPr lang="en-US" dirty="0"/>
              <a:t>Click to edit Master title style</a:t>
            </a:r>
          </a:p>
        </p:txBody>
      </p:sp>
      <p:sp>
        <p:nvSpPr>
          <p:cNvPr id="12" name="Retângulo 43">
            <a:extLst>
              <a:ext uri="{FF2B5EF4-FFF2-40B4-BE49-F238E27FC236}">
                <a16:creationId xmlns:a16="http://schemas.microsoft.com/office/drawing/2014/main" id="{7CDE2527-DC17-4A4B-9AFB-4C821B5B1D90}"/>
              </a:ext>
            </a:extLst>
          </p:cNvPr>
          <p:cNvSpPr/>
          <p:nvPr userDrawn="1"/>
        </p:nvSpPr>
        <p:spPr>
          <a:xfrm>
            <a:off x="11665391" y="6555758"/>
            <a:ext cx="360997" cy="215444"/>
          </a:xfrm>
          <a:prstGeom prst="rect">
            <a:avLst/>
          </a:prstGeom>
        </p:spPr>
        <p:txBody>
          <a:bodyPr wrap="none">
            <a:spAutoFit/>
          </a:bodyPr>
          <a:lstStyle/>
          <a:p>
            <a:pPr marL="0" algn="r" defTabSz="914400" rtl="0" eaLnBrk="1" latinLnBrk="0" hangingPunct="1"/>
            <a:fld id="{0502E5A9-B53C-401E-A0E0-4A359BB0A9E5}" type="slidenum">
              <a:rPr lang="en-US" sz="800" kern="1200" smtClean="0">
                <a:solidFill>
                  <a:prstClr val="black">
                    <a:lumMod val="50000"/>
                    <a:lumOff val="50000"/>
                  </a:prstClr>
                </a:solidFill>
                <a:latin typeface="+mn-lt"/>
                <a:ea typeface="+mn-ea"/>
                <a:cs typeface="Arial" panose="020B0604020202020204" pitchFamily="34" charset="0"/>
              </a:rPr>
              <a:pPr marL="0" algn="r" defTabSz="914400" rtl="0" eaLnBrk="1" latinLnBrk="0" hangingPunct="1"/>
              <a:t>‹#›</a:t>
            </a:fld>
            <a:endParaRPr lang="en-US" sz="800" kern="1200" dirty="0">
              <a:solidFill>
                <a:prstClr val="black">
                  <a:lumMod val="50000"/>
                  <a:lumOff val="50000"/>
                </a:prstClr>
              </a:solidFill>
              <a:latin typeface="+mn-lt"/>
              <a:ea typeface="+mn-ea"/>
              <a:cs typeface="Arial" panose="020B0604020202020204" pitchFamily="34" charset="0"/>
            </a:endParaRPr>
          </a:p>
        </p:txBody>
      </p:sp>
      <p:cxnSp>
        <p:nvCxnSpPr>
          <p:cNvPr id="9" name="Conector reto 49">
            <a:extLst>
              <a:ext uri="{FF2B5EF4-FFF2-40B4-BE49-F238E27FC236}">
                <a16:creationId xmlns:a16="http://schemas.microsoft.com/office/drawing/2014/main" id="{19CA658E-1121-4AE1-A6F5-969339796A9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id="{7FA0C7F2-81D5-4104-84AA-36EDE3DEE5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1" name="Retângulo 43">
            <a:extLst>
              <a:ext uri="{FF2B5EF4-FFF2-40B4-BE49-F238E27FC236}">
                <a16:creationId xmlns:a16="http://schemas.microsoft.com/office/drawing/2014/main" id="{7AC3B7E9-ECAD-4B32-B44A-09B2A53FA76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17" name="Group 16">
            <a:extLst>
              <a:ext uri="{FF2B5EF4-FFF2-40B4-BE49-F238E27FC236}">
                <a16:creationId xmlns:a16="http://schemas.microsoft.com/office/drawing/2014/main" id="{7C0EEF34-846B-48C1-83CA-979BBB173B74}"/>
              </a:ext>
            </a:extLst>
          </p:cNvPr>
          <p:cNvGrpSpPr/>
          <p:nvPr userDrawn="1"/>
        </p:nvGrpSpPr>
        <p:grpSpPr>
          <a:xfrm>
            <a:off x="330342" y="530943"/>
            <a:ext cx="5834483" cy="6489282"/>
            <a:chOff x="7069311" y="1395167"/>
            <a:chExt cx="4729906" cy="5260740"/>
          </a:xfrm>
        </p:grpSpPr>
        <p:pic>
          <p:nvPicPr>
            <p:cNvPr id="18" name="Picture 17">
              <a:extLst>
                <a:ext uri="{FF2B5EF4-FFF2-40B4-BE49-F238E27FC236}">
                  <a16:creationId xmlns:a16="http://schemas.microsoft.com/office/drawing/2014/main" id="{067ACC55-F21E-4D47-ACE7-13B7A4F2FAD6}"/>
                </a:ext>
              </a:extLst>
            </p:cNvPr>
            <p:cNvPicPr>
              <a:picLocks noChangeAspect="1"/>
            </p:cNvPicPr>
            <p:nvPr userDrawn="1"/>
          </p:nvPicPr>
          <p:blipFill>
            <a:blip r:embed="rId6"/>
            <a:stretch>
              <a:fillRect/>
            </a:stretch>
          </p:blipFill>
          <p:spPr>
            <a:xfrm>
              <a:off x="7069311" y="1395167"/>
              <a:ext cx="4729906" cy="4788817"/>
            </a:xfrm>
            <a:prstGeom prst="rect">
              <a:avLst/>
            </a:prstGeom>
          </p:spPr>
        </p:pic>
        <p:sp>
          <p:nvSpPr>
            <p:cNvPr id="19" name="Freeform: Shape 18">
              <a:extLst>
                <a:ext uri="{FF2B5EF4-FFF2-40B4-BE49-F238E27FC236}">
                  <a16:creationId xmlns:a16="http://schemas.microsoft.com/office/drawing/2014/main" id="{41FED87E-2BD1-4CDD-B141-40858066A4BB}"/>
                </a:ext>
              </a:extLst>
            </p:cNvPr>
            <p:cNvSpPr/>
            <p:nvPr userDrawn="1"/>
          </p:nvSpPr>
          <p:spPr>
            <a:xfrm rot="4409161">
              <a:off x="7483067" y="4032846"/>
              <a:ext cx="2575625" cy="2670498"/>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610295"/>
                <a:gd name="connsiteY0" fmla="*/ 1731713 h 2237681"/>
                <a:gd name="connsiteX1" fmla="*/ 1490967 w 2610295"/>
                <a:gd name="connsiteY1" fmla="*/ 100392 h 2237681"/>
                <a:gd name="connsiteX2" fmla="*/ 1856817 w 2610295"/>
                <a:gd name="connsiteY2" fmla="*/ 0 h 2237681"/>
                <a:gd name="connsiteX3" fmla="*/ 2610295 w 2610295"/>
                <a:gd name="connsiteY3" fmla="*/ 610899 h 2237681"/>
                <a:gd name="connsiteX4" fmla="*/ 256032 w 2610295"/>
                <a:gd name="connsiteY4" fmla="*/ 2237681 h 2237681"/>
                <a:gd name="connsiteX5" fmla="*/ 0 w 2610295"/>
                <a:gd name="connsiteY5" fmla="*/ 1731713 h 2237681"/>
                <a:gd name="connsiteX0" fmla="*/ 0 w 2610295"/>
                <a:gd name="connsiteY0" fmla="*/ 1838658 h 2344626"/>
                <a:gd name="connsiteX1" fmla="*/ 1490967 w 2610295"/>
                <a:gd name="connsiteY1" fmla="*/ 207337 h 2344626"/>
                <a:gd name="connsiteX2" fmla="*/ 2447427 w 2610295"/>
                <a:gd name="connsiteY2" fmla="*/ 0 h 2344626"/>
                <a:gd name="connsiteX3" fmla="*/ 2610295 w 2610295"/>
                <a:gd name="connsiteY3" fmla="*/ 717844 h 2344626"/>
                <a:gd name="connsiteX4" fmla="*/ 256032 w 2610295"/>
                <a:gd name="connsiteY4" fmla="*/ 2344626 h 2344626"/>
                <a:gd name="connsiteX5" fmla="*/ 0 w 2610295"/>
                <a:gd name="connsiteY5" fmla="*/ 1838658 h 2344626"/>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2178883 h 2684851"/>
                <a:gd name="connsiteX1" fmla="*/ 1623622 w 2610295"/>
                <a:gd name="connsiteY1" fmla="*/ 0 h 2684851"/>
                <a:gd name="connsiteX2" fmla="*/ 2447427 w 2610295"/>
                <a:gd name="connsiteY2" fmla="*/ 340225 h 2684851"/>
                <a:gd name="connsiteX3" fmla="*/ 2610295 w 2610295"/>
                <a:gd name="connsiteY3" fmla="*/ 1058069 h 2684851"/>
                <a:gd name="connsiteX4" fmla="*/ 256032 w 2610295"/>
                <a:gd name="connsiteY4" fmla="*/ 2684851 h 2684851"/>
                <a:gd name="connsiteX5" fmla="*/ 0 w 2610295"/>
                <a:gd name="connsiteY5" fmla="*/ 2178883 h 2684851"/>
                <a:gd name="connsiteX0" fmla="*/ 0 w 2610295"/>
                <a:gd name="connsiteY0" fmla="*/ 2178883 h 2684851"/>
                <a:gd name="connsiteX1" fmla="*/ 1623622 w 2610295"/>
                <a:gd name="connsiteY1" fmla="*/ 0 h 2684851"/>
                <a:gd name="connsiteX2" fmla="*/ 2447427 w 2610295"/>
                <a:gd name="connsiteY2" fmla="*/ 340225 h 2684851"/>
                <a:gd name="connsiteX3" fmla="*/ 2610295 w 2610295"/>
                <a:gd name="connsiteY3" fmla="*/ 1058069 h 2684851"/>
                <a:gd name="connsiteX4" fmla="*/ 256032 w 2610295"/>
                <a:gd name="connsiteY4" fmla="*/ 2684851 h 2684851"/>
                <a:gd name="connsiteX5" fmla="*/ 0 w 2610295"/>
                <a:gd name="connsiteY5" fmla="*/ 2178883 h 2684851"/>
                <a:gd name="connsiteX0" fmla="*/ 0 w 2558945"/>
                <a:gd name="connsiteY0" fmla="*/ 2040277 h 2684851"/>
                <a:gd name="connsiteX1" fmla="*/ 1572272 w 2558945"/>
                <a:gd name="connsiteY1" fmla="*/ 0 h 2684851"/>
                <a:gd name="connsiteX2" fmla="*/ 2396077 w 2558945"/>
                <a:gd name="connsiteY2" fmla="*/ 340225 h 2684851"/>
                <a:gd name="connsiteX3" fmla="*/ 2558945 w 2558945"/>
                <a:gd name="connsiteY3" fmla="*/ 1058069 h 2684851"/>
                <a:gd name="connsiteX4" fmla="*/ 204682 w 2558945"/>
                <a:gd name="connsiteY4" fmla="*/ 2684851 h 2684851"/>
                <a:gd name="connsiteX5" fmla="*/ 0 w 2558945"/>
                <a:gd name="connsiteY5" fmla="*/ 2040277 h 2684851"/>
                <a:gd name="connsiteX0" fmla="*/ 0 w 2558945"/>
                <a:gd name="connsiteY0" fmla="*/ 2040277 h 2684851"/>
                <a:gd name="connsiteX1" fmla="*/ 1572272 w 2558945"/>
                <a:gd name="connsiteY1" fmla="*/ 0 h 2684851"/>
                <a:gd name="connsiteX2" fmla="*/ 2396077 w 2558945"/>
                <a:gd name="connsiteY2" fmla="*/ 340225 h 2684851"/>
                <a:gd name="connsiteX3" fmla="*/ 2558945 w 2558945"/>
                <a:gd name="connsiteY3" fmla="*/ 1058069 h 2684851"/>
                <a:gd name="connsiteX4" fmla="*/ 204682 w 2558945"/>
                <a:gd name="connsiteY4" fmla="*/ 2684851 h 2684851"/>
                <a:gd name="connsiteX5" fmla="*/ 0 w 2558945"/>
                <a:gd name="connsiteY5" fmla="*/ 2040277 h 2684851"/>
                <a:gd name="connsiteX0" fmla="*/ 0 w 2558945"/>
                <a:gd name="connsiteY0" fmla="*/ 2040277 h 2684851"/>
                <a:gd name="connsiteX1" fmla="*/ 1572272 w 2558945"/>
                <a:gd name="connsiteY1" fmla="*/ 0 h 2684851"/>
                <a:gd name="connsiteX2" fmla="*/ 2396077 w 2558945"/>
                <a:gd name="connsiteY2" fmla="*/ 340225 h 2684851"/>
                <a:gd name="connsiteX3" fmla="*/ 2558945 w 2558945"/>
                <a:gd name="connsiteY3" fmla="*/ 1058069 h 2684851"/>
                <a:gd name="connsiteX4" fmla="*/ 204682 w 2558945"/>
                <a:gd name="connsiteY4" fmla="*/ 2684851 h 2684851"/>
                <a:gd name="connsiteX5" fmla="*/ 0 w 2558945"/>
                <a:gd name="connsiteY5" fmla="*/ 2040277 h 2684851"/>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5625" h="2670498">
                  <a:moveTo>
                    <a:pt x="16680" y="2040277"/>
                  </a:moveTo>
                  <a:cubicBezTo>
                    <a:pt x="848775" y="1883309"/>
                    <a:pt x="1628146" y="558983"/>
                    <a:pt x="1588952" y="0"/>
                  </a:cubicBezTo>
                  <a:cubicBezTo>
                    <a:pt x="1863554" y="113408"/>
                    <a:pt x="2107126" y="-49020"/>
                    <a:pt x="2412757" y="340225"/>
                  </a:cubicBezTo>
                  <a:lnTo>
                    <a:pt x="2575625" y="1058069"/>
                  </a:lnTo>
                  <a:cubicBezTo>
                    <a:pt x="1766301" y="1671668"/>
                    <a:pt x="1179002" y="2504924"/>
                    <a:pt x="0" y="2670498"/>
                  </a:cubicBezTo>
                  <a:lnTo>
                    <a:pt x="16680" y="204027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BE3E18A-92BE-4411-BA22-0F009D7EBC0C}"/>
                </a:ext>
              </a:extLst>
            </p:cNvPr>
            <p:cNvSpPr/>
            <p:nvPr userDrawn="1"/>
          </p:nvSpPr>
          <p:spPr>
            <a:xfrm rot="1388834">
              <a:off x="7463206" y="2991061"/>
              <a:ext cx="3351333" cy="2577330"/>
            </a:xfrm>
            <a:prstGeom prst="rect">
              <a:avLst/>
            </a:prstGeom>
          </p:spPr>
          <p:txBody>
            <a:bodyPr wrap="none" lIns="0" tIns="0" rIns="0" bIns="0" anchor="t" anchorCtr="1">
              <a:prstTxWarp prst="textArchDown">
                <a:avLst>
                  <a:gd name="adj" fmla="val 1322338"/>
                </a:avLst>
              </a:prstTxWarp>
              <a:noAutofit/>
            </a:bodyPr>
            <a:lstStyle/>
            <a:p>
              <a:pPr algn="ctr"/>
              <a:r>
                <a:rPr lang="en-US" sz="2800" b="1" dirty="0">
                  <a:solidFill>
                    <a:schemeClr val="accent3"/>
                  </a:solidFill>
                  <a:effectLst/>
                  <a:latin typeface="+mj-lt"/>
                  <a:ea typeface="Calibri" panose="020F0502020204030204" pitchFamily="34" charset="0"/>
                </a:rPr>
                <a:t>INSIGHTS &amp; DATA</a:t>
              </a:r>
              <a:endParaRPr lang="en-US" sz="2800" b="1" dirty="0">
                <a:solidFill>
                  <a:schemeClr val="accent3"/>
                </a:solidFill>
                <a:latin typeface="+mj-lt"/>
              </a:endParaRPr>
            </a:p>
          </p:txBody>
        </p:sp>
      </p:grpSp>
    </p:spTree>
    <p:extLst>
      <p:ext uri="{BB962C8B-B14F-4D97-AF65-F5344CB8AC3E}">
        <p14:creationId xmlns:p14="http://schemas.microsoft.com/office/powerpoint/2010/main" val="33537212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0" name="Conector reto 49">
            <a:extLst>
              <a:ext uri="{FF2B5EF4-FFF2-40B4-BE49-F238E27FC236}">
                <a16:creationId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id="{8BF64989-C8A2-4B4C-80F8-C66B7139AF7B}"/>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Blank-Whit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163BFA-69BB-43A9-A85D-B08FA82FA5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40290"/>
          <a:stretch/>
        </p:blipFill>
        <p:spPr>
          <a:xfrm flipH="1">
            <a:off x="-1899340" y="1701000"/>
            <a:ext cx="13080350" cy="5157000"/>
          </a:xfrm>
          <a:prstGeom prst="rect">
            <a:avLst/>
          </a:prstGeom>
        </p:spPr>
      </p:pic>
      <p:pic>
        <p:nvPicPr>
          <p:cNvPr id="10" name="Picture 9" descr="A picture containing person, cellphone, phone, outdoor&#10;&#10;Description generated with very high confidence">
            <a:extLst>
              <a:ext uri="{FF2B5EF4-FFF2-40B4-BE49-F238E27FC236}">
                <a16:creationId xmlns:a16="http://schemas.microsoft.com/office/drawing/2014/main" id="{73C67C20-7D06-4EAB-B436-AC7CECC1A4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81334" y="1381125"/>
            <a:ext cx="5577266" cy="5476875"/>
          </a:xfrm>
          <a:prstGeom prst="rect">
            <a:avLst/>
          </a:prstGeom>
        </p:spPr>
      </p:pic>
      <p:pic>
        <p:nvPicPr>
          <p:cNvPr id="11" name="Picture 10">
            <a:extLst>
              <a:ext uri="{FF2B5EF4-FFF2-40B4-BE49-F238E27FC236}">
                <a16:creationId xmlns:a16="http://schemas.microsoft.com/office/drawing/2014/main" id="{E1AD1AF7-8762-4821-97CC-27F296A4D43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2863" b="35963"/>
          <a:stretch/>
        </p:blipFill>
        <p:spPr>
          <a:xfrm flipH="1">
            <a:off x="8377936" y="1717800"/>
            <a:ext cx="3814064" cy="5157000"/>
          </a:xfrm>
          <a:custGeom>
            <a:avLst/>
            <a:gdLst>
              <a:gd name="connsiteX0" fmla="*/ 3814064 w 3814064"/>
              <a:gd name="connsiteY0" fmla="*/ 0 h 5157000"/>
              <a:gd name="connsiteX1" fmla="*/ 0 w 3814064"/>
              <a:gd name="connsiteY1" fmla="*/ 0 h 5157000"/>
              <a:gd name="connsiteX2" fmla="*/ 0 w 3814064"/>
              <a:gd name="connsiteY2" fmla="*/ 5157000 h 5157000"/>
              <a:gd name="connsiteX3" fmla="*/ 3814064 w 3814064"/>
              <a:gd name="connsiteY3" fmla="*/ 5157000 h 5157000"/>
            </a:gdLst>
            <a:ahLst/>
            <a:cxnLst>
              <a:cxn ang="0">
                <a:pos x="connsiteX0" y="connsiteY0"/>
              </a:cxn>
              <a:cxn ang="0">
                <a:pos x="connsiteX1" y="connsiteY1"/>
              </a:cxn>
              <a:cxn ang="0">
                <a:pos x="connsiteX2" y="connsiteY2"/>
              </a:cxn>
              <a:cxn ang="0">
                <a:pos x="connsiteX3" y="connsiteY3"/>
              </a:cxn>
            </a:cxnLst>
            <a:rect l="l" t="t" r="r" b="b"/>
            <a:pathLst>
              <a:path w="3814064" h="5157000">
                <a:moveTo>
                  <a:pt x="3814064" y="0"/>
                </a:moveTo>
                <a:lnTo>
                  <a:pt x="0" y="0"/>
                </a:lnTo>
                <a:lnTo>
                  <a:pt x="0" y="5157000"/>
                </a:lnTo>
                <a:lnTo>
                  <a:pt x="3814064" y="5157000"/>
                </a:lnTo>
                <a:close/>
              </a:path>
            </a:pathLst>
          </a:custGeom>
        </p:spPr>
      </p:pic>
      <p:sp>
        <p:nvSpPr>
          <p:cNvPr id="12" name="Rectangle 11">
            <a:extLst>
              <a:ext uri="{FF2B5EF4-FFF2-40B4-BE49-F238E27FC236}">
                <a16:creationId xmlns:a16="http://schemas.microsoft.com/office/drawing/2014/main" id="{83E1CE37-2C6A-41FB-BB8F-A0B5DEBB84C4}"/>
              </a:ext>
            </a:extLst>
          </p:cNvPr>
          <p:cNvSpPr/>
          <p:nvPr userDrawn="1"/>
        </p:nvSpPr>
        <p:spPr>
          <a:xfrm rot="18638257">
            <a:off x="7843714" y="5580280"/>
            <a:ext cx="3734214" cy="500720"/>
          </a:xfrm>
          <a:prstGeom prst="rect">
            <a:avLst/>
          </a:prstGeom>
          <a:noFill/>
        </p:spPr>
        <p:txBody>
          <a:bodyPr wrap="none" lIns="91440" tIns="45720" rIns="91440" bIns="45720">
            <a:prstTxWarp prst="textArchDown">
              <a:avLst>
                <a:gd name="adj" fmla="val 21496249"/>
              </a:avLst>
            </a:prstTxWarp>
            <a:spAutoFit/>
          </a:bodyPr>
          <a:lstStyle/>
          <a:p>
            <a:pPr algn="ctr"/>
            <a:r>
              <a:rPr lang="en-GB" sz="2000" b="1" cap="none" spc="0" dirty="0">
                <a:ln w="12700">
                  <a:noFill/>
                  <a:prstDash val="solid"/>
                </a:ln>
                <a:solidFill>
                  <a:schemeClr val="bg1"/>
                </a:solidFill>
                <a:effectLst/>
                <a:latin typeface="Ubuntu" panose="020B0504030602030204" pitchFamily="34" charset="0"/>
              </a:rPr>
              <a:t>Applied Insights</a:t>
            </a:r>
          </a:p>
        </p:txBody>
      </p:sp>
      <p:pic>
        <p:nvPicPr>
          <p:cNvPr id="13" name="Picture 12" descr="A picture containing person, cellphone, phone, outdoor&#10;&#10;Description generated with very high confidence">
            <a:extLst>
              <a:ext uri="{FF2B5EF4-FFF2-40B4-BE49-F238E27FC236}">
                <a16:creationId xmlns:a16="http://schemas.microsoft.com/office/drawing/2014/main" id="{4FF79208-C53D-4B28-8D8F-9BC4DE6A967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1266" t="11099" b="52720"/>
          <a:stretch/>
        </p:blipFill>
        <p:spPr>
          <a:xfrm>
            <a:off x="10056000" y="1989000"/>
            <a:ext cx="1602600" cy="1981578"/>
          </a:xfrm>
          <a:prstGeom prst="rect">
            <a:avLst/>
          </a:prstGeom>
        </p:spPr>
      </p:pic>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5" name="Text Placeholder 2">
            <a:extLst>
              <a:ext uri="{FF2B5EF4-FFF2-40B4-BE49-F238E27FC236}">
                <a16:creationId xmlns:a16="http://schemas.microsoft.com/office/drawing/2014/main" id="{4533D5AA-4627-43CF-984F-8338690389D6}"/>
              </a:ext>
            </a:extLst>
          </p:cNvPr>
          <p:cNvSpPr>
            <a:spLocks noGrp="1"/>
          </p:cNvSpPr>
          <p:nvPr>
            <p:ph type="body" sz="quarter" idx="10"/>
          </p:nvPr>
        </p:nvSpPr>
        <p:spPr>
          <a:xfrm>
            <a:off x="990599" y="1434463"/>
            <a:ext cx="4064267" cy="359073"/>
          </a:xfrm>
        </p:spPr>
        <p:txBody>
          <a:bodyPr wrap="square" anchor="ctr" anchorCtr="1">
            <a:spAutoFit/>
          </a:bodyPr>
          <a:lstStyle>
            <a:lvl1pPr marL="0" marR="0" indent="0" algn="ctr" defTabSz="914400" rtl="0" eaLnBrk="1" fontAlgn="auto" latinLnBrk="0" hangingPunct="1">
              <a:lnSpc>
                <a:spcPts val="2800"/>
              </a:lnSpc>
              <a:spcBef>
                <a:spcPct val="0"/>
              </a:spcBef>
              <a:spcAft>
                <a:spcPts val="0"/>
              </a:spcAft>
              <a:buClrTx/>
              <a:buSzTx/>
              <a:buFontTx/>
              <a:buNone/>
              <a:tabLst/>
              <a:defRPr kumimoji="0" lang="en-US" sz="2400" b="1" i="0" u="none" strike="noStrike" kern="1200" cap="none" spc="0" normalizeH="0" baseline="0" noProof="0" dirty="0">
                <a:ln>
                  <a:noFill/>
                </a:ln>
                <a:solidFill>
                  <a:schemeClr val="tx1"/>
                </a:solidFill>
                <a:effectLst/>
                <a:uLnTx/>
                <a:uFillTx/>
                <a:latin typeface="+mj-lt"/>
                <a:ea typeface="+mj-ea"/>
                <a:cs typeface="Ubuntu Bold"/>
              </a:defRPr>
            </a:lvl1pPr>
            <a:lvl2pPr marL="0" indent="0" algn="l" defTabSz="956686" rtl="0" eaLnBrk="1" latinLnBrk="0" hangingPunct="1">
              <a:lnSpc>
                <a:spcPct val="100000"/>
              </a:lnSpc>
              <a:spcBef>
                <a:spcPts val="0"/>
              </a:spcBef>
              <a:spcAft>
                <a:spcPts val="300"/>
              </a:spcAft>
              <a:buNone/>
              <a:defRPr lang="en-US" sz="1200" kern="1200" dirty="0" smtClean="0">
                <a:solidFill>
                  <a:schemeClr val="accent3"/>
                </a:solidFill>
                <a:latin typeface="+mj-lt"/>
                <a:ea typeface="+mn-ea"/>
                <a:cs typeface="Ubuntu Light"/>
              </a:defRPr>
            </a:lvl2pPr>
            <a:lvl3pPr marL="266700" indent="0">
              <a:buNone/>
              <a:defRPr/>
            </a:lvl3pPr>
          </a:lstStyle>
          <a:p>
            <a:pPr lvl="0"/>
            <a:endParaRPr lang="en-US" dirty="0"/>
          </a:p>
        </p:txBody>
      </p:sp>
      <p:sp>
        <p:nvSpPr>
          <p:cNvPr id="16" name="Text Placeholder 2">
            <a:extLst>
              <a:ext uri="{FF2B5EF4-FFF2-40B4-BE49-F238E27FC236}">
                <a16:creationId xmlns:a16="http://schemas.microsoft.com/office/drawing/2014/main" id="{77AEEF2E-BC5F-4594-9F29-3178373AEC69}"/>
              </a:ext>
            </a:extLst>
          </p:cNvPr>
          <p:cNvSpPr>
            <a:spLocks noGrp="1"/>
          </p:cNvSpPr>
          <p:nvPr>
            <p:ph type="body" sz="quarter" idx="11"/>
          </p:nvPr>
        </p:nvSpPr>
        <p:spPr>
          <a:xfrm>
            <a:off x="4424680" y="4108806"/>
            <a:ext cx="2209800" cy="259430"/>
          </a:xfrm>
        </p:spPr>
        <p:txBody>
          <a:bodyPr wrap="square" anchor="ctr" anchorCtr="1">
            <a:spAutoFit/>
          </a:bodyPr>
          <a:lstStyle>
            <a:lvl1pPr marL="0" marR="0" indent="0" algn="ctr" defTabSz="914400" rtl="0" eaLnBrk="1" fontAlgn="auto" latinLnBrk="0" hangingPunct="1">
              <a:lnSpc>
                <a:spcPts val="2200"/>
              </a:lnSpc>
              <a:spcBef>
                <a:spcPts val="0"/>
              </a:spcBef>
              <a:spcAft>
                <a:spcPts val="0"/>
              </a:spcAft>
              <a:buClrTx/>
              <a:buSzTx/>
              <a:buFont typeface="Arial" panose="020B0604020202020204" pitchFamily="34" charset="0"/>
              <a:buNone/>
              <a:tabLst/>
              <a:defRPr lang="en-US" sz="1800" b="0" i="0" kern="1200" dirty="0">
                <a:solidFill>
                  <a:schemeClr val="bg1"/>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200" kern="1200" dirty="0" smtClean="0">
                <a:solidFill>
                  <a:schemeClr val="accent3"/>
                </a:solidFill>
                <a:latin typeface="+mj-lt"/>
                <a:ea typeface="+mn-ea"/>
                <a:cs typeface="Ubuntu Light"/>
              </a:defRPr>
            </a:lvl2pPr>
            <a:lvl3pPr marL="266700" indent="0">
              <a:buNone/>
              <a:defRPr/>
            </a:lvl3pPr>
          </a:lstStyle>
          <a:p>
            <a:pPr lvl="0"/>
            <a:endParaRPr lang="en-US" dirty="0"/>
          </a:p>
        </p:txBody>
      </p:sp>
      <p:cxnSp>
        <p:nvCxnSpPr>
          <p:cNvPr id="14" name="Conector reto 49">
            <a:extLst>
              <a:ext uri="{FF2B5EF4-FFF2-40B4-BE49-F238E27FC236}">
                <a16:creationId xmlns:a16="http://schemas.microsoft.com/office/drawing/2014/main" id="{9624523B-CACF-491F-99E9-B3375CF1652D}"/>
              </a:ext>
            </a:extLst>
          </p:cNvPr>
          <p:cNvCxnSpPr>
            <a:cxnSpLocks/>
          </p:cNvCxnSpPr>
          <p:nvPr userDrawn="1"/>
        </p:nvCxnSpPr>
        <p:spPr>
          <a:xfrm flipV="1">
            <a:off x="261311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id="{F3FCE5D6-0E8D-44F3-8AED-E7A968C2BF19}"/>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10DEF6C2-0F90-4A81-B436-8236D3F75255}"/>
              </a:ext>
            </a:extLst>
          </p:cNvPr>
          <p:cNvSpPr/>
          <p:nvPr userDrawn="1"/>
        </p:nvSpPr>
        <p:spPr>
          <a:xfrm>
            <a:off x="274081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8" name="Freeform: Shape 17">
            <a:extLst>
              <a:ext uri="{FF2B5EF4-FFF2-40B4-BE49-F238E27FC236}">
                <a16:creationId xmlns:a16="http://schemas.microsoft.com/office/drawing/2014/main" id="{A943458B-BB34-4DB2-BB30-F8B6456DD89D}"/>
              </a:ext>
            </a:extLst>
          </p:cNvPr>
          <p:cNvSpPr/>
          <p:nvPr userDrawn="1"/>
        </p:nvSpPr>
        <p:spPr>
          <a:xfrm rot="790471">
            <a:off x="9054083" y="4848800"/>
            <a:ext cx="2813289" cy="2308777"/>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610295"/>
              <a:gd name="connsiteY0" fmla="*/ 1731713 h 2237681"/>
              <a:gd name="connsiteX1" fmla="*/ 1490967 w 2610295"/>
              <a:gd name="connsiteY1" fmla="*/ 100392 h 2237681"/>
              <a:gd name="connsiteX2" fmla="*/ 1856817 w 2610295"/>
              <a:gd name="connsiteY2" fmla="*/ 0 h 2237681"/>
              <a:gd name="connsiteX3" fmla="*/ 2610295 w 2610295"/>
              <a:gd name="connsiteY3" fmla="*/ 610899 h 2237681"/>
              <a:gd name="connsiteX4" fmla="*/ 256032 w 2610295"/>
              <a:gd name="connsiteY4" fmla="*/ 2237681 h 2237681"/>
              <a:gd name="connsiteX5" fmla="*/ 0 w 2610295"/>
              <a:gd name="connsiteY5" fmla="*/ 1731713 h 2237681"/>
              <a:gd name="connsiteX0" fmla="*/ 0 w 2610295"/>
              <a:gd name="connsiteY0" fmla="*/ 1838658 h 2344626"/>
              <a:gd name="connsiteX1" fmla="*/ 1490967 w 2610295"/>
              <a:gd name="connsiteY1" fmla="*/ 207337 h 2344626"/>
              <a:gd name="connsiteX2" fmla="*/ 2447427 w 2610295"/>
              <a:gd name="connsiteY2" fmla="*/ 0 h 2344626"/>
              <a:gd name="connsiteX3" fmla="*/ 2610295 w 2610295"/>
              <a:gd name="connsiteY3" fmla="*/ 717844 h 2344626"/>
              <a:gd name="connsiteX4" fmla="*/ 256032 w 2610295"/>
              <a:gd name="connsiteY4" fmla="*/ 2344626 h 2344626"/>
              <a:gd name="connsiteX5" fmla="*/ 0 w 2610295"/>
              <a:gd name="connsiteY5" fmla="*/ 1838658 h 2344626"/>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169763"/>
              <a:gd name="connsiteX1" fmla="*/ 2012533 w 2610295"/>
              <a:gd name="connsiteY1" fmla="*/ 0 h 2169763"/>
              <a:gd name="connsiteX2" fmla="*/ 2447427 w 2610295"/>
              <a:gd name="connsiteY2" fmla="*/ 60835 h 2169763"/>
              <a:gd name="connsiteX3" fmla="*/ 2610295 w 2610295"/>
              <a:gd name="connsiteY3" fmla="*/ 778679 h 2169763"/>
              <a:gd name="connsiteX4" fmla="*/ 560857 w 2610295"/>
              <a:gd name="connsiteY4" fmla="*/ 2169763 h 2169763"/>
              <a:gd name="connsiteX5" fmla="*/ 0 w 2610295"/>
              <a:gd name="connsiteY5" fmla="*/ 1899493 h 2169763"/>
              <a:gd name="connsiteX0" fmla="*/ 0 w 2813289"/>
              <a:gd name="connsiteY0" fmla="*/ 2369612 h 2369612"/>
              <a:gd name="connsiteX1" fmla="*/ 2215527 w 2813289"/>
              <a:gd name="connsiteY1" fmla="*/ 0 h 2369612"/>
              <a:gd name="connsiteX2" fmla="*/ 2650421 w 2813289"/>
              <a:gd name="connsiteY2" fmla="*/ 60835 h 2369612"/>
              <a:gd name="connsiteX3" fmla="*/ 2813289 w 2813289"/>
              <a:gd name="connsiteY3" fmla="*/ 778679 h 2369612"/>
              <a:gd name="connsiteX4" fmla="*/ 763851 w 2813289"/>
              <a:gd name="connsiteY4" fmla="*/ 2169763 h 2369612"/>
              <a:gd name="connsiteX5" fmla="*/ 0 w 2813289"/>
              <a:gd name="connsiteY5" fmla="*/ 2369612 h 2369612"/>
              <a:gd name="connsiteX0" fmla="*/ 0 w 2813289"/>
              <a:gd name="connsiteY0" fmla="*/ 2308777 h 2308777"/>
              <a:gd name="connsiteX1" fmla="*/ 1168274 w 2813289"/>
              <a:gd name="connsiteY1" fmla="*/ 12133 h 2308777"/>
              <a:gd name="connsiteX2" fmla="*/ 2650421 w 2813289"/>
              <a:gd name="connsiteY2" fmla="*/ 0 h 2308777"/>
              <a:gd name="connsiteX3" fmla="*/ 2813289 w 2813289"/>
              <a:gd name="connsiteY3" fmla="*/ 717844 h 2308777"/>
              <a:gd name="connsiteX4" fmla="*/ 763851 w 2813289"/>
              <a:gd name="connsiteY4" fmla="*/ 2108928 h 2308777"/>
              <a:gd name="connsiteX5" fmla="*/ 0 w 2813289"/>
              <a:gd name="connsiteY5" fmla="*/ 2308777 h 2308777"/>
              <a:gd name="connsiteX0" fmla="*/ 0 w 2813289"/>
              <a:gd name="connsiteY0" fmla="*/ 2308777 h 2308777"/>
              <a:gd name="connsiteX1" fmla="*/ 1168274 w 2813289"/>
              <a:gd name="connsiteY1" fmla="*/ 12133 h 2308777"/>
              <a:gd name="connsiteX2" fmla="*/ 2650421 w 2813289"/>
              <a:gd name="connsiteY2" fmla="*/ 0 h 2308777"/>
              <a:gd name="connsiteX3" fmla="*/ 2813289 w 2813289"/>
              <a:gd name="connsiteY3" fmla="*/ 717844 h 2308777"/>
              <a:gd name="connsiteX4" fmla="*/ 763851 w 2813289"/>
              <a:gd name="connsiteY4" fmla="*/ 2108928 h 2308777"/>
              <a:gd name="connsiteX5" fmla="*/ 0 w 2813289"/>
              <a:gd name="connsiteY5" fmla="*/ 2308777 h 2308777"/>
              <a:gd name="connsiteX0" fmla="*/ 0 w 2813289"/>
              <a:gd name="connsiteY0" fmla="*/ 2308777 h 2308777"/>
              <a:gd name="connsiteX1" fmla="*/ 1159118 w 2813289"/>
              <a:gd name="connsiteY1" fmla="*/ 6450 h 2308777"/>
              <a:gd name="connsiteX2" fmla="*/ 2650421 w 2813289"/>
              <a:gd name="connsiteY2" fmla="*/ 0 h 2308777"/>
              <a:gd name="connsiteX3" fmla="*/ 2813289 w 2813289"/>
              <a:gd name="connsiteY3" fmla="*/ 717844 h 2308777"/>
              <a:gd name="connsiteX4" fmla="*/ 763851 w 2813289"/>
              <a:gd name="connsiteY4" fmla="*/ 2108928 h 2308777"/>
              <a:gd name="connsiteX5" fmla="*/ 0 w 2813289"/>
              <a:gd name="connsiteY5" fmla="*/ 2308777 h 2308777"/>
              <a:gd name="connsiteX0" fmla="*/ 0 w 2813289"/>
              <a:gd name="connsiteY0" fmla="*/ 2308777 h 2308777"/>
              <a:gd name="connsiteX1" fmla="*/ 1159118 w 2813289"/>
              <a:gd name="connsiteY1" fmla="*/ 6450 h 2308777"/>
              <a:gd name="connsiteX2" fmla="*/ 2650421 w 2813289"/>
              <a:gd name="connsiteY2" fmla="*/ 0 h 2308777"/>
              <a:gd name="connsiteX3" fmla="*/ 2813289 w 2813289"/>
              <a:gd name="connsiteY3" fmla="*/ 717844 h 2308777"/>
              <a:gd name="connsiteX4" fmla="*/ 763851 w 2813289"/>
              <a:gd name="connsiteY4" fmla="*/ 2108928 h 2308777"/>
              <a:gd name="connsiteX5" fmla="*/ 0 w 2813289"/>
              <a:gd name="connsiteY5" fmla="*/ 2308777 h 230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3289" h="2308777">
                <a:moveTo>
                  <a:pt x="0" y="2308777"/>
                </a:moveTo>
                <a:cubicBezTo>
                  <a:pt x="526318" y="1836787"/>
                  <a:pt x="849036" y="641760"/>
                  <a:pt x="1159118" y="6450"/>
                </a:cubicBezTo>
                <a:lnTo>
                  <a:pt x="2650421" y="0"/>
                </a:lnTo>
                <a:lnTo>
                  <a:pt x="2813289" y="717844"/>
                </a:lnTo>
                <a:lnTo>
                  <a:pt x="763851" y="2108928"/>
                </a:lnTo>
                <a:lnTo>
                  <a:pt x="0" y="2308777"/>
                </a:lnTo>
                <a:close/>
              </a:path>
            </a:pathLst>
          </a:custGeom>
          <a:solidFill>
            <a:srgbClr val="00B0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5561D31-8D57-4127-9CD7-EC4D575B9AC2}"/>
              </a:ext>
            </a:extLst>
          </p:cNvPr>
          <p:cNvSpPr/>
          <p:nvPr userDrawn="1"/>
        </p:nvSpPr>
        <p:spPr>
          <a:xfrm rot="18586049">
            <a:off x="7864397" y="5320479"/>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27423440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p:nvPr>
        </p:nvSpPr>
        <p:spPr>
          <a:xfrm>
            <a:off x="407988" y="404813"/>
            <a:ext cx="5042407"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endParaRPr lang="pt-PT" dirty="0"/>
          </a:p>
        </p:txBody>
      </p:sp>
      <p:cxnSp>
        <p:nvCxnSpPr>
          <p:cNvPr id="10" name="Conector reto 49">
            <a:extLst>
              <a:ext uri="{FF2B5EF4-FFF2-40B4-BE49-F238E27FC236}">
                <a16:creationId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id="{8BF64989-C8A2-4B4C-80F8-C66B7139AF7B}"/>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7" name="Picture 6">
            <a:extLst>
              <a:ext uri="{FF2B5EF4-FFF2-40B4-BE49-F238E27FC236}">
                <a16:creationId xmlns:a16="http://schemas.microsoft.com/office/drawing/2014/main" id="{07A69049-96C7-4007-834E-BF25FC43A9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2880" y="1479240"/>
            <a:ext cx="864744" cy="864744"/>
          </a:xfrm>
          <a:prstGeom prst="rect">
            <a:avLst/>
          </a:prstGeom>
        </p:spPr>
      </p:pic>
      <p:sp>
        <p:nvSpPr>
          <p:cNvPr id="13" name="Text Placeholder 2">
            <a:extLst>
              <a:ext uri="{FF2B5EF4-FFF2-40B4-BE49-F238E27FC236}">
                <a16:creationId xmlns:a16="http://schemas.microsoft.com/office/drawing/2014/main" id="{CA0BA170-2A61-471D-A165-AB2FD1D44044}"/>
              </a:ext>
            </a:extLst>
          </p:cNvPr>
          <p:cNvSpPr>
            <a:spLocks noGrp="1"/>
          </p:cNvSpPr>
          <p:nvPr>
            <p:ph type="body" sz="quarter" idx="11" hasCustomPrompt="1"/>
          </p:nvPr>
        </p:nvSpPr>
        <p:spPr>
          <a:xfrm>
            <a:off x="5791200" y="1479240"/>
            <a:ext cx="4313948" cy="469359"/>
          </a:xfrm>
        </p:spPr>
        <p:txBody>
          <a:bodyPr wrap="square">
            <a:spAutoFit/>
          </a:bodyPr>
          <a:lstStyle>
            <a:lvl1pPr marL="0" algn="l" defTabSz="914400" rtl="0" eaLnBrk="1" latinLnBrk="0" hangingPunct="1">
              <a:lnSpc>
                <a:spcPct val="100000"/>
              </a:lnSpc>
              <a:spcBef>
                <a:spcPts val="0"/>
              </a:spcBef>
              <a:spcAft>
                <a:spcPts val="300"/>
              </a:spcAft>
              <a:defRPr lang="en-US" sz="1400" b="1" kern="1200" dirty="0" smtClean="0">
                <a:solidFill>
                  <a:schemeClr val="accent3"/>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400" kern="1200" dirty="0" smtClean="0">
                <a:solidFill>
                  <a:schemeClr val="accent3"/>
                </a:solidFill>
                <a:latin typeface="+mj-lt"/>
                <a:ea typeface="+mn-ea"/>
                <a:cs typeface="Ubuntu Light"/>
              </a:defRPr>
            </a:lvl2pPr>
            <a:lvl3pPr marL="266700" indent="0">
              <a:buNone/>
              <a:defRPr/>
            </a:lvl3pPr>
          </a:lstStyle>
          <a:p>
            <a:pPr lvl="0"/>
            <a:r>
              <a:rPr lang="en-US" dirty="0"/>
              <a:t>Challenge </a:t>
            </a:r>
          </a:p>
          <a:p>
            <a:pPr lvl="1"/>
            <a:r>
              <a:rPr lang="en-US" dirty="0"/>
              <a:t>Placeholder for text</a:t>
            </a:r>
          </a:p>
        </p:txBody>
      </p:sp>
      <p:pic>
        <p:nvPicPr>
          <p:cNvPr id="14" name="Picture 13">
            <a:extLst>
              <a:ext uri="{FF2B5EF4-FFF2-40B4-BE49-F238E27FC236}">
                <a16:creationId xmlns:a16="http://schemas.microsoft.com/office/drawing/2014/main" id="{0EE2311B-E90B-4940-A927-1C81AF0D9F0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2880" y="2895069"/>
            <a:ext cx="864744" cy="864744"/>
          </a:xfrm>
          <a:prstGeom prst="rect">
            <a:avLst/>
          </a:prstGeom>
        </p:spPr>
      </p:pic>
      <p:pic>
        <p:nvPicPr>
          <p:cNvPr id="15" name="Picture 14">
            <a:extLst>
              <a:ext uri="{FF2B5EF4-FFF2-40B4-BE49-F238E27FC236}">
                <a16:creationId xmlns:a16="http://schemas.microsoft.com/office/drawing/2014/main" id="{77981E1C-CD33-4C2C-9C3B-757D5E10944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92880" y="4668935"/>
            <a:ext cx="864744" cy="864744"/>
          </a:xfrm>
          <a:prstGeom prst="rect">
            <a:avLst/>
          </a:prstGeom>
        </p:spPr>
      </p:pic>
      <p:sp>
        <p:nvSpPr>
          <p:cNvPr id="16" name="Text Placeholder 2">
            <a:extLst>
              <a:ext uri="{FF2B5EF4-FFF2-40B4-BE49-F238E27FC236}">
                <a16:creationId xmlns:a16="http://schemas.microsoft.com/office/drawing/2014/main" id="{510E0D6F-231D-4E1F-B393-CBB4DD383957}"/>
              </a:ext>
            </a:extLst>
          </p:cNvPr>
          <p:cNvSpPr>
            <a:spLocks noGrp="1"/>
          </p:cNvSpPr>
          <p:nvPr>
            <p:ph type="body" sz="quarter" idx="12" hasCustomPrompt="1"/>
          </p:nvPr>
        </p:nvSpPr>
        <p:spPr>
          <a:xfrm>
            <a:off x="5791200" y="2895069"/>
            <a:ext cx="4313948" cy="469359"/>
          </a:xfrm>
        </p:spPr>
        <p:txBody>
          <a:bodyPr wrap="square">
            <a:spAutoFit/>
          </a:bodyPr>
          <a:lstStyle>
            <a:lvl1pPr marL="0" algn="l" defTabSz="914400" rtl="0" eaLnBrk="1" latinLnBrk="0" hangingPunct="1">
              <a:lnSpc>
                <a:spcPct val="100000"/>
              </a:lnSpc>
              <a:spcBef>
                <a:spcPts val="0"/>
              </a:spcBef>
              <a:spcAft>
                <a:spcPts val="300"/>
              </a:spcAft>
              <a:defRPr lang="en-US" sz="1400" b="1" kern="1200" dirty="0" smtClean="0">
                <a:solidFill>
                  <a:schemeClr val="accent3"/>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400" kern="1200" dirty="0" smtClean="0">
                <a:solidFill>
                  <a:schemeClr val="accent3"/>
                </a:solidFill>
                <a:latin typeface="+mj-lt"/>
                <a:ea typeface="+mn-ea"/>
                <a:cs typeface="Ubuntu Light"/>
              </a:defRPr>
            </a:lvl2pPr>
            <a:lvl3pPr marL="266700" indent="0">
              <a:buNone/>
              <a:defRPr/>
            </a:lvl3pPr>
          </a:lstStyle>
          <a:p>
            <a:pPr lvl="0"/>
            <a:r>
              <a:rPr lang="en-US" dirty="0"/>
              <a:t>Solution</a:t>
            </a:r>
          </a:p>
          <a:p>
            <a:pPr lvl="1"/>
            <a:r>
              <a:rPr lang="en-US" dirty="0"/>
              <a:t>Placeholder for text</a:t>
            </a:r>
          </a:p>
        </p:txBody>
      </p:sp>
      <p:sp>
        <p:nvSpPr>
          <p:cNvPr id="17" name="Text Placeholder 2">
            <a:extLst>
              <a:ext uri="{FF2B5EF4-FFF2-40B4-BE49-F238E27FC236}">
                <a16:creationId xmlns:a16="http://schemas.microsoft.com/office/drawing/2014/main" id="{B89F6058-D852-44A9-A32C-07236A5A50DC}"/>
              </a:ext>
            </a:extLst>
          </p:cNvPr>
          <p:cNvSpPr>
            <a:spLocks noGrp="1"/>
          </p:cNvSpPr>
          <p:nvPr>
            <p:ph type="body" sz="quarter" idx="13" hasCustomPrompt="1"/>
          </p:nvPr>
        </p:nvSpPr>
        <p:spPr>
          <a:xfrm>
            <a:off x="5791200" y="4668935"/>
            <a:ext cx="4313948" cy="469359"/>
          </a:xfrm>
        </p:spPr>
        <p:txBody>
          <a:bodyPr wrap="square">
            <a:spAutoFit/>
          </a:bodyPr>
          <a:lstStyle>
            <a:lvl1pPr marL="0" algn="l" defTabSz="914400" rtl="0" eaLnBrk="1" latinLnBrk="0" hangingPunct="1">
              <a:lnSpc>
                <a:spcPct val="100000"/>
              </a:lnSpc>
              <a:spcBef>
                <a:spcPts val="0"/>
              </a:spcBef>
              <a:spcAft>
                <a:spcPts val="300"/>
              </a:spcAft>
              <a:defRPr lang="en-US" sz="1400" b="1" kern="1200" dirty="0" smtClean="0">
                <a:solidFill>
                  <a:schemeClr val="accent3"/>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400" kern="1200" dirty="0" smtClean="0">
                <a:solidFill>
                  <a:schemeClr val="accent3"/>
                </a:solidFill>
                <a:latin typeface="+mj-lt"/>
                <a:ea typeface="+mn-ea"/>
                <a:cs typeface="Ubuntu Light"/>
              </a:defRPr>
            </a:lvl2pPr>
            <a:lvl3pPr marL="266700" indent="0">
              <a:buNone/>
              <a:defRPr/>
            </a:lvl3pPr>
          </a:lstStyle>
          <a:p>
            <a:pPr lvl="0"/>
            <a:r>
              <a:rPr lang="en-US" dirty="0"/>
              <a:t>Benefit</a:t>
            </a:r>
          </a:p>
          <a:p>
            <a:pPr lvl="1"/>
            <a:r>
              <a:rPr lang="en-US" dirty="0"/>
              <a:t>Placeholder for text</a:t>
            </a:r>
          </a:p>
        </p:txBody>
      </p:sp>
    </p:spTree>
    <p:extLst>
      <p:ext uri="{BB962C8B-B14F-4D97-AF65-F5344CB8AC3E}">
        <p14:creationId xmlns:p14="http://schemas.microsoft.com/office/powerpoint/2010/main" val="35371877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02" name="Straight Connector 101">
            <a:extLst>
              <a:ext uri="{FF2B5EF4-FFF2-40B4-BE49-F238E27FC236}">
                <a16:creationId xmlns:a16="http://schemas.microsoft.com/office/drawing/2014/main" id="{F11F8E73-7B6F-4CF0-822C-3623C8035A6A}"/>
              </a:ext>
            </a:extLst>
          </p:cNvPr>
          <p:cNvCxnSpPr/>
          <p:nvPr userDrawn="1"/>
        </p:nvCxnSpPr>
        <p:spPr>
          <a:xfrm>
            <a:off x="2064439" y="1164280"/>
            <a:ext cx="0" cy="1097280"/>
          </a:xfrm>
          <a:prstGeom prst="line">
            <a:avLst/>
          </a:prstGeom>
          <a:noFill/>
          <a:ln w="28575" cap="rnd" cmpd="sng" algn="ctr">
            <a:solidFill>
              <a:srgbClr val="0070AD"/>
            </a:solidFill>
            <a:prstDash val="solid"/>
            <a:round/>
          </a:ln>
          <a:effectLst/>
        </p:spPr>
      </p:cxnSp>
      <p:cxnSp>
        <p:nvCxnSpPr>
          <p:cNvPr id="103" name="Straight Connector 102">
            <a:extLst>
              <a:ext uri="{FF2B5EF4-FFF2-40B4-BE49-F238E27FC236}">
                <a16:creationId xmlns:a16="http://schemas.microsoft.com/office/drawing/2014/main" id="{3BD3166F-D0CF-48EE-8B34-70A260FB87EC}"/>
              </a:ext>
            </a:extLst>
          </p:cNvPr>
          <p:cNvCxnSpPr/>
          <p:nvPr userDrawn="1"/>
        </p:nvCxnSpPr>
        <p:spPr>
          <a:xfrm>
            <a:off x="2064439" y="2570083"/>
            <a:ext cx="0" cy="1097280"/>
          </a:xfrm>
          <a:prstGeom prst="line">
            <a:avLst/>
          </a:prstGeom>
          <a:noFill/>
          <a:ln w="28575" cap="rnd" cmpd="sng" algn="ctr">
            <a:solidFill>
              <a:srgbClr val="FF304C"/>
            </a:solidFill>
            <a:prstDash val="solid"/>
            <a:round/>
          </a:ln>
          <a:effectLst/>
        </p:spPr>
      </p:cxnSp>
      <p:cxnSp>
        <p:nvCxnSpPr>
          <p:cNvPr id="104" name="Straight Connector 103">
            <a:extLst>
              <a:ext uri="{FF2B5EF4-FFF2-40B4-BE49-F238E27FC236}">
                <a16:creationId xmlns:a16="http://schemas.microsoft.com/office/drawing/2014/main" id="{C51AF26F-321C-4EFE-B564-F6AA68FB30D4}"/>
              </a:ext>
            </a:extLst>
          </p:cNvPr>
          <p:cNvCxnSpPr/>
          <p:nvPr userDrawn="1"/>
        </p:nvCxnSpPr>
        <p:spPr>
          <a:xfrm>
            <a:off x="2064439" y="3927360"/>
            <a:ext cx="0" cy="1097280"/>
          </a:xfrm>
          <a:prstGeom prst="line">
            <a:avLst/>
          </a:prstGeom>
          <a:noFill/>
          <a:ln w="28575" cap="rnd" cmpd="sng" algn="ctr">
            <a:solidFill>
              <a:srgbClr val="00C37B"/>
            </a:solidFill>
            <a:prstDash val="solid"/>
            <a:round/>
          </a:ln>
          <a:effectLst/>
        </p:spPr>
      </p:cxnSp>
      <p:cxnSp>
        <p:nvCxnSpPr>
          <p:cNvPr id="105" name="Straight Connector 104">
            <a:extLst>
              <a:ext uri="{FF2B5EF4-FFF2-40B4-BE49-F238E27FC236}">
                <a16:creationId xmlns:a16="http://schemas.microsoft.com/office/drawing/2014/main" id="{FE258D8B-DCF1-4D59-8100-0D90E4B5E304}"/>
              </a:ext>
            </a:extLst>
          </p:cNvPr>
          <p:cNvCxnSpPr/>
          <p:nvPr userDrawn="1"/>
        </p:nvCxnSpPr>
        <p:spPr>
          <a:xfrm>
            <a:off x="2064439" y="5320475"/>
            <a:ext cx="0" cy="1097280"/>
          </a:xfrm>
          <a:prstGeom prst="line">
            <a:avLst/>
          </a:prstGeom>
          <a:noFill/>
          <a:ln w="28575" cap="rnd" cmpd="sng" algn="ctr">
            <a:solidFill>
              <a:srgbClr val="4701A7"/>
            </a:solidFill>
            <a:prstDash val="solid"/>
            <a:round/>
          </a:ln>
          <a:effectLst/>
        </p:spPr>
      </p:cxnSp>
      <p:sp>
        <p:nvSpPr>
          <p:cNvPr id="106" name="Rectangle 105">
            <a:extLst>
              <a:ext uri="{FF2B5EF4-FFF2-40B4-BE49-F238E27FC236}">
                <a16:creationId xmlns:a16="http://schemas.microsoft.com/office/drawing/2014/main" id="{AC9FFB9B-2E70-485A-B070-F27BE3EBAC23}"/>
              </a:ext>
            </a:extLst>
          </p:cNvPr>
          <p:cNvSpPr/>
          <p:nvPr userDrawn="1"/>
        </p:nvSpPr>
        <p:spPr>
          <a:xfrm>
            <a:off x="452487" y="1112996"/>
            <a:ext cx="1461238" cy="1296387"/>
          </a:xfrm>
          <a:prstGeom prst="rect">
            <a:avLst/>
          </a:prstGeom>
          <a:noFill/>
        </p:spPr>
        <p:txBody>
          <a:bodyPr wrap="none" lIns="0" tIns="0" rIns="0" bIns="0">
            <a:prstTxWarp prst="textArchUp">
              <a:avLst>
                <a:gd name="adj" fmla="val 6026265"/>
              </a:avLst>
            </a:prstTxWarp>
            <a:spAutoFit/>
          </a:bodyPr>
          <a:lstStyle/>
          <a:p>
            <a:pPr algn="ctr"/>
            <a:r>
              <a:rPr lang="en-GB" sz="1200" b="1" dirty="0">
                <a:solidFill>
                  <a:srgbClr val="0070AD"/>
                </a:solidFill>
                <a:cs typeface="Ubuntu Bold"/>
              </a:rPr>
              <a:t>Personalization &amp; Segmentation</a:t>
            </a:r>
          </a:p>
        </p:txBody>
      </p:sp>
      <p:sp>
        <p:nvSpPr>
          <p:cNvPr id="107" name="Freeform 26">
            <a:extLst>
              <a:ext uri="{FF2B5EF4-FFF2-40B4-BE49-F238E27FC236}">
                <a16:creationId xmlns:a16="http://schemas.microsoft.com/office/drawing/2014/main" id="{7D661F10-2BF2-472B-BE70-49B3E3170845}"/>
              </a:ext>
            </a:extLst>
          </p:cNvPr>
          <p:cNvSpPr>
            <a:spLocks/>
          </p:cNvSpPr>
          <p:nvPr userDrawn="1"/>
        </p:nvSpPr>
        <p:spPr bwMode="auto">
          <a:xfrm>
            <a:off x="562925" y="1219875"/>
            <a:ext cx="1254448" cy="1175838"/>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sp>
        <p:nvSpPr>
          <p:cNvPr id="108" name="Rectangle 107">
            <a:extLst>
              <a:ext uri="{FF2B5EF4-FFF2-40B4-BE49-F238E27FC236}">
                <a16:creationId xmlns:a16="http://schemas.microsoft.com/office/drawing/2014/main" id="{ABC50F8F-B46C-403E-931A-9F7EE37F1DD5}"/>
              </a:ext>
            </a:extLst>
          </p:cNvPr>
          <p:cNvSpPr/>
          <p:nvPr userDrawn="1"/>
        </p:nvSpPr>
        <p:spPr>
          <a:xfrm>
            <a:off x="452487" y="2535412"/>
            <a:ext cx="1461238" cy="1296387"/>
          </a:xfrm>
          <a:prstGeom prst="rect">
            <a:avLst/>
          </a:prstGeom>
          <a:noFill/>
        </p:spPr>
        <p:txBody>
          <a:bodyPr wrap="none" lIns="0" tIns="0" rIns="0" bIns="0">
            <a:prstTxWarp prst="textArchUp">
              <a:avLst>
                <a:gd name="adj" fmla="val 6504031"/>
              </a:avLst>
            </a:prstTxWarp>
            <a:spAutoFit/>
          </a:bodyPr>
          <a:lstStyle/>
          <a:p>
            <a:pPr algn="ctr"/>
            <a:r>
              <a:rPr lang="en-GB" sz="1200" b="1" dirty="0">
                <a:solidFill>
                  <a:srgbClr val="FF304C"/>
                </a:solidFill>
                <a:cs typeface="Ubuntu Bold"/>
              </a:rPr>
              <a:t>Transformation &amp; Innovation</a:t>
            </a:r>
          </a:p>
        </p:txBody>
      </p:sp>
      <p:sp>
        <p:nvSpPr>
          <p:cNvPr id="109" name="Freeform 26">
            <a:extLst>
              <a:ext uri="{FF2B5EF4-FFF2-40B4-BE49-F238E27FC236}">
                <a16:creationId xmlns:a16="http://schemas.microsoft.com/office/drawing/2014/main" id="{FCB58529-F7A1-473C-AC1A-EE77DDE512C3}"/>
              </a:ext>
            </a:extLst>
          </p:cNvPr>
          <p:cNvSpPr>
            <a:spLocks/>
          </p:cNvSpPr>
          <p:nvPr userDrawn="1"/>
        </p:nvSpPr>
        <p:spPr bwMode="auto">
          <a:xfrm>
            <a:off x="562925" y="2642291"/>
            <a:ext cx="1254448" cy="1175838"/>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sp>
        <p:nvSpPr>
          <p:cNvPr id="110" name="Rectangle 109">
            <a:extLst>
              <a:ext uri="{FF2B5EF4-FFF2-40B4-BE49-F238E27FC236}">
                <a16:creationId xmlns:a16="http://schemas.microsoft.com/office/drawing/2014/main" id="{35C75649-065B-4C9D-BB81-C30F5801B757}"/>
              </a:ext>
            </a:extLst>
          </p:cNvPr>
          <p:cNvSpPr/>
          <p:nvPr userDrawn="1"/>
        </p:nvSpPr>
        <p:spPr>
          <a:xfrm>
            <a:off x="452487" y="3911821"/>
            <a:ext cx="1461238" cy="1296387"/>
          </a:xfrm>
          <a:prstGeom prst="rect">
            <a:avLst/>
          </a:prstGeom>
          <a:noFill/>
        </p:spPr>
        <p:txBody>
          <a:bodyPr wrap="none" lIns="0" tIns="0" rIns="0" bIns="0">
            <a:prstTxWarp prst="textArchUp">
              <a:avLst>
                <a:gd name="adj" fmla="val 6549394"/>
              </a:avLst>
            </a:prstTxWarp>
            <a:spAutoFit/>
          </a:bodyPr>
          <a:lstStyle/>
          <a:p>
            <a:pPr algn="ctr"/>
            <a:r>
              <a:rPr lang="en-GB" sz="1200" b="1" dirty="0">
                <a:solidFill>
                  <a:srgbClr val="00C37B"/>
                </a:solidFill>
                <a:cs typeface="Ubuntu Bold"/>
              </a:rPr>
              <a:t>Agility &amp; Optimization</a:t>
            </a:r>
          </a:p>
        </p:txBody>
      </p:sp>
      <p:sp>
        <p:nvSpPr>
          <p:cNvPr id="111" name="Freeform 26">
            <a:extLst>
              <a:ext uri="{FF2B5EF4-FFF2-40B4-BE49-F238E27FC236}">
                <a16:creationId xmlns:a16="http://schemas.microsoft.com/office/drawing/2014/main" id="{066A481C-714E-4EB7-98FB-A1EE0F17FEBC}"/>
              </a:ext>
            </a:extLst>
          </p:cNvPr>
          <p:cNvSpPr>
            <a:spLocks/>
          </p:cNvSpPr>
          <p:nvPr userDrawn="1"/>
        </p:nvSpPr>
        <p:spPr bwMode="auto">
          <a:xfrm>
            <a:off x="562925" y="4018700"/>
            <a:ext cx="1254448" cy="1175838"/>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sp>
        <p:nvSpPr>
          <p:cNvPr id="112" name="Rectangle 111">
            <a:extLst>
              <a:ext uri="{FF2B5EF4-FFF2-40B4-BE49-F238E27FC236}">
                <a16:creationId xmlns:a16="http://schemas.microsoft.com/office/drawing/2014/main" id="{565BA8F5-80CD-40C1-A1E7-E74608711C10}"/>
              </a:ext>
            </a:extLst>
          </p:cNvPr>
          <p:cNvSpPr/>
          <p:nvPr userDrawn="1"/>
        </p:nvSpPr>
        <p:spPr>
          <a:xfrm>
            <a:off x="452487" y="5286084"/>
            <a:ext cx="1461238" cy="1296387"/>
          </a:xfrm>
          <a:prstGeom prst="rect">
            <a:avLst/>
          </a:prstGeom>
          <a:noFill/>
        </p:spPr>
        <p:txBody>
          <a:bodyPr wrap="none" lIns="0" tIns="0" rIns="0" bIns="0">
            <a:prstTxWarp prst="textArchUp">
              <a:avLst>
                <a:gd name="adj" fmla="val 6291283"/>
              </a:avLst>
            </a:prstTxWarp>
            <a:spAutoFit/>
          </a:bodyPr>
          <a:lstStyle/>
          <a:p>
            <a:pPr algn="ctr"/>
            <a:r>
              <a:rPr lang="en-GB" sz="1200" b="1" dirty="0">
                <a:solidFill>
                  <a:srgbClr val="4701A7"/>
                </a:solidFill>
                <a:cs typeface="Ubuntu Bold"/>
              </a:rPr>
              <a:t>Trust &amp; Regulation</a:t>
            </a:r>
          </a:p>
        </p:txBody>
      </p:sp>
      <p:sp>
        <p:nvSpPr>
          <p:cNvPr id="113" name="Freeform 26">
            <a:extLst>
              <a:ext uri="{FF2B5EF4-FFF2-40B4-BE49-F238E27FC236}">
                <a16:creationId xmlns:a16="http://schemas.microsoft.com/office/drawing/2014/main" id="{6C44204E-E6CA-47FF-878D-1B8DBD1BC4E2}"/>
              </a:ext>
            </a:extLst>
          </p:cNvPr>
          <p:cNvSpPr>
            <a:spLocks/>
          </p:cNvSpPr>
          <p:nvPr userDrawn="1"/>
        </p:nvSpPr>
        <p:spPr bwMode="auto">
          <a:xfrm>
            <a:off x="562925" y="5392963"/>
            <a:ext cx="1254448" cy="1175838"/>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4701A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114" name="Group 113">
            <a:extLst>
              <a:ext uri="{FF2B5EF4-FFF2-40B4-BE49-F238E27FC236}">
                <a16:creationId xmlns:a16="http://schemas.microsoft.com/office/drawing/2014/main" id="{8A483C94-9C7C-43DA-8E95-CDE0DED56224}"/>
              </a:ext>
            </a:extLst>
          </p:cNvPr>
          <p:cNvGrpSpPr/>
          <p:nvPr userDrawn="1"/>
        </p:nvGrpSpPr>
        <p:grpSpPr>
          <a:xfrm>
            <a:off x="726758" y="1385940"/>
            <a:ext cx="915300" cy="915300"/>
            <a:chOff x="1353715" y="1637650"/>
            <a:chExt cx="838305" cy="838305"/>
          </a:xfrm>
        </p:grpSpPr>
        <p:sp>
          <p:nvSpPr>
            <p:cNvPr id="115" name="Block Arc 114">
              <a:extLst>
                <a:ext uri="{FF2B5EF4-FFF2-40B4-BE49-F238E27FC236}">
                  <a16:creationId xmlns:a16="http://schemas.microsoft.com/office/drawing/2014/main" id="{1EA7CBD1-13C4-46FA-9480-F0D7C99E9FDA}"/>
                </a:ext>
              </a:extLst>
            </p:cNvPr>
            <p:cNvSpPr/>
            <p:nvPr userDrawn="1"/>
          </p:nvSpPr>
          <p:spPr>
            <a:xfrm>
              <a:off x="1353715" y="1637650"/>
              <a:ext cx="838305" cy="838305"/>
            </a:xfrm>
            <a:prstGeom prst="blockArc">
              <a:avLst>
                <a:gd name="adj1" fmla="val 9931431"/>
                <a:gd name="adj2" fmla="val 19501890"/>
                <a:gd name="adj3" fmla="val 14225"/>
              </a:avLst>
            </a:prstGeom>
            <a:solidFill>
              <a:srgbClr val="BCE7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16" name="Block Arc 115">
              <a:extLst>
                <a:ext uri="{FF2B5EF4-FFF2-40B4-BE49-F238E27FC236}">
                  <a16:creationId xmlns:a16="http://schemas.microsoft.com/office/drawing/2014/main" id="{F3A99AFA-4E88-4AD6-9978-39A4656F14C3}"/>
                </a:ext>
              </a:extLst>
            </p:cNvPr>
            <p:cNvSpPr/>
            <p:nvPr userDrawn="1"/>
          </p:nvSpPr>
          <p:spPr>
            <a:xfrm>
              <a:off x="1469308" y="1755254"/>
              <a:ext cx="607118" cy="607118"/>
            </a:xfrm>
            <a:prstGeom prst="blockArc">
              <a:avLst>
                <a:gd name="adj1" fmla="val 12441539"/>
                <a:gd name="adj2" fmla="val 3168047"/>
                <a:gd name="adj3" fmla="val 15873"/>
              </a:avLst>
            </a:prstGeom>
            <a:solidFill>
              <a:srgbClr val="12ABD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117" name="Group 116">
              <a:extLst>
                <a:ext uri="{FF2B5EF4-FFF2-40B4-BE49-F238E27FC236}">
                  <a16:creationId xmlns:a16="http://schemas.microsoft.com/office/drawing/2014/main" id="{68AD3E77-2BA6-4209-9D28-AEB99A90D229}"/>
                </a:ext>
              </a:extLst>
            </p:cNvPr>
            <p:cNvGrpSpPr/>
            <p:nvPr/>
          </p:nvGrpSpPr>
          <p:grpSpPr>
            <a:xfrm>
              <a:off x="1590844" y="1912600"/>
              <a:ext cx="364046" cy="320059"/>
              <a:chOff x="43216" y="1556297"/>
              <a:chExt cx="1384776" cy="1217459"/>
            </a:xfrm>
          </p:grpSpPr>
          <p:sp>
            <p:nvSpPr>
              <p:cNvPr id="118" name="Freeform: Shape 117">
                <a:extLst>
                  <a:ext uri="{FF2B5EF4-FFF2-40B4-BE49-F238E27FC236}">
                    <a16:creationId xmlns:a16="http://schemas.microsoft.com/office/drawing/2014/main" id="{E22EA448-9FDB-4D95-9377-B5F88CE1AB41}"/>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19" name="Freeform: Shape 118">
                <a:extLst>
                  <a:ext uri="{FF2B5EF4-FFF2-40B4-BE49-F238E27FC236}">
                    <a16:creationId xmlns:a16="http://schemas.microsoft.com/office/drawing/2014/main" id="{A0E628E3-41CA-4743-9183-DA05B7964072}"/>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20" name="Freeform: Shape 119">
                <a:extLst>
                  <a:ext uri="{FF2B5EF4-FFF2-40B4-BE49-F238E27FC236}">
                    <a16:creationId xmlns:a16="http://schemas.microsoft.com/office/drawing/2014/main" id="{4D576DAF-B21D-4E9B-ABDB-3E7EA2AB824A}"/>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nvGrpSpPr>
          <p:cNvPr id="121" name="Group 120">
            <a:extLst>
              <a:ext uri="{FF2B5EF4-FFF2-40B4-BE49-F238E27FC236}">
                <a16:creationId xmlns:a16="http://schemas.microsoft.com/office/drawing/2014/main" id="{8F8D5137-38FA-41E9-8453-FED47468CB39}"/>
              </a:ext>
            </a:extLst>
          </p:cNvPr>
          <p:cNvGrpSpPr/>
          <p:nvPr userDrawn="1"/>
        </p:nvGrpSpPr>
        <p:grpSpPr>
          <a:xfrm>
            <a:off x="726758" y="2811177"/>
            <a:ext cx="915300" cy="915300"/>
            <a:chOff x="1353715" y="1637650"/>
            <a:chExt cx="838305" cy="838305"/>
          </a:xfrm>
        </p:grpSpPr>
        <p:sp>
          <p:nvSpPr>
            <p:cNvPr id="122" name="Block Arc 121">
              <a:extLst>
                <a:ext uri="{FF2B5EF4-FFF2-40B4-BE49-F238E27FC236}">
                  <a16:creationId xmlns:a16="http://schemas.microsoft.com/office/drawing/2014/main" id="{F720CCCB-C1AC-44A3-A302-0F4A4EAB1D92}"/>
                </a:ext>
              </a:extLst>
            </p:cNvPr>
            <p:cNvSpPr/>
            <p:nvPr userDrawn="1"/>
          </p:nvSpPr>
          <p:spPr>
            <a:xfrm>
              <a:off x="1353715" y="1637650"/>
              <a:ext cx="838305" cy="838305"/>
            </a:xfrm>
            <a:prstGeom prst="blockArc">
              <a:avLst>
                <a:gd name="adj1" fmla="val 9931431"/>
                <a:gd name="adj2" fmla="val 19501890"/>
                <a:gd name="adj3" fmla="val 14225"/>
              </a:avLst>
            </a:prstGeom>
            <a:solidFill>
              <a:srgbClr val="FF304C">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23" name="Block Arc 122">
              <a:extLst>
                <a:ext uri="{FF2B5EF4-FFF2-40B4-BE49-F238E27FC236}">
                  <a16:creationId xmlns:a16="http://schemas.microsoft.com/office/drawing/2014/main" id="{E5B5558B-E590-4D45-956C-D933C0F83EF4}"/>
                </a:ext>
              </a:extLst>
            </p:cNvPr>
            <p:cNvSpPr/>
            <p:nvPr userDrawn="1"/>
          </p:nvSpPr>
          <p:spPr>
            <a:xfrm>
              <a:off x="1469308" y="1755254"/>
              <a:ext cx="607118" cy="607118"/>
            </a:xfrm>
            <a:prstGeom prst="blockArc">
              <a:avLst>
                <a:gd name="adj1" fmla="val 12441539"/>
                <a:gd name="adj2" fmla="val 3168047"/>
                <a:gd name="adj3" fmla="val 15873"/>
              </a:avLst>
            </a:prstGeom>
            <a:solidFill>
              <a:srgbClr val="FF304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124" name="Group 123">
              <a:extLst>
                <a:ext uri="{FF2B5EF4-FFF2-40B4-BE49-F238E27FC236}">
                  <a16:creationId xmlns:a16="http://schemas.microsoft.com/office/drawing/2014/main" id="{EC1BC158-7DB8-440A-90DA-8BB738D50AA7}"/>
                </a:ext>
              </a:extLst>
            </p:cNvPr>
            <p:cNvGrpSpPr/>
            <p:nvPr/>
          </p:nvGrpSpPr>
          <p:grpSpPr>
            <a:xfrm>
              <a:off x="1590844" y="1912600"/>
              <a:ext cx="364046" cy="320059"/>
              <a:chOff x="43216" y="1556297"/>
              <a:chExt cx="1384776" cy="1217459"/>
            </a:xfrm>
          </p:grpSpPr>
          <p:sp>
            <p:nvSpPr>
              <p:cNvPr id="125" name="Freeform: Shape 124">
                <a:extLst>
                  <a:ext uri="{FF2B5EF4-FFF2-40B4-BE49-F238E27FC236}">
                    <a16:creationId xmlns:a16="http://schemas.microsoft.com/office/drawing/2014/main" id="{6D12BD6D-5491-4397-8E4D-9D7E3604848A}"/>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FF304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sp>
            <p:nvSpPr>
              <p:cNvPr id="126" name="Freeform: Shape 125">
                <a:extLst>
                  <a:ext uri="{FF2B5EF4-FFF2-40B4-BE49-F238E27FC236}">
                    <a16:creationId xmlns:a16="http://schemas.microsoft.com/office/drawing/2014/main" id="{0E2E3F40-3171-4364-AED7-57F5B0241C7E}"/>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27" name="Freeform: Shape 126">
                <a:extLst>
                  <a:ext uri="{FF2B5EF4-FFF2-40B4-BE49-F238E27FC236}">
                    <a16:creationId xmlns:a16="http://schemas.microsoft.com/office/drawing/2014/main" id="{BB3C561D-1501-4C03-8ACD-E597FF1843E4}"/>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nvGrpSpPr>
          <p:cNvPr id="128" name="Group 127">
            <a:extLst>
              <a:ext uri="{FF2B5EF4-FFF2-40B4-BE49-F238E27FC236}">
                <a16:creationId xmlns:a16="http://schemas.microsoft.com/office/drawing/2014/main" id="{897F297F-FAFF-4431-9D31-CA1929D61E2E}"/>
              </a:ext>
            </a:extLst>
          </p:cNvPr>
          <p:cNvGrpSpPr/>
          <p:nvPr userDrawn="1"/>
        </p:nvGrpSpPr>
        <p:grpSpPr>
          <a:xfrm>
            <a:off x="732499" y="4184529"/>
            <a:ext cx="915300" cy="915300"/>
            <a:chOff x="1353715" y="1637650"/>
            <a:chExt cx="838305" cy="838305"/>
          </a:xfrm>
        </p:grpSpPr>
        <p:sp>
          <p:nvSpPr>
            <p:cNvPr id="129" name="Block Arc 128">
              <a:extLst>
                <a:ext uri="{FF2B5EF4-FFF2-40B4-BE49-F238E27FC236}">
                  <a16:creationId xmlns:a16="http://schemas.microsoft.com/office/drawing/2014/main" id="{7DA75AD2-905C-4BD6-A97A-46F13A58E20D}"/>
                </a:ext>
              </a:extLst>
            </p:cNvPr>
            <p:cNvSpPr/>
            <p:nvPr userDrawn="1"/>
          </p:nvSpPr>
          <p:spPr>
            <a:xfrm>
              <a:off x="1353715" y="1637650"/>
              <a:ext cx="838305" cy="838305"/>
            </a:xfrm>
            <a:prstGeom prst="blockArc">
              <a:avLst>
                <a:gd name="adj1" fmla="val 9931431"/>
                <a:gd name="adj2" fmla="val 19501890"/>
                <a:gd name="adj3" fmla="val 14225"/>
              </a:avLst>
            </a:prstGeom>
            <a:solidFill>
              <a:srgbClr val="00C37B">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30" name="Block Arc 129">
              <a:extLst>
                <a:ext uri="{FF2B5EF4-FFF2-40B4-BE49-F238E27FC236}">
                  <a16:creationId xmlns:a16="http://schemas.microsoft.com/office/drawing/2014/main" id="{4A6C6AAF-0156-42C3-82C8-B7E8472772EB}"/>
                </a:ext>
              </a:extLst>
            </p:cNvPr>
            <p:cNvSpPr/>
            <p:nvPr userDrawn="1"/>
          </p:nvSpPr>
          <p:spPr>
            <a:xfrm>
              <a:off x="1469308" y="1755254"/>
              <a:ext cx="607118" cy="607118"/>
            </a:xfrm>
            <a:prstGeom prst="blockArc">
              <a:avLst>
                <a:gd name="adj1" fmla="val 12441539"/>
                <a:gd name="adj2" fmla="val 3168047"/>
                <a:gd name="adj3" fmla="val 15873"/>
              </a:avLst>
            </a:prstGeom>
            <a:solidFill>
              <a:srgbClr val="0DD4D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131" name="Group 130">
              <a:extLst>
                <a:ext uri="{FF2B5EF4-FFF2-40B4-BE49-F238E27FC236}">
                  <a16:creationId xmlns:a16="http://schemas.microsoft.com/office/drawing/2014/main" id="{6F5505DE-5E96-4718-A494-63191BE78898}"/>
                </a:ext>
              </a:extLst>
            </p:cNvPr>
            <p:cNvGrpSpPr/>
            <p:nvPr/>
          </p:nvGrpSpPr>
          <p:grpSpPr>
            <a:xfrm>
              <a:off x="1590844" y="1912600"/>
              <a:ext cx="364046" cy="320059"/>
              <a:chOff x="43216" y="1556297"/>
              <a:chExt cx="1384776" cy="1217459"/>
            </a:xfrm>
          </p:grpSpPr>
          <p:sp>
            <p:nvSpPr>
              <p:cNvPr id="132" name="Freeform: Shape 131">
                <a:extLst>
                  <a:ext uri="{FF2B5EF4-FFF2-40B4-BE49-F238E27FC236}">
                    <a16:creationId xmlns:a16="http://schemas.microsoft.com/office/drawing/2014/main" id="{C9273A82-6BF9-4A99-8C2C-00C393DE139F}"/>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00C3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sp>
            <p:nvSpPr>
              <p:cNvPr id="133" name="Freeform: Shape 132">
                <a:extLst>
                  <a:ext uri="{FF2B5EF4-FFF2-40B4-BE49-F238E27FC236}">
                    <a16:creationId xmlns:a16="http://schemas.microsoft.com/office/drawing/2014/main" id="{926801B4-093B-439F-9BD0-EE2D9BA562BB}"/>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34" name="Freeform: Shape 133">
                <a:extLst>
                  <a:ext uri="{FF2B5EF4-FFF2-40B4-BE49-F238E27FC236}">
                    <a16:creationId xmlns:a16="http://schemas.microsoft.com/office/drawing/2014/main" id="{9265DE08-B823-472E-88FC-4FDEEDF508A9}"/>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nvGrpSpPr>
          <p:cNvPr id="135" name="Group 134">
            <a:extLst>
              <a:ext uri="{FF2B5EF4-FFF2-40B4-BE49-F238E27FC236}">
                <a16:creationId xmlns:a16="http://schemas.microsoft.com/office/drawing/2014/main" id="{F2B0EF5E-D5FA-49D1-9F4A-798C73D19F86}"/>
              </a:ext>
            </a:extLst>
          </p:cNvPr>
          <p:cNvGrpSpPr/>
          <p:nvPr userDrawn="1"/>
        </p:nvGrpSpPr>
        <p:grpSpPr>
          <a:xfrm>
            <a:off x="732499" y="5556579"/>
            <a:ext cx="915300" cy="915300"/>
            <a:chOff x="1353715" y="1637650"/>
            <a:chExt cx="838305" cy="838305"/>
          </a:xfrm>
        </p:grpSpPr>
        <p:sp>
          <p:nvSpPr>
            <p:cNvPr id="136" name="Block Arc 135">
              <a:extLst>
                <a:ext uri="{FF2B5EF4-FFF2-40B4-BE49-F238E27FC236}">
                  <a16:creationId xmlns:a16="http://schemas.microsoft.com/office/drawing/2014/main" id="{A5527C79-D394-47B9-BF21-695105C70E3B}"/>
                </a:ext>
              </a:extLst>
            </p:cNvPr>
            <p:cNvSpPr/>
            <p:nvPr userDrawn="1"/>
          </p:nvSpPr>
          <p:spPr>
            <a:xfrm>
              <a:off x="1353715" y="1637650"/>
              <a:ext cx="838305" cy="838305"/>
            </a:xfrm>
            <a:prstGeom prst="blockArc">
              <a:avLst>
                <a:gd name="adj1" fmla="val 9931431"/>
                <a:gd name="adj2" fmla="val 19501890"/>
                <a:gd name="adj3" fmla="val 14225"/>
              </a:avLst>
            </a:prstGeom>
            <a:solidFill>
              <a:srgbClr val="88D5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37" name="Block Arc 136">
              <a:extLst>
                <a:ext uri="{FF2B5EF4-FFF2-40B4-BE49-F238E27FC236}">
                  <a16:creationId xmlns:a16="http://schemas.microsoft.com/office/drawing/2014/main" id="{CBA278D4-E9B8-4D3A-8E20-1A7B2789FCF3}"/>
                </a:ext>
              </a:extLst>
            </p:cNvPr>
            <p:cNvSpPr/>
            <p:nvPr userDrawn="1"/>
          </p:nvSpPr>
          <p:spPr>
            <a:xfrm>
              <a:off x="1469308" y="1755254"/>
              <a:ext cx="607118" cy="607118"/>
            </a:xfrm>
            <a:prstGeom prst="blockArc">
              <a:avLst>
                <a:gd name="adj1" fmla="val 12441539"/>
                <a:gd name="adj2" fmla="val 3168047"/>
                <a:gd name="adj3" fmla="val 15873"/>
              </a:avLst>
            </a:prstGeom>
            <a:solidFill>
              <a:srgbClr val="6D64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138" name="Group 137">
              <a:extLst>
                <a:ext uri="{FF2B5EF4-FFF2-40B4-BE49-F238E27FC236}">
                  <a16:creationId xmlns:a16="http://schemas.microsoft.com/office/drawing/2014/main" id="{0B8E9356-FDC6-4A31-B901-5F5ED2D15A64}"/>
                </a:ext>
              </a:extLst>
            </p:cNvPr>
            <p:cNvGrpSpPr/>
            <p:nvPr/>
          </p:nvGrpSpPr>
          <p:grpSpPr>
            <a:xfrm>
              <a:off x="1590844" y="1912600"/>
              <a:ext cx="364046" cy="320059"/>
              <a:chOff x="43216" y="1556297"/>
              <a:chExt cx="1384776" cy="1217459"/>
            </a:xfrm>
          </p:grpSpPr>
          <p:sp>
            <p:nvSpPr>
              <p:cNvPr id="139" name="Freeform: Shape 138">
                <a:extLst>
                  <a:ext uri="{FF2B5EF4-FFF2-40B4-BE49-F238E27FC236}">
                    <a16:creationId xmlns:a16="http://schemas.microsoft.com/office/drawing/2014/main" id="{2FC3C18C-CAF5-4088-9CD8-550E1CAB11A2}"/>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4701A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sp>
            <p:nvSpPr>
              <p:cNvPr id="140" name="Freeform: Shape 139">
                <a:extLst>
                  <a:ext uri="{FF2B5EF4-FFF2-40B4-BE49-F238E27FC236}">
                    <a16:creationId xmlns:a16="http://schemas.microsoft.com/office/drawing/2014/main" id="{E06DAE1F-076A-4D1D-A73F-DCED2AB47D8F}"/>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41" name="Freeform: Shape 140">
                <a:extLst>
                  <a:ext uri="{FF2B5EF4-FFF2-40B4-BE49-F238E27FC236}">
                    <a16:creationId xmlns:a16="http://schemas.microsoft.com/office/drawing/2014/main" id="{B2E5345B-8175-413D-B128-5B724F833E55}"/>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sp>
        <p:nvSpPr>
          <p:cNvPr id="142" name="Text Placeholder 2">
            <a:extLst>
              <a:ext uri="{FF2B5EF4-FFF2-40B4-BE49-F238E27FC236}">
                <a16:creationId xmlns:a16="http://schemas.microsoft.com/office/drawing/2014/main" id="{EB075AA5-6B85-411A-871A-168F776F9D64}"/>
              </a:ext>
            </a:extLst>
          </p:cNvPr>
          <p:cNvSpPr>
            <a:spLocks noGrp="1"/>
          </p:cNvSpPr>
          <p:nvPr>
            <p:ph type="body" sz="quarter" idx="10"/>
          </p:nvPr>
        </p:nvSpPr>
        <p:spPr>
          <a:xfrm>
            <a:off x="2229092" y="1164280"/>
            <a:ext cx="4313948" cy="946413"/>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chemeClr val="accent1"/>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200" kern="1200" dirty="0" smtClean="0">
                <a:solidFill>
                  <a:schemeClr val="accent3"/>
                </a:solidFill>
                <a:latin typeface="+mj-lt"/>
                <a:ea typeface="+mn-ea"/>
                <a:cs typeface="Ubuntu Light"/>
              </a:defRPr>
            </a:lvl2pPr>
            <a:lvl3pPr marL="266700" indent="0">
              <a:buNone/>
              <a:defRPr/>
            </a:lvl3pPr>
          </a:lstStyle>
          <a:p>
            <a:pPr lvl="0"/>
            <a:r>
              <a:rPr lang="en-US" dirty="0"/>
              <a:t>Edit Master text styles</a:t>
            </a:r>
          </a:p>
          <a:p>
            <a:pPr lvl="1"/>
            <a:r>
              <a:rPr lang="en-US" dirty="0"/>
              <a:t>Replace by business theme content, maximum 3 lines</a:t>
            </a:r>
          </a:p>
          <a:p>
            <a:pPr lvl="1"/>
            <a:r>
              <a:rPr lang="en-US" dirty="0"/>
              <a:t>Replace by business theme content, maximum 3 lines</a:t>
            </a:r>
          </a:p>
          <a:p>
            <a:pPr lvl="1"/>
            <a:r>
              <a:rPr lang="en-US" dirty="0"/>
              <a:t>Replace by business theme content, maximum 3 lines</a:t>
            </a:r>
          </a:p>
        </p:txBody>
      </p:sp>
      <p:sp>
        <p:nvSpPr>
          <p:cNvPr id="143" name="Text Placeholder 2">
            <a:extLst>
              <a:ext uri="{FF2B5EF4-FFF2-40B4-BE49-F238E27FC236}">
                <a16:creationId xmlns:a16="http://schemas.microsoft.com/office/drawing/2014/main" id="{7F4FC4B1-EEF8-4DA9-8489-6443E852AE58}"/>
              </a:ext>
            </a:extLst>
          </p:cNvPr>
          <p:cNvSpPr>
            <a:spLocks noGrp="1"/>
          </p:cNvSpPr>
          <p:nvPr>
            <p:ph type="body" sz="quarter" idx="11"/>
          </p:nvPr>
        </p:nvSpPr>
        <p:spPr>
          <a:xfrm>
            <a:off x="2229092" y="2570083"/>
            <a:ext cx="4313948" cy="946413"/>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chemeClr val="accent4"/>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200" kern="1200" dirty="0" smtClean="0">
                <a:solidFill>
                  <a:schemeClr val="accent3"/>
                </a:solidFill>
                <a:latin typeface="+mj-lt"/>
                <a:ea typeface="+mn-ea"/>
                <a:cs typeface="Ubuntu Light"/>
              </a:defRPr>
            </a:lvl2pPr>
            <a:lvl3pPr marL="266700" indent="0">
              <a:buNone/>
              <a:defRPr/>
            </a:lvl3pPr>
          </a:lstStyle>
          <a:p>
            <a:pPr lvl="0"/>
            <a:r>
              <a:rPr lang="en-US" dirty="0"/>
              <a:t>Edit Master text styles</a:t>
            </a:r>
          </a:p>
          <a:p>
            <a:pPr lvl="1"/>
            <a:r>
              <a:rPr lang="en-US" dirty="0"/>
              <a:t>Replace by business theme content, maximum 3 lines</a:t>
            </a:r>
          </a:p>
          <a:p>
            <a:pPr lvl="1"/>
            <a:r>
              <a:rPr lang="en-US" dirty="0"/>
              <a:t>Replace by business theme content, maximum 3 lines</a:t>
            </a:r>
          </a:p>
          <a:p>
            <a:pPr lvl="1"/>
            <a:r>
              <a:rPr lang="en-US" dirty="0"/>
              <a:t>Replace by business theme content, maximum 3 lines</a:t>
            </a:r>
          </a:p>
        </p:txBody>
      </p:sp>
      <p:sp>
        <p:nvSpPr>
          <p:cNvPr id="144" name="Text Placeholder 2">
            <a:extLst>
              <a:ext uri="{FF2B5EF4-FFF2-40B4-BE49-F238E27FC236}">
                <a16:creationId xmlns:a16="http://schemas.microsoft.com/office/drawing/2014/main" id="{EC9CCE40-D454-404A-B47B-76FB2A820D3D}"/>
              </a:ext>
            </a:extLst>
          </p:cNvPr>
          <p:cNvSpPr>
            <a:spLocks noGrp="1"/>
          </p:cNvSpPr>
          <p:nvPr>
            <p:ph type="body" sz="quarter" idx="12"/>
          </p:nvPr>
        </p:nvSpPr>
        <p:spPr>
          <a:xfrm>
            <a:off x="2229092" y="3927360"/>
            <a:ext cx="4313948" cy="946413"/>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rgbClr val="00C37B"/>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200" kern="1200" dirty="0" smtClean="0">
                <a:solidFill>
                  <a:schemeClr val="accent3"/>
                </a:solidFill>
                <a:latin typeface="+mj-lt"/>
                <a:ea typeface="+mn-ea"/>
                <a:cs typeface="Ubuntu Light"/>
              </a:defRPr>
            </a:lvl2pPr>
            <a:lvl3pPr marL="266700" indent="0">
              <a:buNone/>
              <a:defRPr/>
            </a:lvl3pPr>
          </a:lstStyle>
          <a:p>
            <a:pPr lvl="0"/>
            <a:r>
              <a:rPr lang="en-US" dirty="0"/>
              <a:t>Edit Master text styles</a:t>
            </a:r>
          </a:p>
          <a:p>
            <a:pPr lvl="1"/>
            <a:r>
              <a:rPr lang="en-US" dirty="0"/>
              <a:t>Replace by business theme content, maximum 3 lines</a:t>
            </a:r>
          </a:p>
          <a:p>
            <a:pPr lvl="1"/>
            <a:r>
              <a:rPr lang="en-US" dirty="0"/>
              <a:t>Replace by business theme content, maximum 3 lines</a:t>
            </a:r>
          </a:p>
          <a:p>
            <a:pPr lvl="1"/>
            <a:r>
              <a:rPr lang="en-US" dirty="0"/>
              <a:t>Replace by business theme content, maximum 3 lines</a:t>
            </a:r>
          </a:p>
        </p:txBody>
      </p:sp>
      <p:sp>
        <p:nvSpPr>
          <p:cNvPr id="145" name="Text Placeholder 2">
            <a:extLst>
              <a:ext uri="{FF2B5EF4-FFF2-40B4-BE49-F238E27FC236}">
                <a16:creationId xmlns:a16="http://schemas.microsoft.com/office/drawing/2014/main" id="{24F67D90-0B9E-4EA7-AC7F-428E09B60643}"/>
              </a:ext>
            </a:extLst>
          </p:cNvPr>
          <p:cNvSpPr>
            <a:spLocks noGrp="1"/>
          </p:cNvSpPr>
          <p:nvPr>
            <p:ph type="body" sz="quarter" idx="13"/>
          </p:nvPr>
        </p:nvSpPr>
        <p:spPr>
          <a:xfrm>
            <a:off x="2229092" y="5320475"/>
            <a:ext cx="4313948" cy="946413"/>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rgbClr val="4701A7"/>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200" kern="1200" dirty="0" smtClean="0">
                <a:solidFill>
                  <a:schemeClr val="accent3"/>
                </a:solidFill>
                <a:latin typeface="+mj-lt"/>
                <a:ea typeface="+mn-ea"/>
                <a:cs typeface="Ubuntu Light"/>
              </a:defRPr>
            </a:lvl2pPr>
            <a:lvl3pPr marL="266700" indent="0">
              <a:buNone/>
              <a:defRPr/>
            </a:lvl3pPr>
          </a:lstStyle>
          <a:p>
            <a:pPr lvl="0"/>
            <a:r>
              <a:rPr lang="en-US" dirty="0"/>
              <a:t>Edit Master text styles</a:t>
            </a:r>
          </a:p>
          <a:p>
            <a:pPr lvl="1"/>
            <a:r>
              <a:rPr lang="en-US" dirty="0"/>
              <a:t>Replace by business theme content, maximum 3 lines</a:t>
            </a:r>
          </a:p>
          <a:p>
            <a:pPr lvl="1"/>
            <a:r>
              <a:rPr lang="en-US" dirty="0"/>
              <a:t>Replace by business theme content, maximum 3 lines</a:t>
            </a:r>
          </a:p>
          <a:p>
            <a:pPr lvl="1"/>
            <a:r>
              <a:rPr lang="en-US" dirty="0"/>
              <a:t>Replace by business theme content, maximum 3 lines</a:t>
            </a:r>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786143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Cover1">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634B5AA-6F1F-414A-899B-C072D4C85F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11" name="Title 1"/>
          <p:cNvSpPr>
            <a:spLocks noGrp="1"/>
          </p:cNvSpPr>
          <p:nvPr>
            <p:ph type="ctrTitle" hasCustomPrompt="1"/>
          </p:nvPr>
        </p:nvSpPr>
        <p:spPr>
          <a:xfrm>
            <a:off x="407988" y="4338637"/>
            <a:ext cx="500221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5202236"/>
            <a:ext cx="500221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9"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7831" y="404813"/>
            <a:ext cx="2286000" cy="510013"/>
          </a:xfrm>
          <a:prstGeom prst="rect">
            <a:avLst/>
          </a:prstGeom>
        </p:spPr>
      </p:pic>
      <p:sp>
        <p:nvSpPr>
          <p:cNvPr id="7" name="Freeform: Shape 6">
            <a:extLst>
              <a:ext uri="{FF2B5EF4-FFF2-40B4-BE49-F238E27FC236}">
                <a16:creationId xmlns:a16="http://schemas.microsoft.com/office/drawing/2014/main" id="{7C343028-AF1F-4092-8873-9EA6144C0AAD}"/>
              </a:ext>
            </a:extLst>
          </p:cNvPr>
          <p:cNvSpPr/>
          <p:nvPr userDrawn="1"/>
        </p:nvSpPr>
        <p:spPr>
          <a:xfrm rot="4961035">
            <a:off x="9166054" y="4311898"/>
            <a:ext cx="2355642" cy="2534825"/>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355642"/>
              <a:gd name="connsiteY0" fmla="*/ 1731713 h 2237681"/>
              <a:gd name="connsiteX1" fmla="*/ 1490967 w 2355642"/>
              <a:gd name="connsiteY1" fmla="*/ 100392 h 2237681"/>
              <a:gd name="connsiteX2" fmla="*/ 1856817 w 2355642"/>
              <a:gd name="connsiteY2" fmla="*/ 0 h 2237681"/>
              <a:gd name="connsiteX3" fmla="*/ 2355642 w 2355642"/>
              <a:gd name="connsiteY3" fmla="*/ 171757 h 2237681"/>
              <a:gd name="connsiteX4" fmla="*/ 256032 w 2355642"/>
              <a:gd name="connsiteY4" fmla="*/ 2237681 h 2237681"/>
              <a:gd name="connsiteX5" fmla="*/ 0 w 2355642"/>
              <a:gd name="connsiteY5" fmla="*/ 1731713 h 2237681"/>
              <a:gd name="connsiteX0" fmla="*/ 0 w 2355642"/>
              <a:gd name="connsiteY0" fmla="*/ 1731713 h 2237681"/>
              <a:gd name="connsiteX1" fmla="*/ 1490967 w 2355642"/>
              <a:gd name="connsiteY1" fmla="*/ 100392 h 2237681"/>
              <a:gd name="connsiteX2" fmla="*/ 1856817 w 2355642"/>
              <a:gd name="connsiteY2" fmla="*/ 0 h 2237681"/>
              <a:gd name="connsiteX3" fmla="*/ 2355642 w 2355642"/>
              <a:gd name="connsiteY3" fmla="*/ 171757 h 2237681"/>
              <a:gd name="connsiteX4" fmla="*/ 256032 w 2355642"/>
              <a:gd name="connsiteY4" fmla="*/ 2237681 h 2237681"/>
              <a:gd name="connsiteX5" fmla="*/ 0 w 2355642"/>
              <a:gd name="connsiteY5" fmla="*/ 1731713 h 2237681"/>
              <a:gd name="connsiteX0" fmla="*/ 0 w 2355642"/>
              <a:gd name="connsiteY0" fmla="*/ 1731713 h 2237681"/>
              <a:gd name="connsiteX1" fmla="*/ 1490967 w 2355642"/>
              <a:gd name="connsiteY1" fmla="*/ 100392 h 2237681"/>
              <a:gd name="connsiteX2" fmla="*/ 1856817 w 2355642"/>
              <a:gd name="connsiteY2" fmla="*/ 0 h 2237681"/>
              <a:gd name="connsiteX3" fmla="*/ 2355642 w 2355642"/>
              <a:gd name="connsiteY3" fmla="*/ 171757 h 2237681"/>
              <a:gd name="connsiteX4" fmla="*/ 256032 w 2355642"/>
              <a:gd name="connsiteY4" fmla="*/ 2237681 h 2237681"/>
              <a:gd name="connsiteX5" fmla="*/ 0 w 2355642"/>
              <a:gd name="connsiteY5" fmla="*/ 1731713 h 2237681"/>
              <a:gd name="connsiteX0" fmla="*/ 0 w 2355642"/>
              <a:gd name="connsiteY0" fmla="*/ 2028857 h 2534825"/>
              <a:gd name="connsiteX1" fmla="*/ 1490967 w 2355642"/>
              <a:gd name="connsiteY1" fmla="*/ 397536 h 2534825"/>
              <a:gd name="connsiteX2" fmla="*/ 1935941 w 2355642"/>
              <a:gd name="connsiteY2" fmla="*/ 0 h 2534825"/>
              <a:gd name="connsiteX3" fmla="*/ 2355642 w 2355642"/>
              <a:gd name="connsiteY3" fmla="*/ 468901 h 2534825"/>
              <a:gd name="connsiteX4" fmla="*/ 256032 w 2355642"/>
              <a:gd name="connsiteY4" fmla="*/ 2534825 h 2534825"/>
              <a:gd name="connsiteX5" fmla="*/ 0 w 2355642"/>
              <a:gd name="connsiteY5" fmla="*/ 2028857 h 253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5642" h="2534825">
                <a:moveTo>
                  <a:pt x="0" y="2028857"/>
                </a:moveTo>
                <a:cubicBezTo>
                  <a:pt x="650240" y="1551337"/>
                  <a:pt x="1029703" y="966496"/>
                  <a:pt x="1490967" y="397536"/>
                </a:cubicBezTo>
                <a:lnTo>
                  <a:pt x="1935941" y="0"/>
                </a:lnTo>
                <a:lnTo>
                  <a:pt x="2355642" y="468901"/>
                </a:lnTo>
                <a:cubicBezTo>
                  <a:pt x="1666597" y="1312583"/>
                  <a:pt x="652692" y="2452589"/>
                  <a:pt x="256032" y="2534825"/>
                </a:cubicBezTo>
                <a:lnTo>
                  <a:pt x="0" y="2028857"/>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836966E-EA46-458E-8DA7-79208C8838E9}"/>
              </a:ext>
            </a:extLst>
          </p:cNvPr>
          <p:cNvSpPr/>
          <p:nvPr userDrawn="1"/>
        </p:nvSpPr>
        <p:spPr>
          <a:xfrm rot="2203129">
            <a:off x="8613946" y="5112505"/>
            <a:ext cx="3351333" cy="641845"/>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3306997261"/>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51" name="Rectangle 50">
            <a:extLst>
              <a:ext uri="{FF2B5EF4-FFF2-40B4-BE49-F238E27FC236}">
                <a16:creationId xmlns:a16="http://schemas.microsoft.com/office/drawing/2014/main" id="{D60C8B95-5C8D-4ABF-876A-507B23D7C362}"/>
              </a:ext>
            </a:extLst>
          </p:cNvPr>
          <p:cNvSpPr/>
          <p:nvPr userDrawn="1"/>
        </p:nvSpPr>
        <p:spPr>
          <a:xfrm>
            <a:off x="822639" y="3645000"/>
            <a:ext cx="1872000" cy="273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lstStyle/>
          <a:p>
            <a:pPr algn="ctr">
              <a:spcBef>
                <a:spcPts val="200"/>
              </a:spcBef>
              <a:spcAft>
                <a:spcPts val="600"/>
              </a:spcAft>
              <a:buClr>
                <a:schemeClr val="accent1"/>
              </a:buClr>
              <a:defRPr/>
            </a:pPr>
            <a:endParaRPr lang="en-GB" sz="1150" dirty="0">
              <a:solidFill>
                <a:schemeClr val="bg1"/>
              </a:solidFill>
              <a:latin typeface="+mj-lt"/>
              <a:cs typeface="Ubuntu Light"/>
            </a:endParaRPr>
          </a:p>
        </p:txBody>
      </p:sp>
      <p:sp>
        <p:nvSpPr>
          <p:cNvPr id="52" name="Rectangle 51">
            <a:extLst>
              <a:ext uri="{FF2B5EF4-FFF2-40B4-BE49-F238E27FC236}">
                <a16:creationId xmlns:a16="http://schemas.microsoft.com/office/drawing/2014/main" id="{10326633-BC67-4663-A5A6-E66202D82ACB}"/>
              </a:ext>
            </a:extLst>
          </p:cNvPr>
          <p:cNvSpPr/>
          <p:nvPr userDrawn="1"/>
        </p:nvSpPr>
        <p:spPr>
          <a:xfrm>
            <a:off x="822639" y="2905125"/>
            <a:ext cx="1872000" cy="6625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1"/>
          <a:lstStyle/>
          <a:p>
            <a:pPr marL="0" lvl="1" algn="ctr" defTabSz="711200">
              <a:spcBef>
                <a:spcPct val="0"/>
              </a:spcBef>
              <a:spcAft>
                <a:spcPct val="15000"/>
              </a:spcAft>
            </a:pPr>
            <a:endParaRPr lang="en-US" sz="1100" b="1" dirty="0">
              <a:solidFill>
                <a:schemeClr val="accent4"/>
              </a:solidFill>
              <a:latin typeface="+mj-lt"/>
              <a:cs typeface="Ubuntu Bold"/>
            </a:endParaRPr>
          </a:p>
        </p:txBody>
      </p:sp>
      <p:grpSp>
        <p:nvGrpSpPr>
          <p:cNvPr id="53" name="Group 52">
            <a:extLst>
              <a:ext uri="{FF2B5EF4-FFF2-40B4-BE49-F238E27FC236}">
                <a16:creationId xmlns:a16="http://schemas.microsoft.com/office/drawing/2014/main" id="{BD864DC1-B4F9-4947-B6B9-2FC15B872A53}"/>
              </a:ext>
            </a:extLst>
          </p:cNvPr>
          <p:cNvGrpSpPr/>
          <p:nvPr userDrawn="1"/>
        </p:nvGrpSpPr>
        <p:grpSpPr>
          <a:xfrm>
            <a:off x="931107" y="1353312"/>
            <a:ext cx="1655064" cy="1505396"/>
            <a:chOff x="931107" y="1566571"/>
            <a:chExt cx="1655064" cy="1505396"/>
          </a:xfrm>
        </p:grpSpPr>
        <p:grpSp>
          <p:nvGrpSpPr>
            <p:cNvPr id="54" name="Group 53">
              <a:extLst>
                <a:ext uri="{FF2B5EF4-FFF2-40B4-BE49-F238E27FC236}">
                  <a16:creationId xmlns:a16="http://schemas.microsoft.com/office/drawing/2014/main" id="{A15345CB-9103-47A4-9BBA-AD95846142F9}"/>
                </a:ext>
              </a:extLst>
            </p:cNvPr>
            <p:cNvGrpSpPr/>
            <p:nvPr/>
          </p:nvGrpSpPr>
          <p:grpSpPr>
            <a:xfrm>
              <a:off x="1137176" y="1723415"/>
              <a:ext cx="1242926" cy="1165037"/>
              <a:chOff x="1143742" y="1261298"/>
              <a:chExt cx="1242926" cy="1165037"/>
            </a:xfrm>
          </p:grpSpPr>
          <p:sp>
            <p:nvSpPr>
              <p:cNvPr id="56" name="Freeform 26">
                <a:extLst>
                  <a:ext uri="{FF2B5EF4-FFF2-40B4-BE49-F238E27FC236}">
                    <a16:creationId xmlns:a16="http://schemas.microsoft.com/office/drawing/2014/main" id="{7358E691-1DE1-4569-8EEC-510BE9F7374B}"/>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57" name="Group 56">
                <a:extLst>
                  <a:ext uri="{FF2B5EF4-FFF2-40B4-BE49-F238E27FC236}">
                    <a16:creationId xmlns:a16="http://schemas.microsoft.com/office/drawing/2014/main" id="{818A0350-C1CD-4039-A5E9-B1E510BEE20F}"/>
                  </a:ext>
                </a:extLst>
              </p:cNvPr>
              <p:cNvGrpSpPr/>
              <p:nvPr/>
            </p:nvGrpSpPr>
            <p:grpSpPr>
              <a:xfrm>
                <a:off x="1346053" y="1470010"/>
                <a:ext cx="838305" cy="838305"/>
                <a:chOff x="1353715" y="1637650"/>
                <a:chExt cx="838305" cy="838305"/>
              </a:xfrm>
            </p:grpSpPr>
            <p:sp>
              <p:nvSpPr>
                <p:cNvPr id="58" name="Block Arc 57">
                  <a:extLst>
                    <a:ext uri="{FF2B5EF4-FFF2-40B4-BE49-F238E27FC236}">
                      <a16:creationId xmlns:a16="http://schemas.microsoft.com/office/drawing/2014/main" id="{D98FAF42-CA03-45B8-A016-D670F9959B69}"/>
                    </a:ext>
                  </a:extLst>
                </p:cNvPr>
                <p:cNvSpPr/>
                <p:nvPr userDrawn="1"/>
              </p:nvSpPr>
              <p:spPr>
                <a:xfrm>
                  <a:off x="1353715" y="1637650"/>
                  <a:ext cx="838305" cy="838305"/>
                </a:xfrm>
                <a:prstGeom prst="blockArc">
                  <a:avLst>
                    <a:gd name="adj1" fmla="val 9931431"/>
                    <a:gd name="adj2" fmla="val 19501890"/>
                    <a:gd name="adj3" fmla="val 14225"/>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Block Arc 58">
                  <a:extLst>
                    <a:ext uri="{FF2B5EF4-FFF2-40B4-BE49-F238E27FC236}">
                      <a16:creationId xmlns:a16="http://schemas.microsoft.com/office/drawing/2014/main" id="{600F5653-2E77-43DF-A464-FAC8CF26CBEA}"/>
                    </a:ext>
                  </a:extLst>
                </p:cNvPr>
                <p:cNvSpPr/>
                <p:nvPr userDrawn="1"/>
              </p:nvSpPr>
              <p:spPr>
                <a:xfrm>
                  <a:off x="1469308" y="1755254"/>
                  <a:ext cx="607118" cy="607118"/>
                </a:xfrm>
                <a:prstGeom prst="blockArc">
                  <a:avLst>
                    <a:gd name="adj1" fmla="val 12441539"/>
                    <a:gd name="adj2" fmla="val 3168047"/>
                    <a:gd name="adj3" fmla="val 15873"/>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60" name="Group 59">
                  <a:extLst>
                    <a:ext uri="{FF2B5EF4-FFF2-40B4-BE49-F238E27FC236}">
                      <a16:creationId xmlns:a16="http://schemas.microsoft.com/office/drawing/2014/main" id="{6C491D59-57F7-4DE6-BF20-7D2802485D3E}"/>
                    </a:ext>
                  </a:extLst>
                </p:cNvPr>
                <p:cNvGrpSpPr/>
                <p:nvPr/>
              </p:nvGrpSpPr>
              <p:grpSpPr>
                <a:xfrm>
                  <a:off x="1590844" y="1912600"/>
                  <a:ext cx="364046" cy="320059"/>
                  <a:chOff x="43216" y="1556297"/>
                  <a:chExt cx="1384776" cy="1217459"/>
                </a:xfrm>
              </p:grpSpPr>
              <p:sp>
                <p:nvSpPr>
                  <p:cNvPr id="61" name="Freeform: Shape 60">
                    <a:extLst>
                      <a:ext uri="{FF2B5EF4-FFF2-40B4-BE49-F238E27FC236}">
                        <a16:creationId xmlns:a16="http://schemas.microsoft.com/office/drawing/2014/main" id="{477D8FBB-9FEB-43F7-B214-7CE66FBE070D}"/>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Shape 61">
                    <a:extLst>
                      <a:ext uri="{FF2B5EF4-FFF2-40B4-BE49-F238E27FC236}">
                        <a16:creationId xmlns:a16="http://schemas.microsoft.com/office/drawing/2014/main" id="{391EAA44-1957-4713-8C06-C0A4F1AF3A8F}"/>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Shape 62">
                    <a:extLst>
                      <a:ext uri="{FF2B5EF4-FFF2-40B4-BE49-F238E27FC236}">
                        <a16:creationId xmlns:a16="http://schemas.microsoft.com/office/drawing/2014/main" id="{E0F0C089-7EAD-4398-8763-7F427F1D91AF}"/>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grpSp>
        <p:sp>
          <p:nvSpPr>
            <p:cNvPr id="55" name="Rectangle 54">
              <a:extLst>
                <a:ext uri="{FF2B5EF4-FFF2-40B4-BE49-F238E27FC236}">
                  <a16:creationId xmlns:a16="http://schemas.microsoft.com/office/drawing/2014/main" id="{6F7D9259-DFF1-4A4B-B3B8-4678BBB60A46}"/>
                </a:ext>
              </a:extLst>
            </p:cNvPr>
            <p:cNvSpPr/>
            <p:nvPr/>
          </p:nvSpPr>
          <p:spPr>
            <a:xfrm>
              <a:off x="931107" y="1566571"/>
              <a:ext cx="1655064" cy="1505396"/>
            </a:xfrm>
            <a:prstGeom prst="rect">
              <a:avLst/>
            </a:prstGeom>
            <a:noFill/>
          </p:spPr>
          <p:txBody>
            <a:bodyPr wrap="none" lIns="0" tIns="0" rIns="0" bIns="0">
              <a:prstTxWarp prst="textArchUp">
                <a:avLst>
                  <a:gd name="adj" fmla="val 7216448"/>
                </a:avLst>
              </a:prstTxWarp>
              <a:spAutoFit/>
            </a:bodyPr>
            <a:lstStyle/>
            <a:p>
              <a:pPr lvl="0" algn="ctr"/>
              <a:r>
                <a:rPr lang="en-GB" sz="1200" b="1" dirty="0">
                  <a:solidFill>
                    <a:srgbClr val="FF304C"/>
                  </a:solidFill>
                  <a:cs typeface="Ubuntu Bold"/>
                </a:rPr>
                <a:t>Next Best Action</a:t>
              </a:r>
            </a:p>
          </p:txBody>
        </p:sp>
      </p:grpSp>
      <p:sp>
        <p:nvSpPr>
          <p:cNvPr id="64" name="Rectangle 63">
            <a:extLst>
              <a:ext uri="{FF2B5EF4-FFF2-40B4-BE49-F238E27FC236}">
                <a16:creationId xmlns:a16="http://schemas.microsoft.com/office/drawing/2014/main" id="{D77F822C-11E8-4DA4-B626-A8D499118DC9}"/>
              </a:ext>
            </a:extLst>
          </p:cNvPr>
          <p:cNvSpPr/>
          <p:nvPr userDrawn="1"/>
        </p:nvSpPr>
        <p:spPr>
          <a:xfrm>
            <a:off x="2997210" y="3645000"/>
            <a:ext cx="1872000" cy="2736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lstStyle/>
          <a:p>
            <a:pPr algn="ctr">
              <a:spcBef>
                <a:spcPts val="200"/>
              </a:spcBef>
              <a:spcAft>
                <a:spcPts val="600"/>
              </a:spcAft>
              <a:buClr>
                <a:schemeClr val="accent1"/>
              </a:buClr>
              <a:defRPr/>
            </a:pPr>
            <a:endParaRPr lang="en-GB" sz="1150" dirty="0">
              <a:solidFill>
                <a:srgbClr val="FFFFFF"/>
              </a:solidFill>
              <a:latin typeface="+mj-lt"/>
              <a:cs typeface="Ubuntu Light"/>
            </a:endParaRPr>
          </a:p>
        </p:txBody>
      </p:sp>
      <p:sp>
        <p:nvSpPr>
          <p:cNvPr id="65" name="Rectangle 64">
            <a:extLst>
              <a:ext uri="{FF2B5EF4-FFF2-40B4-BE49-F238E27FC236}">
                <a16:creationId xmlns:a16="http://schemas.microsoft.com/office/drawing/2014/main" id="{F116528D-235C-4A67-A859-70C0F4108059}"/>
              </a:ext>
            </a:extLst>
          </p:cNvPr>
          <p:cNvSpPr/>
          <p:nvPr userDrawn="1"/>
        </p:nvSpPr>
        <p:spPr>
          <a:xfrm>
            <a:off x="2997210" y="2905125"/>
            <a:ext cx="1872000" cy="662550"/>
          </a:xfrm>
          <a:prstGeom prst="rect">
            <a:avLst/>
          </a:prstGeom>
          <a:solidFill>
            <a:srgbClr val="15636B">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1"/>
          <a:lstStyle/>
          <a:p>
            <a:pPr marL="0" lvl="1" algn="ctr" defTabSz="711200">
              <a:spcBef>
                <a:spcPct val="0"/>
              </a:spcBef>
              <a:spcAft>
                <a:spcPct val="15000"/>
              </a:spcAft>
            </a:pPr>
            <a:endParaRPr lang="en-US" sz="1100" b="1" dirty="0">
              <a:solidFill>
                <a:srgbClr val="15636B"/>
              </a:solidFill>
              <a:latin typeface="+mj-lt"/>
              <a:cs typeface="Ubuntu Bold"/>
            </a:endParaRPr>
          </a:p>
        </p:txBody>
      </p:sp>
      <p:grpSp>
        <p:nvGrpSpPr>
          <p:cNvPr id="66" name="Group 65">
            <a:extLst>
              <a:ext uri="{FF2B5EF4-FFF2-40B4-BE49-F238E27FC236}">
                <a16:creationId xmlns:a16="http://schemas.microsoft.com/office/drawing/2014/main" id="{7EEDDE2E-BEF8-4590-8812-20FC9E407A76}"/>
              </a:ext>
            </a:extLst>
          </p:cNvPr>
          <p:cNvGrpSpPr/>
          <p:nvPr userDrawn="1"/>
        </p:nvGrpSpPr>
        <p:grpSpPr>
          <a:xfrm>
            <a:off x="3105210" y="1353312"/>
            <a:ext cx="1656000" cy="1505396"/>
            <a:chOff x="3105210" y="1557046"/>
            <a:chExt cx="1656000" cy="1505396"/>
          </a:xfrm>
        </p:grpSpPr>
        <p:grpSp>
          <p:nvGrpSpPr>
            <p:cNvPr id="67" name="Group 66">
              <a:extLst>
                <a:ext uri="{FF2B5EF4-FFF2-40B4-BE49-F238E27FC236}">
                  <a16:creationId xmlns:a16="http://schemas.microsoft.com/office/drawing/2014/main" id="{8F2D5AB5-7811-42BF-AE8E-765727BB1EDB}"/>
                </a:ext>
              </a:extLst>
            </p:cNvPr>
            <p:cNvGrpSpPr/>
            <p:nvPr/>
          </p:nvGrpSpPr>
          <p:grpSpPr>
            <a:xfrm>
              <a:off x="3311747" y="1723415"/>
              <a:ext cx="1242926" cy="1165037"/>
              <a:chOff x="3242537" y="1261298"/>
              <a:chExt cx="1242926" cy="1165037"/>
            </a:xfrm>
          </p:grpSpPr>
          <p:sp>
            <p:nvSpPr>
              <p:cNvPr id="69" name="Freeform 26">
                <a:extLst>
                  <a:ext uri="{FF2B5EF4-FFF2-40B4-BE49-F238E27FC236}">
                    <a16:creationId xmlns:a16="http://schemas.microsoft.com/office/drawing/2014/main" id="{13071E06-22D6-4489-ACD6-D900D71E0DFF}"/>
                  </a:ext>
                </a:extLst>
              </p:cNvPr>
              <p:cNvSpPr>
                <a:spLocks/>
              </p:cNvSpPr>
              <p:nvPr/>
            </p:nvSpPr>
            <p:spPr bwMode="auto">
              <a:xfrm>
                <a:off x="3242537"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1563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70" name="Group 69">
                <a:extLst>
                  <a:ext uri="{FF2B5EF4-FFF2-40B4-BE49-F238E27FC236}">
                    <a16:creationId xmlns:a16="http://schemas.microsoft.com/office/drawing/2014/main" id="{9A42FEE9-6E5F-4814-9CBB-FC86C6134386}"/>
                  </a:ext>
                </a:extLst>
              </p:cNvPr>
              <p:cNvGrpSpPr/>
              <p:nvPr/>
            </p:nvGrpSpPr>
            <p:grpSpPr>
              <a:xfrm>
                <a:off x="3444848" y="1470010"/>
                <a:ext cx="838305" cy="838305"/>
                <a:chOff x="1353715" y="1637650"/>
                <a:chExt cx="838305" cy="838305"/>
              </a:xfrm>
            </p:grpSpPr>
            <p:sp>
              <p:nvSpPr>
                <p:cNvPr id="71" name="Block Arc 70">
                  <a:extLst>
                    <a:ext uri="{FF2B5EF4-FFF2-40B4-BE49-F238E27FC236}">
                      <a16:creationId xmlns:a16="http://schemas.microsoft.com/office/drawing/2014/main" id="{A7DE9F5B-A21C-4704-AF1B-D75E981048A3}"/>
                    </a:ext>
                  </a:extLst>
                </p:cNvPr>
                <p:cNvSpPr/>
                <p:nvPr userDrawn="1"/>
              </p:nvSpPr>
              <p:spPr>
                <a:xfrm>
                  <a:off x="1353715" y="1637650"/>
                  <a:ext cx="838305" cy="838305"/>
                </a:xfrm>
                <a:prstGeom prst="blockArc">
                  <a:avLst>
                    <a:gd name="adj1" fmla="val 9931431"/>
                    <a:gd name="adj2" fmla="val 19501890"/>
                    <a:gd name="adj3" fmla="val 14225"/>
                  </a:avLst>
                </a:prstGeom>
                <a:solidFill>
                  <a:srgbClr val="0F99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Block Arc 71">
                  <a:extLst>
                    <a:ext uri="{FF2B5EF4-FFF2-40B4-BE49-F238E27FC236}">
                      <a16:creationId xmlns:a16="http://schemas.microsoft.com/office/drawing/2014/main" id="{A9BDDEB3-2E1A-48B4-ADDE-6C8D97039765}"/>
                    </a:ext>
                  </a:extLst>
                </p:cNvPr>
                <p:cNvSpPr/>
                <p:nvPr userDrawn="1"/>
              </p:nvSpPr>
              <p:spPr>
                <a:xfrm>
                  <a:off x="1469308" y="1755254"/>
                  <a:ext cx="607118" cy="607118"/>
                </a:xfrm>
                <a:prstGeom prst="blockArc">
                  <a:avLst>
                    <a:gd name="adj1" fmla="val 12441539"/>
                    <a:gd name="adj2" fmla="val 3168047"/>
                    <a:gd name="adj3" fmla="val 15873"/>
                  </a:avLst>
                </a:prstGeom>
                <a:solidFill>
                  <a:srgbClr val="01D1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3" name="Group 72">
                  <a:extLst>
                    <a:ext uri="{FF2B5EF4-FFF2-40B4-BE49-F238E27FC236}">
                      <a16:creationId xmlns:a16="http://schemas.microsoft.com/office/drawing/2014/main" id="{511D5111-57AC-4B40-A8ED-FA62D966CFFF}"/>
                    </a:ext>
                  </a:extLst>
                </p:cNvPr>
                <p:cNvGrpSpPr/>
                <p:nvPr/>
              </p:nvGrpSpPr>
              <p:grpSpPr>
                <a:xfrm>
                  <a:off x="1590844" y="1912600"/>
                  <a:ext cx="364046" cy="320059"/>
                  <a:chOff x="43216" y="1556297"/>
                  <a:chExt cx="1384776" cy="1217459"/>
                </a:xfrm>
              </p:grpSpPr>
              <p:sp>
                <p:nvSpPr>
                  <p:cNvPr id="74" name="Freeform: Shape 73">
                    <a:extLst>
                      <a:ext uri="{FF2B5EF4-FFF2-40B4-BE49-F238E27FC236}">
                        <a16:creationId xmlns:a16="http://schemas.microsoft.com/office/drawing/2014/main" id="{FC0335C5-DDB6-4593-B34C-FFC9D649A304}"/>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Shape 74">
                    <a:extLst>
                      <a:ext uri="{FF2B5EF4-FFF2-40B4-BE49-F238E27FC236}">
                        <a16:creationId xmlns:a16="http://schemas.microsoft.com/office/drawing/2014/main" id="{0482C5EF-9E9F-4A68-841E-F30D708E79A6}"/>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Shape 75">
                    <a:extLst>
                      <a:ext uri="{FF2B5EF4-FFF2-40B4-BE49-F238E27FC236}">
                        <a16:creationId xmlns:a16="http://schemas.microsoft.com/office/drawing/2014/main" id="{7FFF5553-ED88-4724-A5C0-A7235E898A4F}"/>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grpSp>
        <p:sp>
          <p:nvSpPr>
            <p:cNvPr id="68" name="Rectangle 67">
              <a:extLst>
                <a:ext uri="{FF2B5EF4-FFF2-40B4-BE49-F238E27FC236}">
                  <a16:creationId xmlns:a16="http://schemas.microsoft.com/office/drawing/2014/main" id="{72BE22B8-C516-4FBA-8FEF-5CF8DAA6883A}"/>
                </a:ext>
              </a:extLst>
            </p:cNvPr>
            <p:cNvSpPr/>
            <p:nvPr/>
          </p:nvSpPr>
          <p:spPr>
            <a:xfrm>
              <a:off x="3105210" y="1557046"/>
              <a:ext cx="1656000" cy="1505396"/>
            </a:xfrm>
            <a:prstGeom prst="rect">
              <a:avLst/>
            </a:prstGeom>
            <a:noFill/>
          </p:spPr>
          <p:txBody>
            <a:bodyPr wrap="none" lIns="0" tIns="0" rIns="0" bIns="0">
              <a:prstTxWarp prst="textArchUp">
                <a:avLst>
                  <a:gd name="adj" fmla="val 7755946"/>
                </a:avLst>
              </a:prstTxWarp>
              <a:spAutoFit/>
            </a:bodyPr>
            <a:lstStyle/>
            <a:p>
              <a:pPr lvl="0" algn="ctr"/>
              <a:r>
                <a:rPr lang="en-GB" sz="1200" b="1" dirty="0">
                  <a:solidFill>
                    <a:srgbClr val="15636B"/>
                  </a:solidFill>
                  <a:cs typeface="Ubuntu Bold"/>
                </a:rPr>
                <a:t>AI-Driven Decisioning</a:t>
              </a:r>
            </a:p>
          </p:txBody>
        </p:sp>
      </p:grpSp>
      <p:sp>
        <p:nvSpPr>
          <p:cNvPr id="77" name="Rectangle 76">
            <a:extLst>
              <a:ext uri="{FF2B5EF4-FFF2-40B4-BE49-F238E27FC236}">
                <a16:creationId xmlns:a16="http://schemas.microsoft.com/office/drawing/2014/main" id="{0882B762-C286-4339-919F-A164FF159C39}"/>
              </a:ext>
            </a:extLst>
          </p:cNvPr>
          <p:cNvSpPr/>
          <p:nvPr userDrawn="1"/>
        </p:nvSpPr>
        <p:spPr>
          <a:xfrm>
            <a:off x="5171781" y="3645000"/>
            <a:ext cx="1872000" cy="27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lstStyle/>
          <a:p>
            <a:pPr algn="ctr">
              <a:spcBef>
                <a:spcPts val="200"/>
              </a:spcBef>
              <a:spcAft>
                <a:spcPts val="600"/>
              </a:spcAft>
              <a:buClr>
                <a:schemeClr val="accent1"/>
              </a:buClr>
              <a:defRPr/>
            </a:pPr>
            <a:endParaRPr lang="en-GB" sz="1150" dirty="0">
              <a:solidFill>
                <a:schemeClr val="bg1"/>
              </a:solidFill>
              <a:latin typeface="+mj-lt"/>
              <a:cs typeface="Ubuntu Light"/>
            </a:endParaRPr>
          </a:p>
        </p:txBody>
      </p:sp>
      <p:sp>
        <p:nvSpPr>
          <p:cNvPr id="78" name="Rectangle 77">
            <a:extLst>
              <a:ext uri="{FF2B5EF4-FFF2-40B4-BE49-F238E27FC236}">
                <a16:creationId xmlns:a16="http://schemas.microsoft.com/office/drawing/2014/main" id="{15632A43-42DA-411D-999D-8CFA3BBF02B5}"/>
              </a:ext>
            </a:extLst>
          </p:cNvPr>
          <p:cNvSpPr/>
          <p:nvPr userDrawn="1"/>
        </p:nvSpPr>
        <p:spPr>
          <a:xfrm>
            <a:off x="5171781" y="2905125"/>
            <a:ext cx="1872000" cy="6625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1"/>
          <a:lstStyle/>
          <a:p>
            <a:pPr marL="0" lvl="1" algn="ctr" defTabSz="711200">
              <a:spcBef>
                <a:spcPct val="0"/>
              </a:spcBef>
              <a:spcAft>
                <a:spcPct val="15000"/>
              </a:spcAft>
            </a:pPr>
            <a:endParaRPr lang="en-US" sz="1100" dirty="0">
              <a:solidFill>
                <a:schemeClr val="accent1"/>
              </a:solidFill>
              <a:latin typeface="+mj-lt"/>
            </a:endParaRPr>
          </a:p>
        </p:txBody>
      </p:sp>
      <p:grpSp>
        <p:nvGrpSpPr>
          <p:cNvPr id="79" name="Group 78">
            <a:extLst>
              <a:ext uri="{FF2B5EF4-FFF2-40B4-BE49-F238E27FC236}">
                <a16:creationId xmlns:a16="http://schemas.microsoft.com/office/drawing/2014/main" id="{7F64544F-50A8-4A63-8B1F-EE2D13F707DE}"/>
              </a:ext>
            </a:extLst>
          </p:cNvPr>
          <p:cNvGrpSpPr/>
          <p:nvPr userDrawn="1"/>
        </p:nvGrpSpPr>
        <p:grpSpPr>
          <a:xfrm>
            <a:off x="5280249" y="1353312"/>
            <a:ext cx="1655064" cy="1505396"/>
            <a:chOff x="5280249" y="1566571"/>
            <a:chExt cx="1655064" cy="1505396"/>
          </a:xfrm>
        </p:grpSpPr>
        <p:grpSp>
          <p:nvGrpSpPr>
            <p:cNvPr id="80" name="Group 79">
              <a:extLst>
                <a:ext uri="{FF2B5EF4-FFF2-40B4-BE49-F238E27FC236}">
                  <a16:creationId xmlns:a16="http://schemas.microsoft.com/office/drawing/2014/main" id="{645E26D5-1F6B-4B9B-95F4-24A8DFE119D5}"/>
                </a:ext>
              </a:extLst>
            </p:cNvPr>
            <p:cNvGrpSpPr/>
            <p:nvPr/>
          </p:nvGrpSpPr>
          <p:grpSpPr>
            <a:xfrm>
              <a:off x="5486318" y="1723415"/>
              <a:ext cx="1242926" cy="1165037"/>
              <a:chOff x="5433287" y="1261298"/>
              <a:chExt cx="1242926" cy="1165037"/>
            </a:xfrm>
          </p:grpSpPr>
          <p:sp>
            <p:nvSpPr>
              <p:cNvPr id="82" name="Freeform 26">
                <a:extLst>
                  <a:ext uri="{FF2B5EF4-FFF2-40B4-BE49-F238E27FC236}">
                    <a16:creationId xmlns:a16="http://schemas.microsoft.com/office/drawing/2014/main" id="{B271AA14-1C49-47D4-9DA3-9CBEAA4A092D}"/>
                  </a:ext>
                </a:extLst>
              </p:cNvPr>
              <p:cNvSpPr>
                <a:spLocks/>
              </p:cNvSpPr>
              <p:nvPr/>
            </p:nvSpPr>
            <p:spPr bwMode="auto">
              <a:xfrm>
                <a:off x="5433287"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83" name="Group 82">
                <a:extLst>
                  <a:ext uri="{FF2B5EF4-FFF2-40B4-BE49-F238E27FC236}">
                    <a16:creationId xmlns:a16="http://schemas.microsoft.com/office/drawing/2014/main" id="{1E1C521F-2CF0-4B03-8A1F-4D0FAA62DCFB}"/>
                  </a:ext>
                </a:extLst>
              </p:cNvPr>
              <p:cNvGrpSpPr/>
              <p:nvPr/>
            </p:nvGrpSpPr>
            <p:grpSpPr>
              <a:xfrm>
                <a:off x="5635598" y="1470010"/>
                <a:ext cx="838305" cy="838305"/>
                <a:chOff x="1353715" y="1637650"/>
                <a:chExt cx="838305" cy="838305"/>
              </a:xfrm>
            </p:grpSpPr>
            <p:sp>
              <p:nvSpPr>
                <p:cNvPr id="84" name="Block Arc 83">
                  <a:extLst>
                    <a:ext uri="{FF2B5EF4-FFF2-40B4-BE49-F238E27FC236}">
                      <a16:creationId xmlns:a16="http://schemas.microsoft.com/office/drawing/2014/main" id="{435C56F0-3E3E-4072-BF9F-0302CB30F5C0}"/>
                    </a:ext>
                  </a:extLst>
                </p:cNvPr>
                <p:cNvSpPr/>
                <p:nvPr userDrawn="1"/>
              </p:nvSpPr>
              <p:spPr>
                <a:xfrm>
                  <a:off x="1353715" y="1637650"/>
                  <a:ext cx="838305" cy="838305"/>
                </a:xfrm>
                <a:prstGeom prst="blockArc">
                  <a:avLst>
                    <a:gd name="adj1" fmla="val 9931431"/>
                    <a:gd name="adj2" fmla="val 19501890"/>
                    <a:gd name="adj3" fmla="val 14225"/>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5" name="Block Arc 84">
                  <a:extLst>
                    <a:ext uri="{FF2B5EF4-FFF2-40B4-BE49-F238E27FC236}">
                      <a16:creationId xmlns:a16="http://schemas.microsoft.com/office/drawing/2014/main" id="{FC157679-6A5E-4411-84F5-31E79FE135DF}"/>
                    </a:ext>
                  </a:extLst>
                </p:cNvPr>
                <p:cNvSpPr/>
                <p:nvPr userDrawn="1"/>
              </p:nvSpPr>
              <p:spPr>
                <a:xfrm>
                  <a:off x="1469308" y="1755254"/>
                  <a:ext cx="607118" cy="607118"/>
                </a:xfrm>
                <a:prstGeom prst="blockArc">
                  <a:avLst>
                    <a:gd name="adj1" fmla="val 12441539"/>
                    <a:gd name="adj2" fmla="val 3168047"/>
                    <a:gd name="adj3" fmla="val 15873"/>
                  </a:avLst>
                </a:prstGeom>
                <a:solidFill>
                  <a:srgbClr val="88D5E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6" name="Group 85">
                  <a:extLst>
                    <a:ext uri="{FF2B5EF4-FFF2-40B4-BE49-F238E27FC236}">
                      <a16:creationId xmlns:a16="http://schemas.microsoft.com/office/drawing/2014/main" id="{2BEFA85C-0F8D-47D5-B6F2-C10D40F34513}"/>
                    </a:ext>
                  </a:extLst>
                </p:cNvPr>
                <p:cNvGrpSpPr/>
                <p:nvPr/>
              </p:nvGrpSpPr>
              <p:grpSpPr>
                <a:xfrm>
                  <a:off x="1590844" y="1912600"/>
                  <a:ext cx="364046" cy="320059"/>
                  <a:chOff x="43216" y="1556297"/>
                  <a:chExt cx="1384776" cy="1217459"/>
                </a:xfrm>
              </p:grpSpPr>
              <p:sp>
                <p:nvSpPr>
                  <p:cNvPr id="87" name="Freeform: Shape 86">
                    <a:extLst>
                      <a:ext uri="{FF2B5EF4-FFF2-40B4-BE49-F238E27FC236}">
                        <a16:creationId xmlns:a16="http://schemas.microsoft.com/office/drawing/2014/main" id="{EBE27731-F852-4E07-AFF0-C4D25BAEA1EA}"/>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Freeform: Shape 87">
                    <a:extLst>
                      <a:ext uri="{FF2B5EF4-FFF2-40B4-BE49-F238E27FC236}">
                        <a16:creationId xmlns:a16="http://schemas.microsoft.com/office/drawing/2014/main" id="{2BE5D0CC-7CDB-40DB-9376-25F50A79E6BC}"/>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Freeform: Shape 88">
                    <a:extLst>
                      <a:ext uri="{FF2B5EF4-FFF2-40B4-BE49-F238E27FC236}">
                        <a16:creationId xmlns:a16="http://schemas.microsoft.com/office/drawing/2014/main" id="{089EA686-8E9C-4AB6-809A-94A93A1C5483}"/>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grpSp>
        <p:sp>
          <p:nvSpPr>
            <p:cNvPr id="81" name="Rectangle 80">
              <a:extLst>
                <a:ext uri="{FF2B5EF4-FFF2-40B4-BE49-F238E27FC236}">
                  <a16:creationId xmlns:a16="http://schemas.microsoft.com/office/drawing/2014/main" id="{C1612F3C-F720-4AAB-8303-53B5FA4652A7}"/>
                </a:ext>
              </a:extLst>
            </p:cNvPr>
            <p:cNvSpPr/>
            <p:nvPr/>
          </p:nvSpPr>
          <p:spPr>
            <a:xfrm>
              <a:off x="5280249" y="1566571"/>
              <a:ext cx="1655064" cy="1505396"/>
            </a:xfrm>
            <a:prstGeom prst="rect">
              <a:avLst/>
            </a:prstGeom>
            <a:noFill/>
          </p:spPr>
          <p:txBody>
            <a:bodyPr wrap="none" lIns="0" tIns="0" rIns="0" bIns="0">
              <a:prstTxWarp prst="textArchUp">
                <a:avLst>
                  <a:gd name="adj" fmla="val 6247933"/>
                </a:avLst>
              </a:prstTxWarp>
              <a:spAutoFit/>
            </a:bodyPr>
            <a:lstStyle/>
            <a:p>
              <a:pPr lvl="0" algn="ctr"/>
              <a:r>
                <a:rPr lang="en-GB" sz="1200" b="1" dirty="0">
                  <a:solidFill>
                    <a:srgbClr val="0070AD"/>
                  </a:solidFill>
                  <a:cs typeface="Ubuntu Bold"/>
                </a:rPr>
                <a:t>Trading &amp; Fund Flows</a:t>
              </a:r>
            </a:p>
          </p:txBody>
        </p:sp>
      </p:grpSp>
      <p:sp>
        <p:nvSpPr>
          <p:cNvPr id="90" name="Rectangle 89">
            <a:extLst>
              <a:ext uri="{FF2B5EF4-FFF2-40B4-BE49-F238E27FC236}">
                <a16:creationId xmlns:a16="http://schemas.microsoft.com/office/drawing/2014/main" id="{0E2FE86C-01D9-4355-9F2E-3AB90B201BA6}"/>
              </a:ext>
            </a:extLst>
          </p:cNvPr>
          <p:cNvSpPr/>
          <p:nvPr userDrawn="1"/>
        </p:nvSpPr>
        <p:spPr>
          <a:xfrm>
            <a:off x="7346352" y="3645000"/>
            <a:ext cx="1872000" cy="2736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lstStyle/>
          <a:p>
            <a:pPr algn="ctr">
              <a:spcBef>
                <a:spcPts val="200"/>
              </a:spcBef>
              <a:spcAft>
                <a:spcPts val="600"/>
              </a:spcAft>
              <a:buClr>
                <a:schemeClr val="accent1"/>
              </a:buClr>
              <a:defRPr/>
            </a:pPr>
            <a:endParaRPr lang="en-GB" sz="1150" dirty="0">
              <a:solidFill>
                <a:schemeClr val="bg1"/>
              </a:solidFill>
              <a:latin typeface="+mj-lt"/>
              <a:cs typeface="Ubuntu Light"/>
            </a:endParaRPr>
          </a:p>
        </p:txBody>
      </p:sp>
      <p:sp>
        <p:nvSpPr>
          <p:cNvPr id="91" name="Rectangle 90">
            <a:extLst>
              <a:ext uri="{FF2B5EF4-FFF2-40B4-BE49-F238E27FC236}">
                <a16:creationId xmlns:a16="http://schemas.microsoft.com/office/drawing/2014/main" id="{E23368FD-4ADF-48D1-9B0B-A3308299F4BA}"/>
              </a:ext>
            </a:extLst>
          </p:cNvPr>
          <p:cNvSpPr/>
          <p:nvPr userDrawn="1"/>
        </p:nvSpPr>
        <p:spPr>
          <a:xfrm>
            <a:off x="7346352" y="2905125"/>
            <a:ext cx="1872000" cy="662550"/>
          </a:xfrm>
          <a:prstGeom prst="rect">
            <a:avLst/>
          </a:prstGeom>
          <a:solidFill>
            <a:srgbClr val="FF632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1"/>
          <a:lstStyle/>
          <a:p>
            <a:pPr marL="0" lvl="1" algn="ctr" defTabSz="711200">
              <a:spcBef>
                <a:spcPct val="0"/>
              </a:spcBef>
              <a:spcAft>
                <a:spcPct val="15000"/>
              </a:spcAft>
            </a:pPr>
            <a:endParaRPr lang="en-US" sz="1100" b="1" dirty="0">
              <a:solidFill>
                <a:srgbClr val="FF6327"/>
              </a:solidFill>
              <a:latin typeface="+mj-lt"/>
              <a:cs typeface="Ubuntu Bold"/>
            </a:endParaRPr>
          </a:p>
        </p:txBody>
      </p:sp>
      <p:grpSp>
        <p:nvGrpSpPr>
          <p:cNvPr id="92" name="Group 91">
            <a:extLst>
              <a:ext uri="{FF2B5EF4-FFF2-40B4-BE49-F238E27FC236}">
                <a16:creationId xmlns:a16="http://schemas.microsoft.com/office/drawing/2014/main" id="{0E158772-1B95-434A-BB42-7D7D95F56E97}"/>
              </a:ext>
            </a:extLst>
          </p:cNvPr>
          <p:cNvGrpSpPr/>
          <p:nvPr userDrawn="1"/>
        </p:nvGrpSpPr>
        <p:grpSpPr>
          <a:xfrm>
            <a:off x="7454820" y="1353312"/>
            <a:ext cx="1655064" cy="1505396"/>
            <a:chOff x="7454820" y="1566571"/>
            <a:chExt cx="1655064" cy="1505396"/>
          </a:xfrm>
        </p:grpSpPr>
        <p:grpSp>
          <p:nvGrpSpPr>
            <p:cNvPr id="93" name="Group 92">
              <a:extLst>
                <a:ext uri="{FF2B5EF4-FFF2-40B4-BE49-F238E27FC236}">
                  <a16:creationId xmlns:a16="http://schemas.microsoft.com/office/drawing/2014/main" id="{677821FD-B708-4454-82CB-C004F389CD70}"/>
                </a:ext>
              </a:extLst>
            </p:cNvPr>
            <p:cNvGrpSpPr/>
            <p:nvPr/>
          </p:nvGrpSpPr>
          <p:grpSpPr>
            <a:xfrm>
              <a:off x="7660889" y="1723415"/>
              <a:ext cx="1242926" cy="1165037"/>
              <a:chOff x="7636617" y="1261298"/>
              <a:chExt cx="1242926" cy="1165037"/>
            </a:xfrm>
          </p:grpSpPr>
          <p:sp>
            <p:nvSpPr>
              <p:cNvPr id="95" name="Freeform 26">
                <a:extLst>
                  <a:ext uri="{FF2B5EF4-FFF2-40B4-BE49-F238E27FC236}">
                    <a16:creationId xmlns:a16="http://schemas.microsoft.com/office/drawing/2014/main" id="{31BD8EA1-BCDC-464A-A243-041394379C2B}"/>
                  </a:ext>
                </a:extLst>
              </p:cNvPr>
              <p:cNvSpPr>
                <a:spLocks/>
              </p:cNvSpPr>
              <p:nvPr/>
            </p:nvSpPr>
            <p:spPr bwMode="auto">
              <a:xfrm>
                <a:off x="7636617"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63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96" name="Group 95">
                <a:extLst>
                  <a:ext uri="{FF2B5EF4-FFF2-40B4-BE49-F238E27FC236}">
                    <a16:creationId xmlns:a16="http://schemas.microsoft.com/office/drawing/2014/main" id="{92FC2419-BCB5-4631-B440-D7391AC18CBA}"/>
                  </a:ext>
                </a:extLst>
              </p:cNvPr>
              <p:cNvGrpSpPr/>
              <p:nvPr/>
            </p:nvGrpSpPr>
            <p:grpSpPr>
              <a:xfrm>
                <a:off x="7838928" y="1470010"/>
                <a:ext cx="838305" cy="838305"/>
                <a:chOff x="1353715" y="1637650"/>
                <a:chExt cx="838305" cy="838305"/>
              </a:xfrm>
            </p:grpSpPr>
            <p:sp>
              <p:nvSpPr>
                <p:cNvPr id="97" name="Block Arc 96">
                  <a:extLst>
                    <a:ext uri="{FF2B5EF4-FFF2-40B4-BE49-F238E27FC236}">
                      <a16:creationId xmlns:a16="http://schemas.microsoft.com/office/drawing/2014/main" id="{B0107480-848F-4F7E-B222-46ABAB57B988}"/>
                    </a:ext>
                  </a:extLst>
                </p:cNvPr>
                <p:cNvSpPr/>
                <p:nvPr userDrawn="1"/>
              </p:nvSpPr>
              <p:spPr>
                <a:xfrm>
                  <a:off x="1353715" y="1637650"/>
                  <a:ext cx="838305" cy="838305"/>
                </a:xfrm>
                <a:prstGeom prst="blockArc">
                  <a:avLst>
                    <a:gd name="adj1" fmla="val 9931431"/>
                    <a:gd name="adj2" fmla="val 19501890"/>
                    <a:gd name="adj3" fmla="val 14225"/>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8" name="Block Arc 97">
                  <a:extLst>
                    <a:ext uri="{FF2B5EF4-FFF2-40B4-BE49-F238E27FC236}">
                      <a16:creationId xmlns:a16="http://schemas.microsoft.com/office/drawing/2014/main" id="{37B9E417-6590-49C3-8705-B39ECB00640B}"/>
                    </a:ext>
                  </a:extLst>
                </p:cNvPr>
                <p:cNvSpPr/>
                <p:nvPr userDrawn="1"/>
              </p:nvSpPr>
              <p:spPr>
                <a:xfrm>
                  <a:off x="1469308" y="1755254"/>
                  <a:ext cx="607118" cy="607118"/>
                </a:xfrm>
                <a:prstGeom prst="blockArc">
                  <a:avLst>
                    <a:gd name="adj1" fmla="val 12441539"/>
                    <a:gd name="adj2" fmla="val 3168047"/>
                    <a:gd name="adj3" fmla="val 15873"/>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99" name="Group 98">
                  <a:extLst>
                    <a:ext uri="{FF2B5EF4-FFF2-40B4-BE49-F238E27FC236}">
                      <a16:creationId xmlns:a16="http://schemas.microsoft.com/office/drawing/2014/main" id="{C486764E-69DD-45B3-9DFD-F0477A06E1C6}"/>
                    </a:ext>
                  </a:extLst>
                </p:cNvPr>
                <p:cNvGrpSpPr/>
                <p:nvPr/>
              </p:nvGrpSpPr>
              <p:grpSpPr>
                <a:xfrm>
                  <a:off x="1590844" y="1912600"/>
                  <a:ext cx="364046" cy="320059"/>
                  <a:chOff x="43216" y="1556297"/>
                  <a:chExt cx="1384776" cy="1217459"/>
                </a:xfrm>
              </p:grpSpPr>
              <p:sp>
                <p:nvSpPr>
                  <p:cNvPr id="100" name="Freeform: Shape 99">
                    <a:extLst>
                      <a:ext uri="{FF2B5EF4-FFF2-40B4-BE49-F238E27FC236}">
                        <a16:creationId xmlns:a16="http://schemas.microsoft.com/office/drawing/2014/main" id="{5A944CDA-574E-4300-92B7-562609B43636}"/>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Freeform: Shape 100">
                    <a:extLst>
                      <a:ext uri="{FF2B5EF4-FFF2-40B4-BE49-F238E27FC236}">
                        <a16:creationId xmlns:a16="http://schemas.microsoft.com/office/drawing/2014/main" id="{49FED761-851A-414D-A20A-F382592FA1C6}"/>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Shape 148">
                    <a:extLst>
                      <a:ext uri="{FF2B5EF4-FFF2-40B4-BE49-F238E27FC236}">
                        <a16:creationId xmlns:a16="http://schemas.microsoft.com/office/drawing/2014/main" id="{C8BE5806-E6F2-4DF1-85EE-30EC47938DEC}"/>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grpSp>
        <p:sp>
          <p:nvSpPr>
            <p:cNvPr id="94" name="Rectangle 93">
              <a:extLst>
                <a:ext uri="{FF2B5EF4-FFF2-40B4-BE49-F238E27FC236}">
                  <a16:creationId xmlns:a16="http://schemas.microsoft.com/office/drawing/2014/main" id="{7DF6BA89-6483-4D19-B714-3F4569478367}"/>
                </a:ext>
              </a:extLst>
            </p:cNvPr>
            <p:cNvSpPr/>
            <p:nvPr/>
          </p:nvSpPr>
          <p:spPr>
            <a:xfrm>
              <a:off x="7454820" y="1566571"/>
              <a:ext cx="1655064" cy="1505396"/>
            </a:xfrm>
            <a:prstGeom prst="rect">
              <a:avLst/>
            </a:prstGeom>
            <a:noFill/>
          </p:spPr>
          <p:txBody>
            <a:bodyPr wrap="none" lIns="0" tIns="0" rIns="0" bIns="0">
              <a:prstTxWarp prst="textArchUp">
                <a:avLst>
                  <a:gd name="adj" fmla="val 6247933"/>
                </a:avLst>
              </a:prstTxWarp>
              <a:spAutoFit/>
            </a:bodyPr>
            <a:lstStyle/>
            <a:p>
              <a:pPr lvl="0" algn="ctr"/>
              <a:r>
                <a:rPr lang="en-GB" sz="1200" b="1" dirty="0">
                  <a:solidFill>
                    <a:srgbClr val="FF6327"/>
                  </a:solidFill>
                  <a:cs typeface="Ubuntu Bold"/>
                </a:rPr>
                <a:t>Customer Intelligence</a:t>
              </a:r>
            </a:p>
          </p:txBody>
        </p:sp>
      </p:grpSp>
      <p:sp>
        <p:nvSpPr>
          <p:cNvPr id="150" name="Rectangle 149">
            <a:extLst>
              <a:ext uri="{FF2B5EF4-FFF2-40B4-BE49-F238E27FC236}">
                <a16:creationId xmlns:a16="http://schemas.microsoft.com/office/drawing/2014/main" id="{2ED390AC-29D4-4E60-ADB7-95DA9144732D}"/>
              </a:ext>
            </a:extLst>
          </p:cNvPr>
          <p:cNvSpPr/>
          <p:nvPr userDrawn="1"/>
        </p:nvSpPr>
        <p:spPr>
          <a:xfrm>
            <a:off x="9520921" y="3645000"/>
            <a:ext cx="1872000" cy="2736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lstStyle/>
          <a:p>
            <a:pPr algn="ctr">
              <a:spcBef>
                <a:spcPts val="200"/>
              </a:spcBef>
              <a:spcAft>
                <a:spcPts val="600"/>
              </a:spcAft>
              <a:buClr>
                <a:schemeClr val="accent1"/>
              </a:buClr>
              <a:defRPr/>
            </a:pPr>
            <a:endParaRPr lang="en-GB" sz="1150" kern="0" dirty="0">
              <a:solidFill>
                <a:schemeClr val="bg1"/>
              </a:solidFill>
              <a:latin typeface="+mj-lt"/>
              <a:cs typeface="Ubuntu Light"/>
            </a:endParaRPr>
          </a:p>
        </p:txBody>
      </p:sp>
      <p:sp>
        <p:nvSpPr>
          <p:cNvPr id="151" name="Rectangle 150">
            <a:extLst>
              <a:ext uri="{FF2B5EF4-FFF2-40B4-BE49-F238E27FC236}">
                <a16:creationId xmlns:a16="http://schemas.microsoft.com/office/drawing/2014/main" id="{19C39CB7-2BD9-4D9D-8CB2-94F4E55C97E7}"/>
              </a:ext>
            </a:extLst>
          </p:cNvPr>
          <p:cNvSpPr/>
          <p:nvPr userDrawn="1"/>
        </p:nvSpPr>
        <p:spPr>
          <a:xfrm>
            <a:off x="9520921" y="2905125"/>
            <a:ext cx="1872000" cy="662550"/>
          </a:xfrm>
          <a:prstGeom prst="rect">
            <a:avLst/>
          </a:prstGeom>
          <a:solidFill>
            <a:srgbClr val="4701A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1"/>
          <a:lstStyle/>
          <a:p>
            <a:pPr marL="0" lvl="1" algn="ctr" defTabSz="711200">
              <a:spcBef>
                <a:spcPct val="0"/>
              </a:spcBef>
              <a:spcAft>
                <a:spcPct val="15000"/>
              </a:spcAft>
            </a:pPr>
            <a:endParaRPr lang="en-GB" sz="1100" b="1" dirty="0">
              <a:solidFill>
                <a:srgbClr val="4701A7"/>
              </a:solidFill>
              <a:latin typeface="+mj-lt"/>
              <a:cs typeface="Ubuntu Bold"/>
            </a:endParaRPr>
          </a:p>
        </p:txBody>
      </p:sp>
      <p:grpSp>
        <p:nvGrpSpPr>
          <p:cNvPr id="152" name="Group 151">
            <a:extLst>
              <a:ext uri="{FF2B5EF4-FFF2-40B4-BE49-F238E27FC236}">
                <a16:creationId xmlns:a16="http://schemas.microsoft.com/office/drawing/2014/main" id="{F750FEE7-6690-43F6-B744-77DD95CEC6DA}"/>
              </a:ext>
            </a:extLst>
          </p:cNvPr>
          <p:cNvGrpSpPr/>
          <p:nvPr userDrawn="1"/>
        </p:nvGrpSpPr>
        <p:grpSpPr>
          <a:xfrm>
            <a:off x="9629389" y="1353312"/>
            <a:ext cx="1655064" cy="1505396"/>
            <a:chOff x="9629389" y="1566571"/>
            <a:chExt cx="1655064" cy="1505396"/>
          </a:xfrm>
        </p:grpSpPr>
        <p:grpSp>
          <p:nvGrpSpPr>
            <p:cNvPr id="153" name="Group 152">
              <a:extLst>
                <a:ext uri="{FF2B5EF4-FFF2-40B4-BE49-F238E27FC236}">
                  <a16:creationId xmlns:a16="http://schemas.microsoft.com/office/drawing/2014/main" id="{9E2663CA-CDE4-48DC-850B-187B78CC01A3}"/>
                </a:ext>
              </a:extLst>
            </p:cNvPr>
            <p:cNvGrpSpPr/>
            <p:nvPr/>
          </p:nvGrpSpPr>
          <p:grpSpPr>
            <a:xfrm>
              <a:off x="9835458" y="1723415"/>
              <a:ext cx="1242926" cy="1165037"/>
              <a:chOff x="9832176" y="1261298"/>
              <a:chExt cx="1242926" cy="1165037"/>
            </a:xfrm>
          </p:grpSpPr>
          <p:sp>
            <p:nvSpPr>
              <p:cNvPr id="155" name="Freeform 26">
                <a:extLst>
                  <a:ext uri="{FF2B5EF4-FFF2-40B4-BE49-F238E27FC236}">
                    <a16:creationId xmlns:a16="http://schemas.microsoft.com/office/drawing/2014/main" id="{F00CDE8F-1998-4DEE-96D7-31E3C63CC2B5}"/>
                  </a:ext>
                </a:extLst>
              </p:cNvPr>
              <p:cNvSpPr>
                <a:spLocks/>
              </p:cNvSpPr>
              <p:nvPr/>
            </p:nvSpPr>
            <p:spPr bwMode="auto">
              <a:xfrm>
                <a:off x="9832176"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4701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156" name="Group 155">
                <a:extLst>
                  <a:ext uri="{FF2B5EF4-FFF2-40B4-BE49-F238E27FC236}">
                    <a16:creationId xmlns:a16="http://schemas.microsoft.com/office/drawing/2014/main" id="{06E409FB-5B2A-4992-BE0B-B00DA0F228EE}"/>
                  </a:ext>
                </a:extLst>
              </p:cNvPr>
              <p:cNvGrpSpPr/>
              <p:nvPr/>
            </p:nvGrpSpPr>
            <p:grpSpPr>
              <a:xfrm>
                <a:off x="10067778" y="1470010"/>
                <a:ext cx="838305" cy="838305"/>
                <a:chOff x="1353715" y="1637650"/>
                <a:chExt cx="838305" cy="838305"/>
              </a:xfrm>
            </p:grpSpPr>
            <p:sp>
              <p:nvSpPr>
                <p:cNvPr id="157" name="Block Arc 156">
                  <a:extLst>
                    <a:ext uri="{FF2B5EF4-FFF2-40B4-BE49-F238E27FC236}">
                      <a16:creationId xmlns:a16="http://schemas.microsoft.com/office/drawing/2014/main" id="{6DEEC9BC-D9D9-40D9-AEA3-CB7FFBBFB910}"/>
                    </a:ext>
                  </a:extLst>
                </p:cNvPr>
                <p:cNvSpPr/>
                <p:nvPr userDrawn="1"/>
              </p:nvSpPr>
              <p:spPr>
                <a:xfrm>
                  <a:off x="1353715" y="1637650"/>
                  <a:ext cx="838305" cy="838305"/>
                </a:xfrm>
                <a:prstGeom prst="blockArc">
                  <a:avLst>
                    <a:gd name="adj1" fmla="val 9931431"/>
                    <a:gd name="adj2" fmla="val 19501890"/>
                    <a:gd name="adj3" fmla="val 14225"/>
                  </a:avLst>
                </a:prstGeom>
                <a:solidFill>
                  <a:schemeClr val="tx2">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8" name="Block Arc 157">
                  <a:extLst>
                    <a:ext uri="{FF2B5EF4-FFF2-40B4-BE49-F238E27FC236}">
                      <a16:creationId xmlns:a16="http://schemas.microsoft.com/office/drawing/2014/main" id="{AE10BDD5-C376-45D3-B453-7CC29518DD42}"/>
                    </a:ext>
                  </a:extLst>
                </p:cNvPr>
                <p:cNvSpPr/>
                <p:nvPr userDrawn="1"/>
              </p:nvSpPr>
              <p:spPr>
                <a:xfrm>
                  <a:off x="1469308" y="1755254"/>
                  <a:ext cx="607118" cy="607118"/>
                </a:xfrm>
                <a:prstGeom prst="blockArc">
                  <a:avLst>
                    <a:gd name="adj1" fmla="val 12441539"/>
                    <a:gd name="adj2" fmla="val 3168047"/>
                    <a:gd name="adj3" fmla="val 15873"/>
                  </a:avLst>
                </a:prstGeom>
                <a:solidFill>
                  <a:srgbClr val="6D64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59" name="Group 158">
                  <a:extLst>
                    <a:ext uri="{FF2B5EF4-FFF2-40B4-BE49-F238E27FC236}">
                      <a16:creationId xmlns:a16="http://schemas.microsoft.com/office/drawing/2014/main" id="{E3B2F108-A3FB-4B81-B419-939E08857598}"/>
                    </a:ext>
                  </a:extLst>
                </p:cNvPr>
                <p:cNvGrpSpPr/>
                <p:nvPr/>
              </p:nvGrpSpPr>
              <p:grpSpPr>
                <a:xfrm>
                  <a:off x="1590844" y="1912600"/>
                  <a:ext cx="364046" cy="320059"/>
                  <a:chOff x="43216" y="1556297"/>
                  <a:chExt cx="1384776" cy="1217459"/>
                </a:xfrm>
              </p:grpSpPr>
              <p:sp>
                <p:nvSpPr>
                  <p:cNvPr id="160" name="Freeform: Shape 159">
                    <a:extLst>
                      <a:ext uri="{FF2B5EF4-FFF2-40B4-BE49-F238E27FC236}">
                        <a16:creationId xmlns:a16="http://schemas.microsoft.com/office/drawing/2014/main" id="{7C0120F6-5690-4C28-ADEF-06D8625C8E53}"/>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reeform: Shape 160">
                    <a:extLst>
                      <a:ext uri="{FF2B5EF4-FFF2-40B4-BE49-F238E27FC236}">
                        <a16:creationId xmlns:a16="http://schemas.microsoft.com/office/drawing/2014/main" id="{3F957DA1-7EBB-4075-AB67-E7915851C0E2}"/>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Freeform: Shape 161">
                    <a:extLst>
                      <a:ext uri="{FF2B5EF4-FFF2-40B4-BE49-F238E27FC236}">
                        <a16:creationId xmlns:a16="http://schemas.microsoft.com/office/drawing/2014/main" id="{694737F5-2F69-4118-82F0-090450F40D67}"/>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grpSp>
        <p:sp>
          <p:nvSpPr>
            <p:cNvPr id="154" name="Rectangle 153">
              <a:extLst>
                <a:ext uri="{FF2B5EF4-FFF2-40B4-BE49-F238E27FC236}">
                  <a16:creationId xmlns:a16="http://schemas.microsoft.com/office/drawing/2014/main" id="{97028C15-6471-4051-8CB3-6E45FF713731}"/>
                </a:ext>
              </a:extLst>
            </p:cNvPr>
            <p:cNvSpPr/>
            <p:nvPr/>
          </p:nvSpPr>
          <p:spPr>
            <a:xfrm>
              <a:off x="9629389" y="1566571"/>
              <a:ext cx="1655064" cy="1505396"/>
            </a:xfrm>
            <a:prstGeom prst="rect">
              <a:avLst/>
            </a:prstGeom>
            <a:noFill/>
          </p:spPr>
          <p:txBody>
            <a:bodyPr wrap="none" lIns="0" tIns="0" rIns="0" bIns="0">
              <a:prstTxWarp prst="textArchUp">
                <a:avLst>
                  <a:gd name="adj" fmla="val 6247933"/>
                </a:avLst>
              </a:prstTxWarp>
              <a:spAutoFit/>
            </a:bodyPr>
            <a:lstStyle/>
            <a:p>
              <a:pPr lvl="0" algn="ctr"/>
              <a:r>
                <a:rPr lang="en-GB" sz="1200" b="1" dirty="0">
                  <a:solidFill>
                    <a:srgbClr val="4701A7"/>
                  </a:solidFill>
                  <a:cs typeface="Ubuntu Bold"/>
                </a:rPr>
                <a:t>AI–Optimised Platform</a:t>
              </a:r>
            </a:p>
          </p:txBody>
        </p:sp>
      </p:grpSp>
      <p:sp>
        <p:nvSpPr>
          <p:cNvPr id="4" name="Text Placeholder 3">
            <a:extLst>
              <a:ext uri="{FF2B5EF4-FFF2-40B4-BE49-F238E27FC236}">
                <a16:creationId xmlns:a16="http://schemas.microsoft.com/office/drawing/2014/main" id="{1578383D-B7C6-4EC7-AC49-E22DA87D12F8}"/>
              </a:ext>
            </a:extLst>
          </p:cNvPr>
          <p:cNvSpPr>
            <a:spLocks noGrp="1"/>
          </p:cNvSpPr>
          <p:nvPr>
            <p:ph type="body" sz="quarter" idx="10"/>
          </p:nvPr>
        </p:nvSpPr>
        <p:spPr>
          <a:xfrm>
            <a:off x="854055" y="2952833"/>
            <a:ext cx="1792625" cy="557448"/>
          </a:xfrm>
        </p:spPr>
        <p:txBody>
          <a:bodyPr anchor="t" anchorCtr="1">
            <a:normAutofit/>
          </a:bodyPr>
          <a:lstStyle>
            <a:lvl2pPr marL="0" indent="0">
              <a:lnSpc>
                <a:spcPct val="100000"/>
              </a:lnSpc>
              <a:buNone/>
              <a:defRPr lang="en-US" sz="1100" b="1" kern="1200" dirty="0" smtClean="0">
                <a:solidFill>
                  <a:schemeClr val="accent4"/>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64" name="Text Placeholder 3">
            <a:extLst>
              <a:ext uri="{FF2B5EF4-FFF2-40B4-BE49-F238E27FC236}">
                <a16:creationId xmlns:a16="http://schemas.microsoft.com/office/drawing/2014/main" id="{F1E601E4-C3AD-4F47-B4D0-86DD8E320CE2}"/>
              </a:ext>
            </a:extLst>
          </p:cNvPr>
          <p:cNvSpPr>
            <a:spLocks noGrp="1"/>
          </p:cNvSpPr>
          <p:nvPr>
            <p:ph type="body" sz="quarter" idx="11"/>
          </p:nvPr>
        </p:nvSpPr>
        <p:spPr>
          <a:xfrm>
            <a:off x="854055" y="3702916"/>
            <a:ext cx="1792625" cy="2584762"/>
          </a:xfrm>
        </p:spPr>
        <p:txBody>
          <a:bodyPr anchor="t" anchorCtr="1">
            <a:normAutofit/>
          </a:bodyPr>
          <a:lstStyle>
            <a:lvl2pPr marL="0" indent="0">
              <a:lnSpc>
                <a:spcPct val="100000"/>
              </a:lnSpc>
              <a:buNone/>
              <a:defRPr lang="en-US" sz="1100" b="0"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65" name="Text Placeholder 3">
            <a:extLst>
              <a:ext uri="{FF2B5EF4-FFF2-40B4-BE49-F238E27FC236}">
                <a16:creationId xmlns:a16="http://schemas.microsoft.com/office/drawing/2014/main" id="{A67AFDCA-AB67-44EF-9088-26F583B43052}"/>
              </a:ext>
            </a:extLst>
          </p:cNvPr>
          <p:cNvSpPr>
            <a:spLocks noGrp="1"/>
          </p:cNvSpPr>
          <p:nvPr>
            <p:ph type="body" sz="quarter" idx="12"/>
          </p:nvPr>
        </p:nvSpPr>
        <p:spPr>
          <a:xfrm>
            <a:off x="3030327" y="2952833"/>
            <a:ext cx="1792625" cy="557448"/>
          </a:xfrm>
        </p:spPr>
        <p:txBody>
          <a:bodyPr anchor="t" anchorCtr="1">
            <a:normAutofit/>
          </a:bodyPr>
          <a:lstStyle>
            <a:lvl2pPr marL="0" indent="0">
              <a:lnSpc>
                <a:spcPct val="100000"/>
              </a:lnSpc>
              <a:buNone/>
              <a:defRPr lang="en-US" sz="1100" b="1" kern="1200" dirty="0" smtClean="0">
                <a:solidFill>
                  <a:srgbClr val="15636B"/>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68" name="Text Placeholder 3">
            <a:extLst>
              <a:ext uri="{FF2B5EF4-FFF2-40B4-BE49-F238E27FC236}">
                <a16:creationId xmlns:a16="http://schemas.microsoft.com/office/drawing/2014/main" id="{F866E6FF-F80E-428B-BC28-FE0B9FC01280}"/>
              </a:ext>
            </a:extLst>
          </p:cNvPr>
          <p:cNvSpPr>
            <a:spLocks noGrp="1"/>
          </p:cNvSpPr>
          <p:nvPr>
            <p:ph type="body" sz="quarter" idx="13"/>
          </p:nvPr>
        </p:nvSpPr>
        <p:spPr>
          <a:xfrm>
            <a:off x="3030327" y="3702916"/>
            <a:ext cx="1792625" cy="2584762"/>
          </a:xfrm>
        </p:spPr>
        <p:txBody>
          <a:bodyPr anchor="t" anchorCtr="1">
            <a:normAutofit/>
          </a:bodyPr>
          <a:lstStyle>
            <a:lvl2pPr marL="0" indent="0">
              <a:lnSpc>
                <a:spcPct val="100000"/>
              </a:lnSpc>
              <a:buNone/>
              <a:defRPr lang="en-US" sz="1100" b="0"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69" name="Text Placeholder 3">
            <a:extLst>
              <a:ext uri="{FF2B5EF4-FFF2-40B4-BE49-F238E27FC236}">
                <a16:creationId xmlns:a16="http://schemas.microsoft.com/office/drawing/2014/main" id="{FBD18B83-A4B3-4E10-8047-0A75ADD56A0F}"/>
              </a:ext>
            </a:extLst>
          </p:cNvPr>
          <p:cNvSpPr>
            <a:spLocks noGrp="1"/>
          </p:cNvSpPr>
          <p:nvPr>
            <p:ph type="body" sz="quarter" idx="14"/>
          </p:nvPr>
        </p:nvSpPr>
        <p:spPr>
          <a:xfrm>
            <a:off x="5211469" y="2952833"/>
            <a:ext cx="1792625" cy="557448"/>
          </a:xfrm>
        </p:spPr>
        <p:txBody>
          <a:bodyPr anchor="t" anchorCtr="1">
            <a:normAutofit/>
          </a:bodyPr>
          <a:lstStyle>
            <a:lvl2pPr marL="0" indent="0">
              <a:lnSpc>
                <a:spcPct val="100000"/>
              </a:lnSpc>
              <a:buNone/>
              <a:defRPr lang="en-US" sz="1100" b="1" kern="1200" dirty="0" smtClean="0">
                <a:solidFill>
                  <a:srgbClr val="0070AD"/>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70" name="Text Placeholder 3">
            <a:extLst>
              <a:ext uri="{FF2B5EF4-FFF2-40B4-BE49-F238E27FC236}">
                <a16:creationId xmlns:a16="http://schemas.microsoft.com/office/drawing/2014/main" id="{68893408-D27E-4FEF-8630-47862962E540}"/>
              </a:ext>
            </a:extLst>
          </p:cNvPr>
          <p:cNvSpPr>
            <a:spLocks noGrp="1"/>
          </p:cNvSpPr>
          <p:nvPr>
            <p:ph type="body" sz="quarter" idx="15"/>
          </p:nvPr>
        </p:nvSpPr>
        <p:spPr>
          <a:xfrm>
            <a:off x="5211469" y="3702916"/>
            <a:ext cx="1792625" cy="2584762"/>
          </a:xfrm>
        </p:spPr>
        <p:txBody>
          <a:bodyPr anchor="t" anchorCtr="1">
            <a:normAutofit/>
          </a:bodyPr>
          <a:lstStyle>
            <a:lvl2pPr marL="0" indent="0">
              <a:lnSpc>
                <a:spcPct val="100000"/>
              </a:lnSpc>
              <a:buNone/>
              <a:defRPr lang="en-US" sz="1100" b="0"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71" name="Text Placeholder 3">
            <a:extLst>
              <a:ext uri="{FF2B5EF4-FFF2-40B4-BE49-F238E27FC236}">
                <a16:creationId xmlns:a16="http://schemas.microsoft.com/office/drawing/2014/main" id="{D5A36EB3-F537-46D8-9F26-3893FB6D5C5C}"/>
              </a:ext>
            </a:extLst>
          </p:cNvPr>
          <p:cNvSpPr>
            <a:spLocks noGrp="1"/>
          </p:cNvSpPr>
          <p:nvPr>
            <p:ph type="body" sz="quarter" idx="16"/>
          </p:nvPr>
        </p:nvSpPr>
        <p:spPr>
          <a:xfrm>
            <a:off x="7386040" y="2952833"/>
            <a:ext cx="1792625" cy="557448"/>
          </a:xfrm>
        </p:spPr>
        <p:txBody>
          <a:bodyPr anchor="t" anchorCtr="1">
            <a:normAutofit/>
          </a:bodyPr>
          <a:lstStyle>
            <a:lvl2pPr marL="0" indent="0">
              <a:lnSpc>
                <a:spcPct val="100000"/>
              </a:lnSpc>
              <a:buNone/>
              <a:defRPr lang="en-US" sz="1100" b="1" kern="1200" dirty="0" smtClean="0">
                <a:solidFill>
                  <a:srgbClr val="FF6327"/>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72" name="Text Placeholder 3">
            <a:extLst>
              <a:ext uri="{FF2B5EF4-FFF2-40B4-BE49-F238E27FC236}">
                <a16:creationId xmlns:a16="http://schemas.microsoft.com/office/drawing/2014/main" id="{D747E052-7E9A-42D3-8A4D-25185A888BE6}"/>
              </a:ext>
            </a:extLst>
          </p:cNvPr>
          <p:cNvSpPr>
            <a:spLocks noGrp="1"/>
          </p:cNvSpPr>
          <p:nvPr>
            <p:ph type="body" sz="quarter" idx="17"/>
          </p:nvPr>
        </p:nvSpPr>
        <p:spPr>
          <a:xfrm>
            <a:off x="7386040" y="3702916"/>
            <a:ext cx="1792625" cy="2584762"/>
          </a:xfrm>
        </p:spPr>
        <p:txBody>
          <a:bodyPr anchor="t" anchorCtr="1">
            <a:normAutofit/>
          </a:bodyPr>
          <a:lstStyle>
            <a:lvl2pPr marL="0" indent="0">
              <a:lnSpc>
                <a:spcPct val="100000"/>
              </a:lnSpc>
              <a:buNone/>
              <a:defRPr lang="en-US" sz="1100" b="0"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73" name="Text Placeholder 3">
            <a:extLst>
              <a:ext uri="{FF2B5EF4-FFF2-40B4-BE49-F238E27FC236}">
                <a16:creationId xmlns:a16="http://schemas.microsoft.com/office/drawing/2014/main" id="{38C4C5CA-7185-46F6-AFC7-9D887439825D}"/>
              </a:ext>
            </a:extLst>
          </p:cNvPr>
          <p:cNvSpPr>
            <a:spLocks noGrp="1"/>
          </p:cNvSpPr>
          <p:nvPr>
            <p:ph type="body" sz="quarter" idx="18"/>
          </p:nvPr>
        </p:nvSpPr>
        <p:spPr>
          <a:xfrm>
            <a:off x="9560609" y="2952833"/>
            <a:ext cx="1792625" cy="557448"/>
          </a:xfrm>
        </p:spPr>
        <p:txBody>
          <a:bodyPr anchor="t" anchorCtr="1">
            <a:normAutofit/>
          </a:bodyPr>
          <a:lstStyle>
            <a:lvl2pPr marL="0" indent="0">
              <a:lnSpc>
                <a:spcPct val="100000"/>
              </a:lnSpc>
              <a:buNone/>
              <a:defRPr lang="en-US" sz="1100" b="1" kern="1200" dirty="0" smtClean="0">
                <a:solidFill>
                  <a:srgbClr val="4701A7"/>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74" name="Text Placeholder 3">
            <a:extLst>
              <a:ext uri="{FF2B5EF4-FFF2-40B4-BE49-F238E27FC236}">
                <a16:creationId xmlns:a16="http://schemas.microsoft.com/office/drawing/2014/main" id="{4295D42A-2BF7-4880-BE88-A3CB6A8E2F3E}"/>
              </a:ext>
            </a:extLst>
          </p:cNvPr>
          <p:cNvSpPr>
            <a:spLocks noGrp="1"/>
          </p:cNvSpPr>
          <p:nvPr>
            <p:ph type="body" sz="quarter" idx="19"/>
          </p:nvPr>
        </p:nvSpPr>
        <p:spPr>
          <a:xfrm>
            <a:off x="9560609" y="3702916"/>
            <a:ext cx="1792625" cy="2584762"/>
          </a:xfrm>
        </p:spPr>
        <p:txBody>
          <a:bodyPr anchor="t" anchorCtr="1">
            <a:normAutofit/>
          </a:bodyPr>
          <a:lstStyle>
            <a:lvl2pPr marL="0" indent="0">
              <a:lnSpc>
                <a:spcPct val="100000"/>
              </a:lnSpc>
              <a:buNone/>
              <a:defRPr lang="en-US" sz="1100" b="0"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Tree>
    <p:extLst>
      <p:ext uri="{BB962C8B-B14F-4D97-AF65-F5344CB8AC3E}">
        <p14:creationId xmlns:p14="http://schemas.microsoft.com/office/powerpoint/2010/main" val="3841773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127" name="Group 126">
            <a:extLst>
              <a:ext uri="{FF2B5EF4-FFF2-40B4-BE49-F238E27FC236}">
                <a16:creationId xmlns:a16="http://schemas.microsoft.com/office/drawing/2014/main" id="{A0DCB9D2-ABE5-49ED-B4BD-90FF97A67352}"/>
              </a:ext>
            </a:extLst>
          </p:cNvPr>
          <p:cNvGrpSpPr/>
          <p:nvPr userDrawn="1"/>
        </p:nvGrpSpPr>
        <p:grpSpPr>
          <a:xfrm>
            <a:off x="653525" y="2709000"/>
            <a:ext cx="1872000" cy="3672000"/>
            <a:chOff x="768000" y="2709000"/>
            <a:chExt cx="1872000" cy="3672000"/>
          </a:xfrm>
        </p:grpSpPr>
        <p:sp>
          <p:nvSpPr>
            <p:cNvPr id="128" name="Rectangle 18">
              <a:extLst>
                <a:ext uri="{FF2B5EF4-FFF2-40B4-BE49-F238E27FC236}">
                  <a16:creationId xmlns:a16="http://schemas.microsoft.com/office/drawing/2014/main" id="{74979C25-CD27-4D0C-96A5-86666D37471A}"/>
                </a:ext>
              </a:extLst>
            </p:cNvPr>
            <p:cNvSpPr/>
            <p:nvPr/>
          </p:nvSpPr>
          <p:spPr>
            <a:xfrm>
              <a:off x="768000" y="3657600"/>
              <a:ext cx="1872000" cy="1499400"/>
            </a:xfrm>
            <a:prstGeom prst="rect">
              <a:avLst/>
            </a:prstGeom>
            <a:solidFill>
              <a:srgbClr val="0E646B">
                <a:alpha val="28000"/>
              </a:srgbClr>
            </a:solidFill>
            <a:ln w="12700" cap="flat" cmpd="sng" algn="ctr">
              <a:noFill/>
              <a:prstDash val="solid"/>
              <a:miter lim="800000"/>
            </a:ln>
            <a:effectLst/>
          </p:spPr>
          <p:txBody>
            <a:bodyPr wrap="square" lIns="45720" tIns="45720" rIns="45720" bIns="45720" rtlCol="0" anchor="ctr" anchorCtr="1"/>
            <a:lstStyle/>
            <a:p>
              <a:pPr algn="ctr">
                <a:defRPr/>
              </a:pPr>
              <a:endParaRPr lang="en-US" sz="1050" kern="0" dirty="0">
                <a:solidFill>
                  <a:srgbClr val="15636B"/>
                </a:solidFill>
                <a:cs typeface="Ubuntu Light"/>
              </a:endParaRPr>
            </a:p>
          </p:txBody>
        </p:sp>
        <p:sp>
          <p:nvSpPr>
            <p:cNvPr id="129" name="Rectangle 128">
              <a:extLst>
                <a:ext uri="{FF2B5EF4-FFF2-40B4-BE49-F238E27FC236}">
                  <a16:creationId xmlns:a16="http://schemas.microsoft.com/office/drawing/2014/main" id="{6F94EFEE-15B7-45AC-BE36-92158FC27A85}"/>
                </a:ext>
              </a:extLst>
            </p:cNvPr>
            <p:cNvSpPr/>
            <p:nvPr/>
          </p:nvSpPr>
          <p:spPr>
            <a:xfrm>
              <a:off x="768000" y="5157000"/>
              <a:ext cx="1872000" cy="1224000"/>
            </a:xfrm>
            <a:prstGeom prst="rect">
              <a:avLst/>
            </a:prstGeom>
            <a:solidFill>
              <a:srgbClr val="15636B"/>
            </a:solidFill>
            <a:ln w="12700" cap="flat" cmpd="sng" algn="ctr">
              <a:noFill/>
              <a:prstDash val="solid"/>
              <a:miter lim="800000"/>
            </a:ln>
            <a:effectLst/>
          </p:spPr>
          <p:txBody>
            <a:bodyPr lIns="45720" tIns="45720" rIns="45720" bIns="45720" rtlCol="0" anchor="ctr" anchorCtr="1"/>
            <a:lstStyle/>
            <a:p>
              <a:pPr algn="ctr">
                <a:defRPr/>
              </a:pPr>
              <a:endParaRPr lang="en-US" sz="1200" b="1" kern="0" dirty="0">
                <a:solidFill>
                  <a:srgbClr val="FFFFFF"/>
                </a:solidFill>
                <a:cs typeface="Ubuntu Bold"/>
              </a:endParaRPr>
            </a:p>
          </p:txBody>
        </p:sp>
        <p:sp>
          <p:nvSpPr>
            <p:cNvPr id="130" name="Rectangle 129">
              <a:extLst>
                <a:ext uri="{FF2B5EF4-FFF2-40B4-BE49-F238E27FC236}">
                  <a16:creationId xmlns:a16="http://schemas.microsoft.com/office/drawing/2014/main" id="{839F7B02-A32B-4617-9F12-96DC79D2DC94}"/>
                </a:ext>
              </a:extLst>
            </p:cNvPr>
            <p:cNvSpPr/>
            <p:nvPr/>
          </p:nvSpPr>
          <p:spPr>
            <a:xfrm>
              <a:off x="768000" y="2709000"/>
              <a:ext cx="1872000" cy="958760"/>
            </a:xfrm>
            <a:prstGeom prst="rect">
              <a:avLst/>
            </a:prstGeom>
            <a:solidFill>
              <a:srgbClr val="0E646B">
                <a:alpha val="10000"/>
              </a:srgbClr>
            </a:solidFill>
            <a:ln w="12700" cap="flat" cmpd="sng" algn="ctr">
              <a:noFill/>
              <a:prstDash val="solid"/>
              <a:miter lim="800000"/>
            </a:ln>
            <a:effectLst/>
          </p:spPr>
          <p:txBody>
            <a:bodyPr lIns="45720" tIns="45720" rIns="45720" rtlCol="0" anchor="t" anchorCtr="1"/>
            <a:lstStyle/>
            <a:p>
              <a:pPr algn="ctr">
                <a:defRPr/>
              </a:pPr>
              <a:endParaRPr lang="en-US" sz="1100" b="1" kern="0" dirty="0">
                <a:solidFill>
                  <a:srgbClr val="15636B"/>
                </a:solidFill>
                <a:cs typeface="Ubuntu Bold"/>
              </a:endParaRPr>
            </a:p>
          </p:txBody>
        </p:sp>
      </p:grpSp>
      <p:grpSp>
        <p:nvGrpSpPr>
          <p:cNvPr id="131" name="Group 130">
            <a:extLst>
              <a:ext uri="{FF2B5EF4-FFF2-40B4-BE49-F238E27FC236}">
                <a16:creationId xmlns:a16="http://schemas.microsoft.com/office/drawing/2014/main" id="{AE907E88-7C6A-4262-8240-3DE453B6C6F0}"/>
              </a:ext>
            </a:extLst>
          </p:cNvPr>
          <p:cNvGrpSpPr/>
          <p:nvPr userDrawn="1"/>
        </p:nvGrpSpPr>
        <p:grpSpPr>
          <a:xfrm>
            <a:off x="2880791" y="2709000"/>
            <a:ext cx="1872000" cy="3672000"/>
            <a:chOff x="2928000" y="2709000"/>
            <a:chExt cx="1872000" cy="3672000"/>
          </a:xfrm>
        </p:grpSpPr>
        <p:sp>
          <p:nvSpPr>
            <p:cNvPr id="132" name="Rectangle 18">
              <a:extLst>
                <a:ext uri="{FF2B5EF4-FFF2-40B4-BE49-F238E27FC236}">
                  <a16:creationId xmlns:a16="http://schemas.microsoft.com/office/drawing/2014/main" id="{69C7BD0E-FAE6-4101-B68C-B8F6842E3A4C}"/>
                </a:ext>
              </a:extLst>
            </p:cNvPr>
            <p:cNvSpPr/>
            <p:nvPr/>
          </p:nvSpPr>
          <p:spPr>
            <a:xfrm>
              <a:off x="2928000" y="3657600"/>
              <a:ext cx="1872000" cy="1499400"/>
            </a:xfrm>
            <a:prstGeom prst="rect">
              <a:avLst/>
            </a:prstGeom>
            <a:solidFill>
              <a:srgbClr val="860866">
                <a:alpha val="28000"/>
              </a:srgbClr>
            </a:solidFill>
            <a:ln w="12700" cap="flat" cmpd="sng" algn="ctr">
              <a:noFill/>
              <a:prstDash val="solid"/>
              <a:miter lim="800000"/>
            </a:ln>
            <a:effectLst/>
          </p:spPr>
          <p:txBody>
            <a:bodyPr wrap="square" lIns="45720" tIns="45720" rIns="45720" bIns="45720" rtlCol="0" anchor="ctr" anchorCtr="1"/>
            <a:lstStyle/>
            <a:p>
              <a:pPr algn="ctr">
                <a:defRPr/>
              </a:pPr>
              <a:endParaRPr lang="en-US" sz="1050" kern="0" dirty="0">
                <a:solidFill>
                  <a:srgbClr val="860864"/>
                </a:solidFill>
                <a:cs typeface="Ubuntu Light"/>
              </a:endParaRPr>
            </a:p>
          </p:txBody>
        </p:sp>
        <p:sp>
          <p:nvSpPr>
            <p:cNvPr id="133" name="Rectangle 132">
              <a:extLst>
                <a:ext uri="{FF2B5EF4-FFF2-40B4-BE49-F238E27FC236}">
                  <a16:creationId xmlns:a16="http://schemas.microsoft.com/office/drawing/2014/main" id="{27CD2E77-CA3C-42B0-ADD0-229335F1C14F}"/>
                </a:ext>
              </a:extLst>
            </p:cNvPr>
            <p:cNvSpPr/>
            <p:nvPr/>
          </p:nvSpPr>
          <p:spPr>
            <a:xfrm>
              <a:off x="2928000" y="5157000"/>
              <a:ext cx="1872000" cy="1224000"/>
            </a:xfrm>
            <a:prstGeom prst="rect">
              <a:avLst/>
            </a:prstGeom>
            <a:solidFill>
              <a:srgbClr val="860864"/>
            </a:solidFill>
            <a:ln w="12700" cap="flat" cmpd="sng" algn="ctr">
              <a:noFill/>
              <a:prstDash val="solid"/>
              <a:miter lim="800000"/>
            </a:ln>
            <a:effectLst/>
          </p:spPr>
          <p:txBody>
            <a:bodyPr lIns="45720" tIns="45720" rIns="45720" bIns="45720" rtlCol="0" anchor="ctr" anchorCtr="1"/>
            <a:lstStyle/>
            <a:p>
              <a:pPr algn="ctr">
                <a:defRPr/>
              </a:pPr>
              <a:endParaRPr lang="en-US" sz="1200" b="1" kern="0" dirty="0">
                <a:solidFill>
                  <a:srgbClr val="FFFFFF"/>
                </a:solidFill>
                <a:cs typeface="Ubuntu Bold"/>
              </a:endParaRPr>
            </a:p>
          </p:txBody>
        </p:sp>
        <p:sp>
          <p:nvSpPr>
            <p:cNvPr id="134" name="Rectangle 133">
              <a:extLst>
                <a:ext uri="{FF2B5EF4-FFF2-40B4-BE49-F238E27FC236}">
                  <a16:creationId xmlns:a16="http://schemas.microsoft.com/office/drawing/2014/main" id="{86853E3D-289B-4754-9ED2-BC5DFC6E4E30}"/>
                </a:ext>
              </a:extLst>
            </p:cNvPr>
            <p:cNvSpPr/>
            <p:nvPr/>
          </p:nvSpPr>
          <p:spPr>
            <a:xfrm>
              <a:off x="2928000" y="2709000"/>
              <a:ext cx="1872000" cy="958760"/>
            </a:xfrm>
            <a:prstGeom prst="rect">
              <a:avLst/>
            </a:prstGeom>
            <a:solidFill>
              <a:srgbClr val="860866">
                <a:alpha val="10000"/>
              </a:srgbClr>
            </a:solidFill>
            <a:ln w="12700" cap="flat" cmpd="sng" algn="ctr">
              <a:noFill/>
              <a:prstDash val="solid"/>
              <a:miter lim="800000"/>
            </a:ln>
            <a:effectLst/>
          </p:spPr>
          <p:txBody>
            <a:bodyPr lIns="45720" tIns="45720" rIns="45720" rtlCol="0" anchor="t" anchorCtr="1"/>
            <a:lstStyle/>
            <a:p>
              <a:pPr algn="ctr">
                <a:defRPr/>
              </a:pPr>
              <a:endParaRPr lang="en-US" sz="1100" b="1" kern="0" dirty="0">
                <a:solidFill>
                  <a:srgbClr val="860864"/>
                </a:solidFill>
                <a:cs typeface="Ubuntu Bold"/>
              </a:endParaRPr>
            </a:p>
          </p:txBody>
        </p:sp>
      </p:grpSp>
      <p:grpSp>
        <p:nvGrpSpPr>
          <p:cNvPr id="135" name="Group 134">
            <a:extLst>
              <a:ext uri="{FF2B5EF4-FFF2-40B4-BE49-F238E27FC236}">
                <a16:creationId xmlns:a16="http://schemas.microsoft.com/office/drawing/2014/main" id="{E5A3B34B-97A9-4F94-A8E0-8A3C27312BB8}"/>
              </a:ext>
            </a:extLst>
          </p:cNvPr>
          <p:cNvGrpSpPr/>
          <p:nvPr userDrawn="1"/>
        </p:nvGrpSpPr>
        <p:grpSpPr>
          <a:xfrm>
            <a:off x="5101491" y="2709000"/>
            <a:ext cx="1872000" cy="3672000"/>
            <a:chOff x="5088000" y="2709000"/>
            <a:chExt cx="1872000" cy="3672000"/>
          </a:xfrm>
        </p:grpSpPr>
        <p:sp>
          <p:nvSpPr>
            <p:cNvPr id="136" name="Rectangle 18">
              <a:extLst>
                <a:ext uri="{FF2B5EF4-FFF2-40B4-BE49-F238E27FC236}">
                  <a16:creationId xmlns:a16="http://schemas.microsoft.com/office/drawing/2014/main" id="{026775B2-2005-481B-A3F7-0FE76B69E1B7}"/>
                </a:ext>
              </a:extLst>
            </p:cNvPr>
            <p:cNvSpPr/>
            <p:nvPr/>
          </p:nvSpPr>
          <p:spPr>
            <a:xfrm>
              <a:off x="5088000" y="3657600"/>
              <a:ext cx="1872000" cy="1499400"/>
            </a:xfrm>
            <a:prstGeom prst="rect">
              <a:avLst/>
            </a:prstGeom>
            <a:solidFill>
              <a:srgbClr val="0070AD">
                <a:alpha val="28000"/>
              </a:srgbClr>
            </a:solidFill>
            <a:ln w="12700" cap="flat" cmpd="sng" algn="ctr">
              <a:noFill/>
              <a:prstDash val="solid"/>
              <a:miter lim="800000"/>
            </a:ln>
            <a:effectLst/>
          </p:spPr>
          <p:txBody>
            <a:bodyPr wrap="square" lIns="45720" tIns="45720" rIns="45720" bIns="45720" rtlCol="0" anchor="ctr" anchorCtr="1"/>
            <a:lstStyle/>
            <a:p>
              <a:pPr algn="ctr">
                <a:defRPr/>
              </a:pPr>
              <a:endParaRPr lang="en-US" sz="1050" kern="0" dirty="0">
                <a:solidFill>
                  <a:srgbClr val="0070AD"/>
                </a:solidFill>
                <a:cs typeface="Ubuntu Light"/>
              </a:endParaRPr>
            </a:p>
          </p:txBody>
        </p:sp>
        <p:sp>
          <p:nvSpPr>
            <p:cNvPr id="137" name="Rectangle 136">
              <a:extLst>
                <a:ext uri="{FF2B5EF4-FFF2-40B4-BE49-F238E27FC236}">
                  <a16:creationId xmlns:a16="http://schemas.microsoft.com/office/drawing/2014/main" id="{585EEED6-B4DE-4786-956A-9BB9632E4BDD}"/>
                </a:ext>
              </a:extLst>
            </p:cNvPr>
            <p:cNvSpPr/>
            <p:nvPr/>
          </p:nvSpPr>
          <p:spPr>
            <a:xfrm>
              <a:off x="5088000" y="5157000"/>
              <a:ext cx="1872000" cy="1224000"/>
            </a:xfrm>
            <a:prstGeom prst="rect">
              <a:avLst/>
            </a:prstGeom>
            <a:solidFill>
              <a:srgbClr val="0070AD"/>
            </a:solidFill>
            <a:ln w="12700" cap="flat" cmpd="sng" algn="ctr">
              <a:noFill/>
              <a:prstDash val="solid"/>
              <a:miter lim="800000"/>
            </a:ln>
            <a:effectLst/>
          </p:spPr>
          <p:txBody>
            <a:bodyPr lIns="45720" tIns="45720" rIns="45720" bIns="45720" rtlCol="0" anchor="ctr" anchorCtr="1"/>
            <a:lstStyle/>
            <a:p>
              <a:pPr algn="ctr">
                <a:defRPr/>
              </a:pPr>
              <a:endParaRPr lang="en-US" sz="1200" b="1" kern="0" dirty="0">
                <a:solidFill>
                  <a:srgbClr val="FFFFFF"/>
                </a:solidFill>
                <a:cs typeface="Ubuntu Bold"/>
              </a:endParaRPr>
            </a:p>
          </p:txBody>
        </p:sp>
        <p:sp>
          <p:nvSpPr>
            <p:cNvPr id="138" name="Rectangle 137">
              <a:extLst>
                <a:ext uri="{FF2B5EF4-FFF2-40B4-BE49-F238E27FC236}">
                  <a16:creationId xmlns:a16="http://schemas.microsoft.com/office/drawing/2014/main" id="{835937E7-EF1A-4B4E-8384-EEA6134A6C48}"/>
                </a:ext>
              </a:extLst>
            </p:cNvPr>
            <p:cNvSpPr/>
            <p:nvPr/>
          </p:nvSpPr>
          <p:spPr>
            <a:xfrm>
              <a:off x="5088000" y="2709000"/>
              <a:ext cx="1872000" cy="958760"/>
            </a:xfrm>
            <a:prstGeom prst="rect">
              <a:avLst/>
            </a:prstGeom>
            <a:solidFill>
              <a:srgbClr val="0070AD">
                <a:alpha val="10000"/>
              </a:srgbClr>
            </a:solidFill>
            <a:ln w="12700" cap="flat" cmpd="sng" algn="ctr">
              <a:noFill/>
              <a:prstDash val="solid"/>
              <a:miter lim="800000"/>
            </a:ln>
            <a:effectLst/>
          </p:spPr>
          <p:txBody>
            <a:bodyPr lIns="45720" tIns="45720" rIns="45720" rtlCol="0" anchor="t" anchorCtr="1"/>
            <a:lstStyle/>
            <a:p>
              <a:pPr algn="ctr">
                <a:defRPr/>
              </a:pPr>
              <a:endParaRPr lang="en-US" sz="1100" b="1" kern="0" dirty="0">
                <a:solidFill>
                  <a:srgbClr val="0070AD"/>
                </a:solidFill>
                <a:cs typeface="Ubuntu Bold"/>
              </a:endParaRPr>
            </a:p>
          </p:txBody>
        </p:sp>
      </p:grpSp>
      <p:grpSp>
        <p:nvGrpSpPr>
          <p:cNvPr id="139" name="Group 138">
            <a:extLst>
              <a:ext uri="{FF2B5EF4-FFF2-40B4-BE49-F238E27FC236}">
                <a16:creationId xmlns:a16="http://schemas.microsoft.com/office/drawing/2014/main" id="{66D18B1A-C6B6-4CA2-AF70-52F5E354C24C}"/>
              </a:ext>
            </a:extLst>
          </p:cNvPr>
          <p:cNvGrpSpPr/>
          <p:nvPr userDrawn="1"/>
        </p:nvGrpSpPr>
        <p:grpSpPr>
          <a:xfrm>
            <a:off x="7387266" y="2709000"/>
            <a:ext cx="1872000" cy="3672000"/>
            <a:chOff x="7248000" y="2709000"/>
            <a:chExt cx="1872000" cy="3672000"/>
          </a:xfrm>
        </p:grpSpPr>
        <p:sp>
          <p:nvSpPr>
            <p:cNvPr id="140" name="Rectangle 18">
              <a:extLst>
                <a:ext uri="{FF2B5EF4-FFF2-40B4-BE49-F238E27FC236}">
                  <a16:creationId xmlns:a16="http://schemas.microsoft.com/office/drawing/2014/main" id="{F584266C-F206-494E-8331-97F6E1633016}"/>
                </a:ext>
              </a:extLst>
            </p:cNvPr>
            <p:cNvSpPr/>
            <p:nvPr/>
          </p:nvSpPr>
          <p:spPr>
            <a:xfrm>
              <a:off x="7248000" y="3657600"/>
              <a:ext cx="1872000" cy="1499400"/>
            </a:xfrm>
            <a:prstGeom prst="rect">
              <a:avLst/>
            </a:prstGeom>
            <a:solidFill>
              <a:srgbClr val="4701A7">
                <a:alpha val="27000"/>
              </a:srgbClr>
            </a:solidFill>
            <a:ln w="12700" cap="flat" cmpd="sng" algn="ctr">
              <a:noFill/>
              <a:prstDash val="solid"/>
              <a:miter lim="800000"/>
            </a:ln>
            <a:effectLst/>
          </p:spPr>
          <p:txBody>
            <a:bodyPr wrap="square" lIns="45720" tIns="45720" rIns="45720" bIns="45720" rtlCol="0" anchor="ctr" anchorCtr="1"/>
            <a:lstStyle/>
            <a:p>
              <a:pPr algn="ctr">
                <a:defRPr/>
              </a:pPr>
              <a:endParaRPr lang="en-US" sz="1050" kern="0" dirty="0">
                <a:solidFill>
                  <a:srgbClr val="2B0A3D"/>
                </a:solidFill>
                <a:cs typeface="Ubuntu Light"/>
              </a:endParaRPr>
            </a:p>
          </p:txBody>
        </p:sp>
        <p:sp>
          <p:nvSpPr>
            <p:cNvPr id="141" name="Rectangle 140">
              <a:extLst>
                <a:ext uri="{FF2B5EF4-FFF2-40B4-BE49-F238E27FC236}">
                  <a16:creationId xmlns:a16="http://schemas.microsoft.com/office/drawing/2014/main" id="{67C4C56A-9BAC-4B78-BAAA-E235742AFD44}"/>
                </a:ext>
              </a:extLst>
            </p:cNvPr>
            <p:cNvSpPr/>
            <p:nvPr/>
          </p:nvSpPr>
          <p:spPr>
            <a:xfrm>
              <a:off x="7248000" y="5157000"/>
              <a:ext cx="1872000" cy="1224000"/>
            </a:xfrm>
            <a:prstGeom prst="rect">
              <a:avLst/>
            </a:prstGeom>
            <a:solidFill>
              <a:srgbClr val="4701A7"/>
            </a:solidFill>
            <a:ln w="12700" cap="flat" cmpd="sng" algn="ctr">
              <a:noFill/>
              <a:prstDash val="solid"/>
              <a:miter lim="800000"/>
            </a:ln>
            <a:effectLst/>
          </p:spPr>
          <p:txBody>
            <a:bodyPr lIns="45720" tIns="45720" rIns="45720" bIns="45720" rtlCol="0" anchor="ctr" anchorCtr="1"/>
            <a:lstStyle/>
            <a:p>
              <a:pPr algn="ctr">
                <a:defRPr/>
              </a:pPr>
              <a:endParaRPr lang="en-US" sz="1200" b="1" kern="0" dirty="0">
                <a:solidFill>
                  <a:srgbClr val="FFFFFF"/>
                </a:solidFill>
                <a:cs typeface="Ubuntu Bold"/>
              </a:endParaRPr>
            </a:p>
          </p:txBody>
        </p:sp>
        <p:sp>
          <p:nvSpPr>
            <p:cNvPr id="142" name="Rectangle 141">
              <a:extLst>
                <a:ext uri="{FF2B5EF4-FFF2-40B4-BE49-F238E27FC236}">
                  <a16:creationId xmlns:a16="http://schemas.microsoft.com/office/drawing/2014/main" id="{78D9A62B-D754-425B-9C16-2F314555F0EA}"/>
                </a:ext>
              </a:extLst>
            </p:cNvPr>
            <p:cNvSpPr/>
            <p:nvPr/>
          </p:nvSpPr>
          <p:spPr>
            <a:xfrm>
              <a:off x="7248000" y="2709000"/>
              <a:ext cx="1872000" cy="958760"/>
            </a:xfrm>
            <a:prstGeom prst="rect">
              <a:avLst/>
            </a:prstGeom>
            <a:solidFill>
              <a:srgbClr val="4701A7">
                <a:alpha val="10000"/>
              </a:srgbClr>
            </a:solidFill>
            <a:ln w="12700" cap="flat" cmpd="sng" algn="ctr">
              <a:noFill/>
              <a:prstDash val="solid"/>
              <a:miter lim="800000"/>
            </a:ln>
            <a:effectLst/>
          </p:spPr>
          <p:txBody>
            <a:bodyPr lIns="45720" tIns="45720" rIns="45720" rtlCol="0" anchor="t" anchorCtr="1"/>
            <a:lstStyle/>
            <a:p>
              <a:pPr algn="ctr">
                <a:defRPr/>
              </a:pPr>
              <a:endParaRPr lang="en-US" sz="1100" b="1" kern="0" dirty="0">
                <a:solidFill>
                  <a:srgbClr val="2B0A3D"/>
                </a:solidFill>
                <a:cs typeface="Ubuntu Bold"/>
              </a:endParaRPr>
            </a:p>
          </p:txBody>
        </p:sp>
      </p:grpSp>
      <p:grpSp>
        <p:nvGrpSpPr>
          <p:cNvPr id="143" name="Group 142">
            <a:extLst>
              <a:ext uri="{FF2B5EF4-FFF2-40B4-BE49-F238E27FC236}">
                <a16:creationId xmlns:a16="http://schemas.microsoft.com/office/drawing/2014/main" id="{5F23108B-C24B-4C0C-AC43-B0B2807A722B}"/>
              </a:ext>
            </a:extLst>
          </p:cNvPr>
          <p:cNvGrpSpPr/>
          <p:nvPr userDrawn="1"/>
        </p:nvGrpSpPr>
        <p:grpSpPr>
          <a:xfrm>
            <a:off x="9673040" y="2709000"/>
            <a:ext cx="1872000" cy="3672000"/>
            <a:chOff x="9408000" y="2709000"/>
            <a:chExt cx="1872000" cy="3672000"/>
          </a:xfrm>
        </p:grpSpPr>
        <p:sp>
          <p:nvSpPr>
            <p:cNvPr id="144" name="Rectangle 18">
              <a:extLst>
                <a:ext uri="{FF2B5EF4-FFF2-40B4-BE49-F238E27FC236}">
                  <a16:creationId xmlns:a16="http://schemas.microsoft.com/office/drawing/2014/main" id="{DC840A19-EC89-4FCA-B387-42237E22354B}"/>
                </a:ext>
              </a:extLst>
            </p:cNvPr>
            <p:cNvSpPr/>
            <p:nvPr/>
          </p:nvSpPr>
          <p:spPr>
            <a:xfrm>
              <a:off x="9408000" y="3657600"/>
              <a:ext cx="1872000" cy="1499400"/>
            </a:xfrm>
            <a:prstGeom prst="rect">
              <a:avLst/>
            </a:prstGeom>
            <a:solidFill>
              <a:srgbClr val="FF304C">
                <a:alpha val="28000"/>
              </a:srgbClr>
            </a:solidFill>
            <a:ln w="12700" cap="flat" cmpd="sng" algn="ctr">
              <a:noFill/>
              <a:prstDash val="solid"/>
              <a:miter lim="800000"/>
            </a:ln>
            <a:effectLst/>
          </p:spPr>
          <p:txBody>
            <a:bodyPr wrap="square" lIns="45720" tIns="45720" rIns="45720" bIns="4572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304C"/>
                </a:solidFill>
                <a:effectLst/>
                <a:uLnTx/>
                <a:uFillTx/>
                <a:cs typeface="Ubuntu Light"/>
              </a:endParaRPr>
            </a:p>
          </p:txBody>
        </p:sp>
        <p:sp>
          <p:nvSpPr>
            <p:cNvPr id="145" name="Rectangle 144">
              <a:extLst>
                <a:ext uri="{FF2B5EF4-FFF2-40B4-BE49-F238E27FC236}">
                  <a16:creationId xmlns:a16="http://schemas.microsoft.com/office/drawing/2014/main" id="{0CD58021-40C0-46EC-9FEB-00510801A7A3}"/>
                </a:ext>
              </a:extLst>
            </p:cNvPr>
            <p:cNvSpPr/>
            <p:nvPr/>
          </p:nvSpPr>
          <p:spPr>
            <a:xfrm>
              <a:off x="9408000" y="5157000"/>
              <a:ext cx="1872000" cy="1224000"/>
            </a:xfrm>
            <a:prstGeom prst="rect">
              <a:avLst/>
            </a:prstGeom>
            <a:solidFill>
              <a:srgbClr val="FF304C"/>
            </a:solidFill>
            <a:ln w="12700" cap="flat" cmpd="sng" algn="ctr">
              <a:noFill/>
              <a:prstDash val="solid"/>
              <a:miter lim="800000"/>
            </a:ln>
            <a:effectLst/>
          </p:spPr>
          <p:txBody>
            <a:bodyPr lIns="45720" tIns="45720" rIns="45720" bIns="4572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cs typeface="Ubuntu Bold"/>
              </a:endParaRPr>
            </a:p>
          </p:txBody>
        </p:sp>
        <p:sp>
          <p:nvSpPr>
            <p:cNvPr id="163" name="Rectangle 162">
              <a:extLst>
                <a:ext uri="{FF2B5EF4-FFF2-40B4-BE49-F238E27FC236}">
                  <a16:creationId xmlns:a16="http://schemas.microsoft.com/office/drawing/2014/main" id="{B6192933-7764-4291-8C13-8C6855CD6770}"/>
                </a:ext>
              </a:extLst>
            </p:cNvPr>
            <p:cNvSpPr/>
            <p:nvPr/>
          </p:nvSpPr>
          <p:spPr>
            <a:xfrm>
              <a:off x="9408000" y="2709000"/>
              <a:ext cx="1872000" cy="958760"/>
            </a:xfrm>
            <a:prstGeom prst="rect">
              <a:avLst/>
            </a:prstGeom>
            <a:solidFill>
              <a:srgbClr val="FF304C">
                <a:alpha val="10000"/>
              </a:srgbClr>
            </a:solidFill>
            <a:ln w="12700" cap="flat" cmpd="sng" algn="ctr">
              <a:noFill/>
              <a:prstDash val="solid"/>
              <a:miter lim="800000"/>
            </a:ln>
            <a:effectLst/>
          </p:spPr>
          <p:txBody>
            <a:bodyPr lIns="45720" tIns="45720" rIns="45720" rtlCol="0" anchor="t"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304C"/>
                </a:solidFill>
                <a:effectLst/>
                <a:uLnTx/>
                <a:uFillTx/>
                <a:cs typeface="Ubuntu Bold"/>
              </a:endParaRPr>
            </a:p>
          </p:txBody>
        </p:sp>
      </p:grpSp>
      <p:pic>
        <p:nvPicPr>
          <p:cNvPr id="166" name="Picture 165">
            <a:extLst>
              <a:ext uri="{FF2B5EF4-FFF2-40B4-BE49-F238E27FC236}">
                <a16:creationId xmlns:a16="http://schemas.microsoft.com/office/drawing/2014/main" id="{E3593F41-9268-432F-9D0B-ABC3A0341222}"/>
              </a:ext>
            </a:extLst>
          </p:cNvPr>
          <p:cNvPicPr>
            <a:picLocks noChangeAspect="1"/>
          </p:cNvPicPr>
          <p:nvPr userDrawn="1"/>
        </p:nvPicPr>
        <p:blipFill>
          <a:blip r:embed="rId2"/>
          <a:stretch>
            <a:fillRect/>
          </a:stretch>
        </p:blipFill>
        <p:spPr>
          <a:xfrm>
            <a:off x="2922772" y="1032595"/>
            <a:ext cx="1788038" cy="1805065"/>
          </a:xfrm>
          <a:prstGeom prst="rect">
            <a:avLst/>
          </a:prstGeom>
        </p:spPr>
      </p:pic>
      <p:pic>
        <p:nvPicPr>
          <p:cNvPr id="167" name="Picture 166">
            <a:extLst>
              <a:ext uri="{FF2B5EF4-FFF2-40B4-BE49-F238E27FC236}">
                <a16:creationId xmlns:a16="http://schemas.microsoft.com/office/drawing/2014/main" id="{761B0046-1EC2-42A2-9CC2-680CE5760BAD}"/>
              </a:ext>
            </a:extLst>
          </p:cNvPr>
          <p:cNvPicPr>
            <a:picLocks noChangeAspect="1"/>
          </p:cNvPicPr>
          <p:nvPr userDrawn="1"/>
        </p:nvPicPr>
        <p:blipFill>
          <a:blip r:embed="rId3"/>
          <a:stretch>
            <a:fillRect/>
          </a:stretch>
        </p:blipFill>
        <p:spPr>
          <a:xfrm>
            <a:off x="7430523" y="1032595"/>
            <a:ext cx="1785487" cy="1805065"/>
          </a:xfrm>
          <a:prstGeom prst="rect">
            <a:avLst/>
          </a:prstGeom>
        </p:spPr>
      </p:pic>
      <p:pic>
        <p:nvPicPr>
          <p:cNvPr id="175" name="Picture 174">
            <a:extLst>
              <a:ext uri="{FF2B5EF4-FFF2-40B4-BE49-F238E27FC236}">
                <a16:creationId xmlns:a16="http://schemas.microsoft.com/office/drawing/2014/main" id="{6F7277F8-26D9-4F1D-8923-E835F3E5EED7}"/>
              </a:ext>
            </a:extLst>
          </p:cNvPr>
          <p:cNvPicPr>
            <a:picLocks noChangeAspect="1"/>
          </p:cNvPicPr>
          <p:nvPr userDrawn="1"/>
        </p:nvPicPr>
        <p:blipFill>
          <a:blip r:embed="rId4"/>
          <a:stretch>
            <a:fillRect/>
          </a:stretch>
        </p:blipFill>
        <p:spPr>
          <a:xfrm>
            <a:off x="9715021" y="1032595"/>
            <a:ext cx="1788038" cy="1805065"/>
          </a:xfrm>
          <a:prstGeom prst="rect">
            <a:avLst/>
          </a:prstGeom>
        </p:spPr>
      </p:pic>
      <p:pic>
        <p:nvPicPr>
          <p:cNvPr id="176" name="Picture 175">
            <a:extLst>
              <a:ext uri="{FF2B5EF4-FFF2-40B4-BE49-F238E27FC236}">
                <a16:creationId xmlns:a16="http://schemas.microsoft.com/office/drawing/2014/main" id="{EBF5ECBA-3C22-4B14-9922-ABCCA5624AD2}"/>
              </a:ext>
            </a:extLst>
          </p:cNvPr>
          <p:cNvPicPr>
            <a:picLocks noChangeAspect="1"/>
          </p:cNvPicPr>
          <p:nvPr userDrawn="1"/>
        </p:nvPicPr>
        <p:blipFill>
          <a:blip r:embed="rId5"/>
          <a:stretch>
            <a:fillRect/>
          </a:stretch>
        </p:blipFill>
        <p:spPr>
          <a:xfrm>
            <a:off x="5114585" y="1032595"/>
            <a:ext cx="1845812" cy="1866052"/>
          </a:xfrm>
          <a:prstGeom prst="rect">
            <a:avLst/>
          </a:prstGeom>
        </p:spPr>
      </p:pic>
      <p:pic>
        <p:nvPicPr>
          <p:cNvPr id="177" name="Picture 176">
            <a:extLst>
              <a:ext uri="{FF2B5EF4-FFF2-40B4-BE49-F238E27FC236}">
                <a16:creationId xmlns:a16="http://schemas.microsoft.com/office/drawing/2014/main" id="{FA59E0A2-5F40-47BE-BB25-CD1F20D1CA29}"/>
              </a:ext>
            </a:extLst>
          </p:cNvPr>
          <p:cNvPicPr>
            <a:picLocks noChangeAspect="1"/>
          </p:cNvPicPr>
          <p:nvPr userDrawn="1"/>
        </p:nvPicPr>
        <p:blipFill>
          <a:blip r:embed="rId6"/>
          <a:stretch>
            <a:fillRect/>
          </a:stretch>
        </p:blipFill>
        <p:spPr>
          <a:xfrm>
            <a:off x="696968" y="1032595"/>
            <a:ext cx="1781830" cy="1801368"/>
          </a:xfrm>
          <a:prstGeom prst="rect">
            <a:avLst/>
          </a:prstGeom>
        </p:spPr>
      </p:pic>
      <p:sp>
        <p:nvSpPr>
          <p:cNvPr id="178" name="Text Placeholder 3">
            <a:extLst>
              <a:ext uri="{FF2B5EF4-FFF2-40B4-BE49-F238E27FC236}">
                <a16:creationId xmlns:a16="http://schemas.microsoft.com/office/drawing/2014/main" id="{A33790F7-2F2D-47D8-9AAA-461853E11FE0}"/>
              </a:ext>
            </a:extLst>
          </p:cNvPr>
          <p:cNvSpPr>
            <a:spLocks noGrp="1"/>
          </p:cNvSpPr>
          <p:nvPr>
            <p:ph type="body" sz="quarter" idx="10"/>
          </p:nvPr>
        </p:nvSpPr>
        <p:spPr>
          <a:xfrm>
            <a:off x="693213" y="2764296"/>
            <a:ext cx="1792625" cy="817889"/>
          </a:xfrm>
        </p:spPr>
        <p:txBody>
          <a:bodyPr anchor="t" anchorCtr="1">
            <a:normAutofit/>
          </a:bodyPr>
          <a:lstStyle>
            <a:lvl2pPr marL="0" indent="0">
              <a:lnSpc>
                <a:spcPct val="100000"/>
              </a:lnSpc>
              <a:buNone/>
              <a:defRPr lang="en-US" sz="1100" b="1" kern="1200" dirty="0" smtClean="0">
                <a:solidFill>
                  <a:srgbClr val="15636B"/>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79" name="Text Placeholder 3">
            <a:extLst>
              <a:ext uri="{FF2B5EF4-FFF2-40B4-BE49-F238E27FC236}">
                <a16:creationId xmlns:a16="http://schemas.microsoft.com/office/drawing/2014/main" id="{B761465B-1A22-4259-BFE7-18EE459573E3}"/>
              </a:ext>
            </a:extLst>
          </p:cNvPr>
          <p:cNvSpPr>
            <a:spLocks noGrp="1"/>
          </p:cNvSpPr>
          <p:nvPr>
            <p:ph type="body" sz="quarter" idx="11"/>
          </p:nvPr>
        </p:nvSpPr>
        <p:spPr>
          <a:xfrm>
            <a:off x="693213" y="3706976"/>
            <a:ext cx="1792625" cy="1383497"/>
          </a:xfrm>
        </p:spPr>
        <p:txBody>
          <a:bodyPr anchor="t" anchorCtr="1">
            <a:normAutofit/>
          </a:bodyPr>
          <a:lstStyle>
            <a:lvl2pPr marL="0" indent="0">
              <a:lnSpc>
                <a:spcPct val="100000"/>
              </a:lnSpc>
              <a:buNone/>
              <a:defRPr lang="en-US" sz="1100" b="0" kern="1200" dirty="0" smtClean="0">
                <a:solidFill>
                  <a:srgbClr val="15636B"/>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1" name="Text Placeholder 3">
            <a:extLst>
              <a:ext uri="{FF2B5EF4-FFF2-40B4-BE49-F238E27FC236}">
                <a16:creationId xmlns:a16="http://schemas.microsoft.com/office/drawing/2014/main" id="{0E50B36A-9408-44F8-AA98-D74F269F18BC}"/>
              </a:ext>
            </a:extLst>
          </p:cNvPr>
          <p:cNvSpPr>
            <a:spLocks noGrp="1"/>
          </p:cNvSpPr>
          <p:nvPr>
            <p:ph type="body" sz="quarter" idx="12"/>
          </p:nvPr>
        </p:nvSpPr>
        <p:spPr>
          <a:xfrm>
            <a:off x="693213" y="5215265"/>
            <a:ext cx="1792625" cy="1119547"/>
          </a:xfrm>
        </p:spPr>
        <p:txBody>
          <a:bodyPr anchor="t" anchorCtr="1">
            <a:normAutofit/>
          </a:bodyPr>
          <a:lstStyle>
            <a:lvl2pPr marL="0" indent="0">
              <a:lnSpc>
                <a:spcPct val="100000"/>
              </a:lnSpc>
              <a:buNone/>
              <a:defRPr lang="en-US" sz="1200" b="1"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2" name="Text Placeholder 3">
            <a:extLst>
              <a:ext uri="{FF2B5EF4-FFF2-40B4-BE49-F238E27FC236}">
                <a16:creationId xmlns:a16="http://schemas.microsoft.com/office/drawing/2014/main" id="{F94335C3-97D0-47C1-A2BE-7AB654B7D145}"/>
              </a:ext>
            </a:extLst>
          </p:cNvPr>
          <p:cNvSpPr>
            <a:spLocks noGrp="1"/>
          </p:cNvSpPr>
          <p:nvPr>
            <p:ph type="body" sz="quarter" idx="13"/>
          </p:nvPr>
        </p:nvSpPr>
        <p:spPr>
          <a:xfrm>
            <a:off x="2920479" y="2764296"/>
            <a:ext cx="1792625" cy="817889"/>
          </a:xfrm>
        </p:spPr>
        <p:txBody>
          <a:bodyPr anchor="t" anchorCtr="1">
            <a:normAutofit/>
          </a:bodyPr>
          <a:lstStyle>
            <a:lvl2pPr marL="0" indent="0">
              <a:lnSpc>
                <a:spcPct val="100000"/>
              </a:lnSpc>
              <a:buNone/>
              <a:defRPr lang="en-US" sz="1100" b="1" kern="1200" dirty="0" smtClean="0">
                <a:solidFill>
                  <a:srgbClr val="860864"/>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3" name="Text Placeholder 3">
            <a:extLst>
              <a:ext uri="{FF2B5EF4-FFF2-40B4-BE49-F238E27FC236}">
                <a16:creationId xmlns:a16="http://schemas.microsoft.com/office/drawing/2014/main" id="{FF043CC1-2C47-4A67-9686-F1DDBD941CAF}"/>
              </a:ext>
            </a:extLst>
          </p:cNvPr>
          <p:cNvSpPr>
            <a:spLocks noGrp="1"/>
          </p:cNvSpPr>
          <p:nvPr>
            <p:ph type="body" sz="quarter" idx="14"/>
          </p:nvPr>
        </p:nvSpPr>
        <p:spPr>
          <a:xfrm>
            <a:off x="2920479" y="3706976"/>
            <a:ext cx="1792625" cy="1383497"/>
          </a:xfrm>
        </p:spPr>
        <p:txBody>
          <a:bodyPr anchor="t" anchorCtr="1">
            <a:normAutofit/>
          </a:bodyPr>
          <a:lstStyle>
            <a:lvl2pPr marL="0" indent="0">
              <a:lnSpc>
                <a:spcPct val="100000"/>
              </a:lnSpc>
              <a:buNone/>
              <a:defRPr lang="en-US" sz="1100" b="0" kern="1200" dirty="0" smtClean="0">
                <a:solidFill>
                  <a:srgbClr val="860864"/>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4" name="Text Placeholder 3">
            <a:extLst>
              <a:ext uri="{FF2B5EF4-FFF2-40B4-BE49-F238E27FC236}">
                <a16:creationId xmlns:a16="http://schemas.microsoft.com/office/drawing/2014/main" id="{59468AFA-FEA4-4263-91A7-F04352878469}"/>
              </a:ext>
            </a:extLst>
          </p:cNvPr>
          <p:cNvSpPr>
            <a:spLocks noGrp="1"/>
          </p:cNvSpPr>
          <p:nvPr>
            <p:ph type="body" sz="quarter" idx="15"/>
          </p:nvPr>
        </p:nvSpPr>
        <p:spPr>
          <a:xfrm>
            <a:off x="2920479" y="5215265"/>
            <a:ext cx="1792625" cy="1119547"/>
          </a:xfrm>
        </p:spPr>
        <p:txBody>
          <a:bodyPr anchor="t" anchorCtr="1">
            <a:normAutofit/>
          </a:bodyPr>
          <a:lstStyle>
            <a:lvl2pPr marL="0" indent="0">
              <a:lnSpc>
                <a:spcPct val="100000"/>
              </a:lnSpc>
              <a:buNone/>
              <a:defRPr lang="en-US" sz="1200" b="1"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5" name="Text Placeholder 3">
            <a:extLst>
              <a:ext uri="{FF2B5EF4-FFF2-40B4-BE49-F238E27FC236}">
                <a16:creationId xmlns:a16="http://schemas.microsoft.com/office/drawing/2014/main" id="{C967611F-E83E-4814-B348-2983AB5F79A2}"/>
              </a:ext>
            </a:extLst>
          </p:cNvPr>
          <p:cNvSpPr>
            <a:spLocks noGrp="1"/>
          </p:cNvSpPr>
          <p:nvPr>
            <p:ph type="body" sz="quarter" idx="16"/>
          </p:nvPr>
        </p:nvSpPr>
        <p:spPr>
          <a:xfrm>
            <a:off x="5141179" y="2764296"/>
            <a:ext cx="1792625" cy="817889"/>
          </a:xfrm>
        </p:spPr>
        <p:txBody>
          <a:bodyPr anchor="t" anchorCtr="1">
            <a:normAutofit/>
          </a:bodyPr>
          <a:lstStyle>
            <a:lvl2pPr marL="0" indent="0">
              <a:lnSpc>
                <a:spcPct val="100000"/>
              </a:lnSpc>
              <a:buNone/>
              <a:defRPr lang="en-US" sz="1100" b="1" kern="1200" dirty="0" smtClean="0">
                <a:solidFill>
                  <a:srgbClr val="0070AD"/>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6" name="Text Placeholder 3">
            <a:extLst>
              <a:ext uri="{FF2B5EF4-FFF2-40B4-BE49-F238E27FC236}">
                <a16:creationId xmlns:a16="http://schemas.microsoft.com/office/drawing/2014/main" id="{F6DDCA39-CB28-43EE-8DF3-16A57B3226E8}"/>
              </a:ext>
            </a:extLst>
          </p:cNvPr>
          <p:cNvSpPr>
            <a:spLocks noGrp="1"/>
          </p:cNvSpPr>
          <p:nvPr>
            <p:ph type="body" sz="quarter" idx="17"/>
          </p:nvPr>
        </p:nvSpPr>
        <p:spPr>
          <a:xfrm>
            <a:off x="5141179" y="3706976"/>
            <a:ext cx="1792625" cy="1383497"/>
          </a:xfrm>
        </p:spPr>
        <p:txBody>
          <a:bodyPr anchor="t" anchorCtr="1">
            <a:normAutofit/>
          </a:bodyPr>
          <a:lstStyle>
            <a:lvl2pPr marL="0" indent="0">
              <a:lnSpc>
                <a:spcPct val="100000"/>
              </a:lnSpc>
              <a:buNone/>
              <a:defRPr lang="en-US" sz="1100" b="0" kern="1200" dirty="0" smtClean="0">
                <a:solidFill>
                  <a:srgbClr val="0070AD"/>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7" name="Text Placeholder 3">
            <a:extLst>
              <a:ext uri="{FF2B5EF4-FFF2-40B4-BE49-F238E27FC236}">
                <a16:creationId xmlns:a16="http://schemas.microsoft.com/office/drawing/2014/main" id="{2E056AAE-6FBD-47C8-9931-5356781B79A2}"/>
              </a:ext>
            </a:extLst>
          </p:cNvPr>
          <p:cNvSpPr>
            <a:spLocks noGrp="1"/>
          </p:cNvSpPr>
          <p:nvPr>
            <p:ph type="body" sz="quarter" idx="18"/>
          </p:nvPr>
        </p:nvSpPr>
        <p:spPr>
          <a:xfrm>
            <a:off x="5141179" y="5215265"/>
            <a:ext cx="1792625" cy="1119547"/>
          </a:xfrm>
        </p:spPr>
        <p:txBody>
          <a:bodyPr anchor="t" anchorCtr="1">
            <a:normAutofit/>
          </a:bodyPr>
          <a:lstStyle>
            <a:lvl2pPr marL="0" indent="0">
              <a:lnSpc>
                <a:spcPct val="100000"/>
              </a:lnSpc>
              <a:buNone/>
              <a:defRPr lang="en-US" sz="1200" b="1"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8" name="Text Placeholder 3">
            <a:extLst>
              <a:ext uri="{FF2B5EF4-FFF2-40B4-BE49-F238E27FC236}">
                <a16:creationId xmlns:a16="http://schemas.microsoft.com/office/drawing/2014/main" id="{5329DE8D-439E-4230-9129-DCA543D842AD}"/>
              </a:ext>
            </a:extLst>
          </p:cNvPr>
          <p:cNvSpPr>
            <a:spLocks noGrp="1"/>
          </p:cNvSpPr>
          <p:nvPr>
            <p:ph type="body" sz="quarter" idx="19"/>
          </p:nvPr>
        </p:nvSpPr>
        <p:spPr>
          <a:xfrm>
            <a:off x="7426954" y="2764296"/>
            <a:ext cx="1792625" cy="817889"/>
          </a:xfrm>
        </p:spPr>
        <p:txBody>
          <a:bodyPr anchor="t" anchorCtr="1">
            <a:normAutofit/>
          </a:bodyPr>
          <a:lstStyle>
            <a:lvl2pPr marL="0" indent="0">
              <a:lnSpc>
                <a:spcPct val="100000"/>
              </a:lnSpc>
              <a:buNone/>
              <a:defRPr lang="en-US" sz="1100" b="1" kern="1200" dirty="0" smtClean="0">
                <a:solidFill>
                  <a:srgbClr val="4701A7"/>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89" name="Text Placeholder 3">
            <a:extLst>
              <a:ext uri="{FF2B5EF4-FFF2-40B4-BE49-F238E27FC236}">
                <a16:creationId xmlns:a16="http://schemas.microsoft.com/office/drawing/2014/main" id="{F522459E-E81D-4A3E-9FB0-190C8629E627}"/>
              </a:ext>
            </a:extLst>
          </p:cNvPr>
          <p:cNvSpPr>
            <a:spLocks noGrp="1"/>
          </p:cNvSpPr>
          <p:nvPr>
            <p:ph type="body" sz="quarter" idx="20"/>
          </p:nvPr>
        </p:nvSpPr>
        <p:spPr>
          <a:xfrm>
            <a:off x="7426954" y="3706976"/>
            <a:ext cx="1792625" cy="1383497"/>
          </a:xfrm>
        </p:spPr>
        <p:txBody>
          <a:bodyPr anchor="t" anchorCtr="1">
            <a:normAutofit/>
          </a:bodyPr>
          <a:lstStyle>
            <a:lvl2pPr marL="0" indent="0">
              <a:lnSpc>
                <a:spcPct val="100000"/>
              </a:lnSpc>
              <a:buNone/>
              <a:defRPr lang="en-US" sz="1100" b="0" kern="1200" dirty="0" smtClean="0">
                <a:solidFill>
                  <a:srgbClr val="4701A7"/>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90" name="Text Placeholder 3">
            <a:extLst>
              <a:ext uri="{FF2B5EF4-FFF2-40B4-BE49-F238E27FC236}">
                <a16:creationId xmlns:a16="http://schemas.microsoft.com/office/drawing/2014/main" id="{23015C16-F361-4626-BB51-1138DE76B269}"/>
              </a:ext>
            </a:extLst>
          </p:cNvPr>
          <p:cNvSpPr>
            <a:spLocks noGrp="1"/>
          </p:cNvSpPr>
          <p:nvPr>
            <p:ph type="body" sz="quarter" idx="21"/>
          </p:nvPr>
        </p:nvSpPr>
        <p:spPr>
          <a:xfrm>
            <a:off x="7426954" y="5215265"/>
            <a:ext cx="1792625" cy="1119547"/>
          </a:xfrm>
        </p:spPr>
        <p:txBody>
          <a:bodyPr anchor="t" anchorCtr="1">
            <a:normAutofit/>
          </a:bodyPr>
          <a:lstStyle>
            <a:lvl2pPr marL="0" indent="0">
              <a:lnSpc>
                <a:spcPct val="100000"/>
              </a:lnSpc>
              <a:buNone/>
              <a:defRPr lang="en-US" sz="1200" b="1"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91" name="Text Placeholder 3">
            <a:extLst>
              <a:ext uri="{FF2B5EF4-FFF2-40B4-BE49-F238E27FC236}">
                <a16:creationId xmlns:a16="http://schemas.microsoft.com/office/drawing/2014/main" id="{DC7D6C13-3C55-49F6-9C4D-3E3A49AFF581}"/>
              </a:ext>
            </a:extLst>
          </p:cNvPr>
          <p:cNvSpPr>
            <a:spLocks noGrp="1"/>
          </p:cNvSpPr>
          <p:nvPr>
            <p:ph type="body" sz="quarter" idx="22"/>
          </p:nvPr>
        </p:nvSpPr>
        <p:spPr>
          <a:xfrm>
            <a:off x="9712728" y="2764296"/>
            <a:ext cx="1792625" cy="817889"/>
          </a:xfrm>
        </p:spPr>
        <p:txBody>
          <a:bodyPr anchor="t" anchorCtr="1">
            <a:normAutofit/>
          </a:bodyPr>
          <a:lstStyle>
            <a:lvl2pPr marL="0" indent="0">
              <a:lnSpc>
                <a:spcPct val="100000"/>
              </a:lnSpc>
              <a:buNone/>
              <a:defRPr lang="en-US" sz="1100" b="1" kern="1200" dirty="0" smtClean="0">
                <a:solidFill>
                  <a:srgbClr val="FF304C"/>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92" name="Text Placeholder 3">
            <a:extLst>
              <a:ext uri="{FF2B5EF4-FFF2-40B4-BE49-F238E27FC236}">
                <a16:creationId xmlns:a16="http://schemas.microsoft.com/office/drawing/2014/main" id="{7811B60E-FBF8-4CD1-95F4-06B19FFB95DE}"/>
              </a:ext>
            </a:extLst>
          </p:cNvPr>
          <p:cNvSpPr>
            <a:spLocks noGrp="1"/>
          </p:cNvSpPr>
          <p:nvPr>
            <p:ph type="body" sz="quarter" idx="23"/>
          </p:nvPr>
        </p:nvSpPr>
        <p:spPr>
          <a:xfrm>
            <a:off x="9712728" y="3706976"/>
            <a:ext cx="1792625" cy="1383497"/>
          </a:xfrm>
        </p:spPr>
        <p:txBody>
          <a:bodyPr anchor="t" anchorCtr="1">
            <a:normAutofit/>
          </a:bodyPr>
          <a:lstStyle>
            <a:lvl2pPr marL="0" indent="0">
              <a:lnSpc>
                <a:spcPct val="100000"/>
              </a:lnSpc>
              <a:buNone/>
              <a:defRPr lang="en-US" sz="1100" b="0" kern="1200" dirty="0" smtClean="0">
                <a:solidFill>
                  <a:srgbClr val="FF304C"/>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
        <p:nvSpPr>
          <p:cNvPr id="193" name="Text Placeholder 3">
            <a:extLst>
              <a:ext uri="{FF2B5EF4-FFF2-40B4-BE49-F238E27FC236}">
                <a16:creationId xmlns:a16="http://schemas.microsoft.com/office/drawing/2014/main" id="{0007644F-7E7D-42B0-B777-B13A70E7E168}"/>
              </a:ext>
            </a:extLst>
          </p:cNvPr>
          <p:cNvSpPr>
            <a:spLocks noGrp="1"/>
          </p:cNvSpPr>
          <p:nvPr>
            <p:ph type="body" sz="quarter" idx="24"/>
          </p:nvPr>
        </p:nvSpPr>
        <p:spPr>
          <a:xfrm>
            <a:off x="9712728" y="5215265"/>
            <a:ext cx="1792625" cy="1119547"/>
          </a:xfrm>
        </p:spPr>
        <p:txBody>
          <a:bodyPr anchor="t" anchorCtr="1">
            <a:normAutofit/>
          </a:bodyPr>
          <a:lstStyle>
            <a:lvl2pPr marL="0" indent="0">
              <a:lnSpc>
                <a:spcPct val="100000"/>
              </a:lnSpc>
              <a:buNone/>
              <a:defRPr lang="en-US" sz="1200" b="1" kern="1200" dirty="0" smtClean="0">
                <a:solidFill>
                  <a:schemeClr val="bg1"/>
                </a:solidFill>
                <a:latin typeface="+mj-lt"/>
                <a:ea typeface="+mn-ea"/>
                <a:cs typeface="Ubuntu Bold"/>
              </a:defRPr>
            </a:lvl2pPr>
          </a:lstStyle>
          <a:p>
            <a:pPr marL="0" lvl="1" algn="ctr" defTabSz="711200" rtl="0" eaLnBrk="1" latinLnBrk="0" hangingPunct="1">
              <a:spcBef>
                <a:spcPct val="0"/>
              </a:spcBef>
              <a:spcAft>
                <a:spcPct val="15000"/>
              </a:spcAft>
            </a:pPr>
            <a:endParaRPr lang="en-US" dirty="0"/>
          </a:p>
        </p:txBody>
      </p:sp>
    </p:spTree>
    <p:extLst>
      <p:ext uri="{BB962C8B-B14F-4D97-AF65-F5344CB8AC3E}">
        <p14:creationId xmlns:p14="http://schemas.microsoft.com/office/powerpoint/2010/main" val="36141561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53" name="Rectangle 18">
            <a:extLst>
              <a:ext uri="{FF2B5EF4-FFF2-40B4-BE49-F238E27FC236}">
                <a16:creationId xmlns:a16="http://schemas.microsoft.com/office/drawing/2014/main" id="{227D52D4-2688-4A4D-9277-0AA150DFD938}"/>
              </a:ext>
            </a:extLst>
          </p:cNvPr>
          <p:cNvSpPr/>
          <p:nvPr userDrawn="1"/>
        </p:nvSpPr>
        <p:spPr>
          <a:xfrm>
            <a:off x="641866" y="3421048"/>
            <a:ext cx="2493099" cy="743853"/>
          </a:xfrm>
          <a:prstGeom prst="rect">
            <a:avLst/>
          </a:prstGeom>
          <a:solidFill>
            <a:srgbClr val="0E646B">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4" name="Rectangle 53">
            <a:extLst>
              <a:ext uri="{FF2B5EF4-FFF2-40B4-BE49-F238E27FC236}">
                <a16:creationId xmlns:a16="http://schemas.microsoft.com/office/drawing/2014/main" id="{5E4BAD48-50BC-475A-97CC-F91E5B5F8DFB}"/>
              </a:ext>
            </a:extLst>
          </p:cNvPr>
          <p:cNvSpPr/>
          <p:nvPr userDrawn="1"/>
        </p:nvSpPr>
        <p:spPr>
          <a:xfrm>
            <a:off x="641866" y="2651775"/>
            <a:ext cx="2493099" cy="768749"/>
          </a:xfrm>
          <a:prstGeom prst="rect">
            <a:avLst/>
          </a:prstGeom>
          <a:solidFill>
            <a:srgbClr val="0E646B">
              <a:alpha val="10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100" b="0" i="0" u="none" strike="noStrike" kern="0" cap="none" spc="0" normalizeH="0" baseline="0" noProof="0" dirty="0">
              <a:ln>
                <a:noFill/>
              </a:ln>
              <a:solidFill>
                <a:srgbClr val="15636B"/>
              </a:solidFill>
              <a:effectLst/>
              <a:uLnTx/>
              <a:uFillTx/>
              <a:latin typeface="Verdana"/>
              <a:ea typeface="+mn-ea"/>
              <a:cs typeface="+mn-cs"/>
            </a:endParaRPr>
          </a:p>
        </p:txBody>
      </p:sp>
      <p:sp>
        <p:nvSpPr>
          <p:cNvPr id="55" name="Rectangle 54">
            <a:extLst>
              <a:ext uri="{FF2B5EF4-FFF2-40B4-BE49-F238E27FC236}">
                <a16:creationId xmlns:a16="http://schemas.microsoft.com/office/drawing/2014/main" id="{1C29565A-D271-4BDD-947B-985B27DF687B}"/>
              </a:ext>
            </a:extLst>
          </p:cNvPr>
          <p:cNvSpPr/>
          <p:nvPr userDrawn="1"/>
        </p:nvSpPr>
        <p:spPr>
          <a:xfrm>
            <a:off x="641866" y="4165425"/>
            <a:ext cx="2493099" cy="668051"/>
          </a:xfrm>
          <a:prstGeom prst="rect">
            <a:avLst/>
          </a:prstGeom>
          <a:solidFill>
            <a:srgbClr val="0E646B">
              <a:alpha val="50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9E3DE42F-62EB-4C1E-91F3-C2E0DF930D19}"/>
              </a:ext>
            </a:extLst>
          </p:cNvPr>
          <p:cNvSpPr/>
          <p:nvPr userDrawn="1"/>
        </p:nvSpPr>
        <p:spPr>
          <a:xfrm>
            <a:off x="641866" y="4834001"/>
            <a:ext cx="2493099" cy="668051"/>
          </a:xfrm>
          <a:prstGeom prst="rect">
            <a:avLst/>
          </a:prstGeom>
          <a:solidFill>
            <a:srgbClr val="0E646B">
              <a:alpha val="69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1C7C294D-A75C-42EA-A120-EC2EC5AC4A1C}"/>
              </a:ext>
            </a:extLst>
          </p:cNvPr>
          <p:cNvSpPr/>
          <p:nvPr userDrawn="1"/>
        </p:nvSpPr>
        <p:spPr>
          <a:xfrm>
            <a:off x="629744" y="1880888"/>
            <a:ext cx="2505221" cy="768749"/>
          </a:xfrm>
          <a:prstGeom prst="rect">
            <a:avLst/>
          </a:prstGeom>
          <a:solidFill>
            <a:srgbClr val="0E646B">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D991D24A-F216-46A0-A2CE-0F89D7D18464}"/>
              </a:ext>
            </a:extLst>
          </p:cNvPr>
          <p:cNvSpPr/>
          <p:nvPr userDrawn="1"/>
        </p:nvSpPr>
        <p:spPr>
          <a:xfrm>
            <a:off x="641866" y="5502052"/>
            <a:ext cx="2493099" cy="668051"/>
          </a:xfrm>
          <a:prstGeom prst="rect">
            <a:avLst/>
          </a:prstGeom>
          <a:solidFill>
            <a:srgbClr val="15636B"/>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65" name="Rectangle 64">
            <a:extLst>
              <a:ext uri="{FF2B5EF4-FFF2-40B4-BE49-F238E27FC236}">
                <a16:creationId xmlns:a16="http://schemas.microsoft.com/office/drawing/2014/main" id="{4B63578B-7E9B-43D0-8B72-8D6E4607CD55}"/>
              </a:ext>
            </a:extLst>
          </p:cNvPr>
          <p:cNvSpPr/>
          <p:nvPr userDrawn="1"/>
        </p:nvSpPr>
        <p:spPr>
          <a:xfrm>
            <a:off x="9233747" y="5521226"/>
            <a:ext cx="2339812" cy="492443"/>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r>
              <a:rPr kumimoji="0" lang="en-US" sz="1600" b="1" i="0" u="none" strike="noStrike" kern="0" cap="none" spc="0" normalizeH="0" baseline="0" noProof="0" dirty="0">
                <a:ln>
                  <a:noFill/>
                </a:ln>
                <a:solidFill>
                  <a:srgbClr val="26646B"/>
                </a:solidFill>
                <a:effectLst/>
                <a:uLnTx/>
                <a:uFillTx/>
                <a:latin typeface="Verdana"/>
                <a:ea typeface="+mn-ea"/>
                <a:cs typeface="+mn-cs"/>
              </a:rPr>
              <a:t>Connected Journey Analytics </a:t>
            </a:r>
          </a:p>
        </p:txBody>
      </p:sp>
      <p:sp>
        <p:nvSpPr>
          <p:cNvPr id="66" name="Rectangle 18">
            <a:extLst>
              <a:ext uri="{FF2B5EF4-FFF2-40B4-BE49-F238E27FC236}">
                <a16:creationId xmlns:a16="http://schemas.microsoft.com/office/drawing/2014/main" id="{66C2FD2F-846A-40AC-B414-E50458104778}"/>
              </a:ext>
            </a:extLst>
          </p:cNvPr>
          <p:cNvSpPr/>
          <p:nvPr userDrawn="1"/>
        </p:nvSpPr>
        <p:spPr>
          <a:xfrm>
            <a:off x="9184328" y="3983268"/>
            <a:ext cx="2493099" cy="743853"/>
          </a:xfrm>
          <a:prstGeom prst="rect">
            <a:avLst/>
          </a:prstGeom>
          <a:solidFill>
            <a:srgbClr val="0E646B">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66839680-03E1-4BE0-A539-087A878CDFC0}"/>
              </a:ext>
            </a:extLst>
          </p:cNvPr>
          <p:cNvSpPr/>
          <p:nvPr userDrawn="1"/>
        </p:nvSpPr>
        <p:spPr>
          <a:xfrm>
            <a:off x="9184328" y="2543435"/>
            <a:ext cx="2493099" cy="1439309"/>
          </a:xfrm>
          <a:prstGeom prst="rect">
            <a:avLst/>
          </a:prstGeom>
          <a:solidFill>
            <a:srgbClr val="0E646B">
              <a:alpha val="10000"/>
            </a:srgbClr>
          </a:solidFill>
          <a:ln w="12700" cap="flat" cmpd="sng" algn="ctr">
            <a:noFill/>
            <a:prstDash val="solid"/>
            <a:miter lim="800000"/>
          </a:ln>
          <a:effectLst/>
        </p:spPr>
        <p:txBody>
          <a:bodyPr lIns="144000" tIns="108000" rIns="144000" rtlCol="0" anchor="t"/>
          <a:lstStyle/>
          <a:p>
            <a:pPr marL="0" marR="0" lvl="0" indent="0" defTabSz="933823" eaLnBrk="1" fontAlgn="auto" latinLnBrk="0" hangingPunct="1">
              <a:lnSpc>
                <a:spcPct val="100000"/>
              </a:lnSpc>
              <a:spcBef>
                <a:spcPts val="0"/>
              </a:spcBef>
              <a:spcAft>
                <a:spcPts val="300"/>
              </a:spcAft>
              <a:buClr>
                <a:srgbClr val="15636B"/>
              </a:buClr>
              <a:buSzTx/>
              <a:buFontTx/>
              <a:buNone/>
              <a:tabLst/>
              <a:defRPr/>
            </a:pPr>
            <a:endParaRPr kumimoji="0" lang="en-US" sz="1400" b="0" i="0" u="none" strike="noStrike" kern="0" cap="none" spc="0" normalizeH="0" baseline="0" noProof="0" dirty="0">
              <a:ln>
                <a:noFill/>
              </a:ln>
              <a:solidFill>
                <a:srgbClr val="15636B"/>
              </a:solidFill>
              <a:effectLst/>
              <a:uLnTx/>
              <a:uFillTx/>
              <a:latin typeface="Verdana"/>
              <a:ea typeface="+mn-ea"/>
              <a:cs typeface="+mn-cs"/>
            </a:endParaRPr>
          </a:p>
        </p:txBody>
      </p:sp>
      <p:sp>
        <p:nvSpPr>
          <p:cNvPr id="68" name="Rectangle 67">
            <a:extLst>
              <a:ext uri="{FF2B5EF4-FFF2-40B4-BE49-F238E27FC236}">
                <a16:creationId xmlns:a16="http://schemas.microsoft.com/office/drawing/2014/main" id="{49EDD397-5265-4628-A0D0-ECEA8651E9BD}"/>
              </a:ext>
            </a:extLst>
          </p:cNvPr>
          <p:cNvSpPr/>
          <p:nvPr userDrawn="1"/>
        </p:nvSpPr>
        <p:spPr>
          <a:xfrm>
            <a:off x="9184328" y="4727645"/>
            <a:ext cx="2493099" cy="668051"/>
          </a:xfrm>
          <a:prstGeom prst="rect">
            <a:avLst/>
          </a:prstGeom>
          <a:solidFill>
            <a:srgbClr val="0E646B">
              <a:alpha val="50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69" name="Rectangle 68">
            <a:extLst>
              <a:ext uri="{FF2B5EF4-FFF2-40B4-BE49-F238E27FC236}">
                <a16:creationId xmlns:a16="http://schemas.microsoft.com/office/drawing/2014/main" id="{0D00013D-CA19-46F5-959A-1E92C218FB6C}"/>
              </a:ext>
            </a:extLst>
          </p:cNvPr>
          <p:cNvSpPr/>
          <p:nvPr userDrawn="1"/>
        </p:nvSpPr>
        <p:spPr>
          <a:xfrm>
            <a:off x="9172206" y="1772548"/>
            <a:ext cx="2493099" cy="768749"/>
          </a:xfrm>
          <a:prstGeom prst="rect">
            <a:avLst/>
          </a:prstGeom>
          <a:solidFill>
            <a:srgbClr val="0E646B">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F09E8B3B-4DED-45FE-8152-3280082023C6}"/>
              </a:ext>
            </a:extLst>
          </p:cNvPr>
          <p:cNvSpPr/>
          <p:nvPr userDrawn="1"/>
        </p:nvSpPr>
        <p:spPr>
          <a:xfrm>
            <a:off x="9184328" y="5393712"/>
            <a:ext cx="2493099" cy="668051"/>
          </a:xfrm>
          <a:prstGeom prst="rect">
            <a:avLst/>
          </a:prstGeom>
          <a:solidFill>
            <a:srgbClr val="15636B"/>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grpSp>
        <p:nvGrpSpPr>
          <p:cNvPr id="72" name="Group 71">
            <a:extLst>
              <a:ext uri="{FF2B5EF4-FFF2-40B4-BE49-F238E27FC236}">
                <a16:creationId xmlns:a16="http://schemas.microsoft.com/office/drawing/2014/main" id="{B0F6E38A-94F5-4965-9865-88F05B1DB2D9}"/>
              </a:ext>
            </a:extLst>
          </p:cNvPr>
          <p:cNvGrpSpPr/>
          <p:nvPr userDrawn="1"/>
        </p:nvGrpSpPr>
        <p:grpSpPr>
          <a:xfrm>
            <a:off x="3521705" y="1609085"/>
            <a:ext cx="5148591" cy="5148072"/>
            <a:chOff x="3485478" y="1609085"/>
            <a:chExt cx="5148591" cy="5148072"/>
          </a:xfrm>
        </p:grpSpPr>
        <p:grpSp>
          <p:nvGrpSpPr>
            <p:cNvPr id="73" name="Group 72">
              <a:extLst>
                <a:ext uri="{FF2B5EF4-FFF2-40B4-BE49-F238E27FC236}">
                  <a16:creationId xmlns:a16="http://schemas.microsoft.com/office/drawing/2014/main" id="{0AAE9BC2-805E-4015-8257-1FB1B263F821}"/>
                </a:ext>
              </a:extLst>
            </p:cNvPr>
            <p:cNvGrpSpPr/>
            <p:nvPr/>
          </p:nvGrpSpPr>
          <p:grpSpPr>
            <a:xfrm>
              <a:off x="3924636" y="1943770"/>
              <a:ext cx="4342729" cy="4342729"/>
              <a:chOff x="3714749" y="1415886"/>
              <a:chExt cx="4870613" cy="4870613"/>
            </a:xfrm>
          </p:grpSpPr>
          <p:sp>
            <p:nvSpPr>
              <p:cNvPr id="108" name="Block Arc 107">
                <a:extLst>
                  <a:ext uri="{FF2B5EF4-FFF2-40B4-BE49-F238E27FC236}">
                    <a16:creationId xmlns:a16="http://schemas.microsoft.com/office/drawing/2014/main" id="{0FB7DD25-C0E9-4396-A9B5-EAE4649F867D}"/>
                  </a:ext>
                </a:extLst>
              </p:cNvPr>
              <p:cNvSpPr/>
              <p:nvPr/>
            </p:nvSpPr>
            <p:spPr>
              <a:xfrm rot="1314213">
                <a:off x="3714749" y="1415886"/>
                <a:ext cx="4870613" cy="4870613"/>
              </a:xfrm>
              <a:prstGeom prst="blockArc">
                <a:avLst>
                  <a:gd name="adj1" fmla="val 6704137"/>
                  <a:gd name="adj2" fmla="val 164332"/>
                  <a:gd name="adj3" fmla="val 7939"/>
                </a:avLst>
              </a:prstGeom>
              <a:solidFill>
                <a:srgbClr val="01D1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109" name="Block Arc 108">
                <a:extLst>
                  <a:ext uri="{FF2B5EF4-FFF2-40B4-BE49-F238E27FC236}">
                    <a16:creationId xmlns:a16="http://schemas.microsoft.com/office/drawing/2014/main" id="{44DA6880-8720-4E52-91F0-8FD898D118D0}"/>
                  </a:ext>
                </a:extLst>
              </p:cNvPr>
              <p:cNvSpPr/>
              <p:nvPr/>
            </p:nvSpPr>
            <p:spPr>
              <a:xfrm rot="18853342" flipV="1">
                <a:off x="4080407" y="1788419"/>
                <a:ext cx="4116662" cy="4116662"/>
              </a:xfrm>
              <a:prstGeom prst="blockArc">
                <a:avLst>
                  <a:gd name="adj1" fmla="val 7189031"/>
                  <a:gd name="adj2" fmla="val 148839"/>
                  <a:gd name="adj3" fmla="val 6914"/>
                </a:avLst>
              </a:prstGeom>
              <a:solidFill>
                <a:srgbClr val="0F999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110" name="Block Arc 109">
                <a:extLst>
                  <a:ext uri="{FF2B5EF4-FFF2-40B4-BE49-F238E27FC236}">
                    <a16:creationId xmlns:a16="http://schemas.microsoft.com/office/drawing/2014/main" id="{A054DE59-D638-4601-8F52-166F4727B1B4}"/>
                  </a:ext>
                </a:extLst>
              </p:cNvPr>
              <p:cNvSpPr/>
              <p:nvPr/>
            </p:nvSpPr>
            <p:spPr>
              <a:xfrm rot="2264297">
                <a:off x="4350251" y="2041589"/>
                <a:ext cx="3567735" cy="3567735"/>
              </a:xfrm>
              <a:prstGeom prst="blockArc">
                <a:avLst>
                  <a:gd name="adj1" fmla="val 7433288"/>
                  <a:gd name="adj2" fmla="val 21413901"/>
                  <a:gd name="adj3" fmla="val 12549"/>
                </a:avLst>
              </a:prstGeom>
              <a:solidFill>
                <a:srgbClr val="01D1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Ubuntu Bold" panose="020B0804030602030204" pitchFamily="34" charset="0"/>
                  <a:ea typeface="+mn-ea"/>
                  <a:cs typeface="+mn-cs"/>
                </a:endParaRPr>
              </a:p>
            </p:txBody>
          </p:sp>
          <p:sp>
            <p:nvSpPr>
              <p:cNvPr id="111" name="Oval 110">
                <a:extLst>
                  <a:ext uri="{FF2B5EF4-FFF2-40B4-BE49-F238E27FC236}">
                    <a16:creationId xmlns:a16="http://schemas.microsoft.com/office/drawing/2014/main" id="{CD3BC20C-DE52-4C59-A93D-838972195EB8}"/>
                  </a:ext>
                </a:extLst>
              </p:cNvPr>
              <p:cNvSpPr/>
              <p:nvPr/>
            </p:nvSpPr>
            <p:spPr>
              <a:xfrm>
                <a:off x="4993477" y="2694614"/>
                <a:ext cx="2313156" cy="2313156"/>
              </a:xfrm>
              <a:prstGeom prst="ellipse">
                <a:avLst/>
              </a:prstGeom>
              <a:solidFill>
                <a:srgbClr val="2B0A3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Ubuntu Bold" panose="020B0804030602030204" pitchFamily="34" charset="0"/>
                  <a:ea typeface="+mn-ea"/>
                  <a:cs typeface="+mn-cs"/>
                </a:endParaRPr>
              </a:p>
            </p:txBody>
          </p:sp>
        </p:grpSp>
        <p:sp>
          <p:nvSpPr>
            <p:cNvPr id="74" name="Rectangle 73">
              <a:extLst>
                <a:ext uri="{FF2B5EF4-FFF2-40B4-BE49-F238E27FC236}">
                  <a16:creationId xmlns:a16="http://schemas.microsoft.com/office/drawing/2014/main" id="{ADE9F383-9869-472C-A4F1-B3A4902B91F3}"/>
                </a:ext>
              </a:extLst>
            </p:cNvPr>
            <p:cNvSpPr/>
            <p:nvPr/>
          </p:nvSpPr>
          <p:spPr>
            <a:xfrm rot="5400000">
              <a:off x="3485738" y="1608825"/>
              <a:ext cx="5148072" cy="5148591"/>
            </a:xfrm>
            <a:prstGeom prst="rect">
              <a:avLst/>
            </a:prstGeom>
            <a:noFill/>
          </p:spPr>
          <p:txBody>
            <a:bodyPr wrap="none" lIns="0" tIns="0" rIns="0" bIns="0" anchor="t" anchorCtr="0">
              <a:prstTxWarp prst="textCircle">
                <a:avLst>
                  <a:gd name="adj" fmla="val 567034"/>
                </a:avLst>
              </a:prstTxWarp>
              <a:spAutoFit/>
            </a:bodyPr>
            <a:lstStyle/>
            <a:p>
              <a:pPr algn="ctr"/>
              <a:r>
                <a:rPr lang="en-GB" sz="2800" b="1" dirty="0">
                  <a:solidFill>
                    <a:srgbClr val="15636B"/>
                  </a:solidFill>
                  <a:latin typeface="+mj-lt"/>
                  <a:cs typeface="Ubuntu Bold"/>
                </a:rPr>
                <a:t>Insights from </a:t>
              </a:r>
              <a:r>
                <a:rPr lang="en-GB" sz="2800" b="1" dirty="0" err="1">
                  <a:solidFill>
                    <a:srgbClr val="15636B"/>
                  </a:solidFill>
                  <a:latin typeface="+mj-lt"/>
                  <a:cs typeface="Ubuntu Bold"/>
                </a:rPr>
                <a:t>Catalog</a:t>
              </a:r>
              <a:endParaRPr lang="en-GB" sz="2800" b="1" dirty="0">
                <a:solidFill>
                  <a:srgbClr val="15636B"/>
                </a:solidFill>
                <a:latin typeface="+mj-lt"/>
                <a:cs typeface="Ubuntu Bold"/>
              </a:endParaRPr>
            </a:p>
          </p:txBody>
        </p:sp>
        <p:grpSp>
          <p:nvGrpSpPr>
            <p:cNvPr id="75" name="Group 74">
              <a:extLst>
                <a:ext uri="{FF2B5EF4-FFF2-40B4-BE49-F238E27FC236}">
                  <a16:creationId xmlns:a16="http://schemas.microsoft.com/office/drawing/2014/main" id="{1B39E47E-5751-4EA4-A375-58B152744D34}"/>
                </a:ext>
              </a:extLst>
            </p:cNvPr>
            <p:cNvGrpSpPr/>
            <p:nvPr/>
          </p:nvGrpSpPr>
          <p:grpSpPr>
            <a:xfrm>
              <a:off x="5257853" y="3349893"/>
              <a:ext cx="1676295" cy="1530482"/>
              <a:chOff x="5362426" y="3116580"/>
              <a:chExt cx="1609874" cy="1469839"/>
            </a:xfrm>
          </p:grpSpPr>
          <p:grpSp>
            <p:nvGrpSpPr>
              <p:cNvPr id="76" name="Group 75">
                <a:extLst>
                  <a:ext uri="{FF2B5EF4-FFF2-40B4-BE49-F238E27FC236}">
                    <a16:creationId xmlns:a16="http://schemas.microsoft.com/office/drawing/2014/main" id="{E13BA90E-3D46-430C-9591-9697A99E0551}"/>
                  </a:ext>
                </a:extLst>
              </p:cNvPr>
              <p:cNvGrpSpPr/>
              <p:nvPr/>
            </p:nvGrpSpPr>
            <p:grpSpPr>
              <a:xfrm>
                <a:off x="5362426" y="3116580"/>
                <a:ext cx="1609874" cy="1469839"/>
                <a:chOff x="5362426" y="3116580"/>
                <a:chExt cx="1609874" cy="1469839"/>
              </a:xfrm>
            </p:grpSpPr>
            <p:grpSp>
              <p:nvGrpSpPr>
                <p:cNvPr id="80" name="Group 79">
                  <a:extLst>
                    <a:ext uri="{FF2B5EF4-FFF2-40B4-BE49-F238E27FC236}">
                      <a16:creationId xmlns:a16="http://schemas.microsoft.com/office/drawing/2014/main" id="{FAE237E6-D569-4276-AD1A-3593BE690ABE}"/>
                    </a:ext>
                  </a:extLst>
                </p:cNvPr>
                <p:cNvGrpSpPr/>
                <p:nvPr/>
              </p:nvGrpSpPr>
              <p:grpSpPr>
                <a:xfrm>
                  <a:off x="5657002" y="3116580"/>
                  <a:ext cx="320263" cy="623982"/>
                  <a:chOff x="2643291" y="1155477"/>
                  <a:chExt cx="1966913" cy="3832226"/>
                </a:xfrm>
              </p:grpSpPr>
              <p:sp>
                <p:nvSpPr>
                  <p:cNvPr id="104" name="Freeform 8">
                    <a:extLst>
                      <a:ext uri="{FF2B5EF4-FFF2-40B4-BE49-F238E27FC236}">
                        <a16:creationId xmlns:a16="http://schemas.microsoft.com/office/drawing/2014/main" id="{5974CCB0-76E8-42DB-9A10-936D9BAC54C0}"/>
                      </a:ext>
                    </a:extLst>
                  </p:cNvPr>
                  <p:cNvSpPr>
                    <a:spLocks/>
                  </p:cNvSpPr>
                  <p:nvPr/>
                </p:nvSpPr>
                <p:spPr bwMode="auto">
                  <a:xfrm>
                    <a:off x="2643291" y="1955578"/>
                    <a:ext cx="1966913" cy="2232025"/>
                  </a:xfrm>
                  <a:custGeom>
                    <a:avLst/>
                    <a:gdLst>
                      <a:gd name="T0" fmla="*/ 1494 w 1630"/>
                      <a:gd name="T1" fmla="*/ 0 h 1901"/>
                      <a:gd name="T2" fmla="*/ 136 w 1630"/>
                      <a:gd name="T3" fmla="*/ 0 h 1901"/>
                      <a:gd name="T4" fmla="*/ 0 w 1630"/>
                      <a:gd name="T5" fmla="*/ 136 h 1901"/>
                      <a:gd name="T6" fmla="*/ 0 w 1630"/>
                      <a:gd name="T7" fmla="*/ 1765 h 1901"/>
                      <a:gd name="T8" fmla="*/ 136 w 1630"/>
                      <a:gd name="T9" fmla="*/ 1901 h 1901"/>
                      <a:gd name="T10" fmla="*/ 1494 w 1630"/>
                      <a:gd name="T11" fmla="*/ 1901 h 1901"/>
                      <a:gd name="T12" fmla="*/ 1630 w 1630"/>
                      <a:gd name="T13" fmla="*/ 1765 h 1901"/>
                      <a:gd name="T14" fmla="*/ 1630 w 1630"/>
                      <a:gd name="T15" fmla="*/ 136 h 1901"/>
                      <a:gd name="T16" fmla="*/ 1494 w 1630"/>
                      <a:gd name="T17" fmla="*/ 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0" h="1901">
                        <a:moveTo>
                          <a:pt x="1494" y="0"/>
                        </a:moveTo>
                        <a:cubicBezTo>
                          <a:pt x="136" y="0"/>
                          <a:pt x="136" y="0"/>
                          <a:pt x="136" y="0"/>
                        </a:cubicBezTo>
                        <a:cubicBezTo>
                          <a:pt x="61" y="0"/>
                          <a:pt x="0" y="61"/>
                          <a:pt x="0" y="136"/>
                        </a:cubicBezTo>
                        <a:cubicBezTo>
                          <a:pt x="0" y="1765"/>
                          <a:pt x="0" y="1765"/>
                          <a:pt x="0" y="1765"/>
                        </a:cubicBezTo>
                        <a:cubicBezTo>
                          <a:pt x="0" y="1840"/>
                          <a:pt x="61" y="1901"/>
                          <a:pt x="136" y="1901"/>
                        </a:cubicBezTo>
                        <a:cubicBezTo>
                          <a:pt x="1494" y="1901"/>
                          <a:pt x="1494" y="1901"/>
                          <a:pt x="1494" y="1901"/>
                        </a:cubicBezTo>
                        <a:cubicBezTo>
                          <a:pt x="1569" y="1901"/>
                          <a:pt x="1630" y="1840"/>
                          <a:pt x="1630" y="1765"/>
                        </a:cubicBezTo>
                        <a:cubicBezTo>
                          <a:pt x="1630" y="136"/>
                          <a:pt x="1630" y="136"/>
                          <a:pt x="1630" y="136"/>
                        </a:cubicBezTo>
                        <a:cubicBezTo>
                          <a:pt x="1630" y="61"/>
                          <a:pt x="1569" y="0"/>
                          <a:pt x="1494"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 name="Freeform 5">
                    <a:extLst>
                      <a:ext uri="{FF2B5EF4-FFF2-40B4-BE49-F238E27FC236}">
                        <a16:creationId xmlns:a16="http://schemas.microsoft.com/office/drawing/2014/main" id="{F442F0CA-3786-41EF-BB22-F38AE9F17AAD}"/>
                      </a:ext>
                    </a:extLst>
                  </p:cNvPr>
                  <p:cNvSpPr>
                    <a:spLocks/>
                  </p:cNvSpPr>
                  <p:nvPr/>
                </p:nvSpPr>
                <p:spPr bwMode="auto">
                  <a:xfrm>
                    <a:off x="3003653" y="1155477"/>
                    <a:ext cx="1246188" cy="639763"/>
                  </a:xfrm>
                  <a:custGeom>
                    <a:avLst/>
                    <a:gdLst>
                      <a:gd name="T0" fmla="*/ 923 w 1032"/>
                      <a:gd name="T1" fmla="*/ 110 h 544"/>
                      <a:gd name="T2" fmla="*/ 788 w 1032"/>
                      <a:gd name="T3" fmla="*/ 1 h 544"/>
                      <a:gd name="T4" fmla="*/ 244 w 1032"/>
                      <a:gd name="T5" fmla="*/ 1 h 544"/>
                      <a:gd name="T6" fmla="*/ 109 w 1032"/>
                      <a:gd name="T7" fmla="*/ 110 h 544"/>
                      <a:gd name="T8" fmla="*/ 0 w 1032"/>
                      <a:gd name="T9" fmla="*/ 544 h 544"/>
                      <a:gd name="T10" fmla="*/ 1032 w 1032"/>
                      <a:gd name="T11" fmla="*/ 544 h 544"/>
                      <a:gd name="T12" fmla="*/ 923 w 1032"/>
                      <a:gd name="T13" fmla="*/ 110 h 544"/>
                    </a:gdLst>
                    <a:ahLst/>
                    <a:cxnLst>
                      <a:cxn ang="0">
                        <a:pos x="T0" y="T1"/>
                      </a:cxn>
                      <a:cxn ang="0">
                        <a:pos x="T2" y="T3"/>
                      </a:cxn>
                      <a:cxn ang="0">
                        <a:pos x="T4" y="T5"/>
                      </a:cxn>
                      <a:cxn ang="0">
                        <a:pos x="T6" y="T7"/>
                      </a:cxn>
                      <a:cxn ang="0">
                        <a:pos x="T8" y="T9"/>
                      </a:cxn>
                      <a:cxn ang="0">
                        <a:pos x="T10" y="T11"/>
                      </a:cxn>
                      <a:cxn ang="0">
                        <a:pos x="T12" y="T13"/>
                      </a:cxn>
                    </a:cxnLst>
                    <a:rect l="0" t="0" r="r" b="b"/>
                    <a:pathLst>
                      <a:path w="1032" h="544">
                        <a:moveTo>
                          <a:pt x="923" y="110"/>
                        </a:moveTo>
                        <a:cubicBezTo>
                          <a:pt x="910" y="46"/>
                          <a:pt x="853" y="0"/>
                          <a:pt x="788" y="1"/>
                        </a:cubicBezTo>
                        <a:cubicBezTo>
                          <a:pt x="244" y="1"/>
                          <a:pt x="244" y="1"/>
                          <a:pt x="244" y="1"/>
                        </a:cubicBezTo>
                        <a:cubicBezTo>
                          <a:pt x="179" y="0"/>
                          <a:pt x="122" y="46"/>
                          <a:pt x="109" y="110"/>
                        </a:cubicBezTo>
                        <a:cubicBezTo>
                          <a:pt x="0" y="544"/>
                          <a:pt x="0" y="544"/>
                          <a:pt x="0" y="544"/>
                        </a:cubicBezTo>
                        <a:cubicBezTo>
                          <a:pt x="1032" y="544"/>
                          <a:pt x="1032" y="544"/>
                          <a:pt x="1032" y="544"/>
                        </a:cubicBezTo>
                        <a:cubicBezTo>
                          <a:pt x="923" y="110"/>
                          <a:pt x="923" y="110"/>
                          <a:pt x="923" y="11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6">
                    <a:extLst>
                      <a:ext uri="{FF2B5EF4-FFF2-40B4-BE49-F238E27FC236}">
                        <a16:creationId xmlns:a16="http://schemas.microsoft.com/office/drawing/2014/main" id="{7395ADC2-557F-44B4-94D3-E67AB90622ED}"/>
                      </a:ext>
                    </a:extLst>
                  </p:cNvPr>
                  <p:cNvSpPr>
                    <a:spLocks/>
                  </p:cNvSpPr>
                  <p:nvPr/>
                </p:nvSpPr>
                <p:spPr bwMode="auto">
                  <a:xfrm>
                    <a:off x="3003653" y="4347940"/>
                    <a:ext cx="1246188" cy="639763"/>
                  </a:xfrm>
                  <a:custGeom>
                    <a:avLst/>
                    <a:gdLst>
                      <a:gd name="T0" fmla="*/ 109 w 1032"/>
                      <a:gd name="T1" fmla="*/ 434 h 544"/>
                      <a:gd name="T2" fmla="*/ 244 w 1032"/>
                      <a:gd name="T3" fmla="*/ 543 h 544"/>
                      <a:gd name="T4" fmla="*/ 788 w 1032"/>
                      <a:gd name="T5" fmla="*/ 543 h 544"/>
                      <a:gd name="T6" fmla="*/ 923 w 1032"/>
                      <a:gd name="T7" fmla="*/ 434 h 544"/>
                      <a:gd name="T8" fmla="*/ 1032 w 1032"/>
                      <a:gd name="T9" fmla="*/ 0 h 544"/>
                      <a:gd name="T10" fmla="*/ 0 w 1032"/>
                      <a:gd name="T11" fmla="*/ 0 h 544"/>
                      <a:gd name="T12" fmla="*/ 109 w 1032"/>
                      <a:gd name="T13" fmla="*/ 434 h 544"/>
                    </a:gdLst>
                    <a:ahLst/>
                    <a:cxnLst>
                      <a:cxn ang="0">
                        <a:pos x="T0" y="T1"/>
                      </a:cxn>
                      <a:cxn ang="0">
                        <a:pos x="T2" y="T3"/>
                      </a:cxn>
                      <a:cxn ang="0">
                        <a:pos x="T4" y="T5"/>
                      </a:cxn>
                      <a:cxn ang="0">
                        <a:pos x="T6" y="T7"/>
                      </a:cxn>
                      <a:cxn ang="0">
                        <a:pos x="T8" y="T9"/>
                      </a:cxn>
                      <a:cxn ang="0">
                        <a:pos x="T10" y="T11"/>
                      </a:cxn>
                      <a:cxn ang="0">
                        <a:pos x="T12" y="T13"/>
                      </a:cxn>
                    </a:cxnLst>
                    <a:rect l="0" t="0" r="r" b="b"/>
                    <a:pathLst>
                      <a:path w="1032" h="544">
                        <a:moveTo>
                          <a:pt x="109" y="434"/>
                        </a:moveTo>
                        <a:cubicBezTo>
                          <a:pt x="122" y="499"/>
                          <a:pt x="179" y="544"/>
                          <a:pt x="244" y="543"/>
                        </a:cubicBezTo>
                        <a:cubicBezTo>
                          <a:pt x="788" y="543"/>
                          <a:pt x="788" y="543"/>
                          <a:pt x="788" y="543"/>
                        </a:cubicBezTo>
                        <a:cubicBezTo>
                          <a:pt x="853" y="544"/>
                          <a:pt x="910" y="499"/>
                          <a:pt x="923" y="434"/>
                        </a:cubicBezTo>
                        <a:cubicBezTo>
                          <a:pt x="1032" y="0"/>
                          <a:pt x="1032" y="0"/>
                          <a:pt x="1032" y="0"/>
                        </a:cubicBezTo>
                        <a:cubicBezTo>
                          <a:pt x="0" y="0"/>
                          <a:pt x="0" y="0"/>
                          <a:pt x="0" y="0"/>
                        </a:cubicBezTo>
                        <a:cubicBezTo>
                          <a:pt x="109" y="434"/>
                          <a:pt x="109" y="434"/>
                          <a:pt x="109" y="4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7">
                    <a:extLst>
                      <a:ext uri="{FF2B5EF4-FFF2-40B4-BE49-F238E27FC236}">
                        <a16:creationId xmlns:a16="http://schemas.microsoft.com/office/drawing/2014/main" id="{F5AA2712-A950-4D63-A207-92622D3786FB}"/>
                      </a:ext>
                    </a:extLst>
                  </p:cNvPr>
                  <p:cNvSpPr>
                    <a:spLocks/>
                  </p:cNvSpPr>
                  <p:nvPr/>
                </p:nvSpPr>
                <p:spPr bwMode="auto">
                  <a:xfrm>
                    <a:off x="3021116" y="2496915"/>
                    <a:ext cx="1211263" cy="1054100"/>
                  </a:xfrm>
                  <a:custGeom>
                    <a:avLst/>
                    <a:gdLst>
                      <a:gd name="T0" fmla="*/ 869 w 1004"/>
                      <a:gd name="T1" fmla="*/ 584 h 896"/>
                      <a:gd name="T2" fmla="*/ 502 w 1004"/>
                      <a:gd name="T3" fmla="*/ 896 h 896"/>
                      <a:gd name="T4" fmla="*/ 135 w 1004"/>
                      <a:gd name="T5" fmla="*/ 584 h 896"/>
                      <a:gd name="T6" fmla="*/ 502 w 1004"/>
                      <a:gd name="T7" fmla="*/ 217 h 896"/>
                      <a:gd name="T8" fmla="*/ 869 w 1004"/>
                      <a:gd name="T9" fmla="*/ 584 h 896"/>
                    </a:gdLst>
                    <a:ahLst/>
                    <a:cxnLst>
                      <a:cxn ang="0">
                        <a:pos x="T0" y="T1"/>
                      </a:cxn>
                      <a:cxn ang="0">
                        <a:pos x="T2" y="T3"/>
                      </a:cxn>
                      <a:cxn ang="0">
                        <a:pos x="T4" y="T5"/>
                      </a:cxn>
                      <a:cxn ang="0">
                        <a:pos x="T6" y="T7"/>
                      </a:cxn>
                      <a:cxn ang="0">
                        <a:pos x="T8" y="T9"/>
                      </a:cxn>
                    </a:cxnLst>
                    <a:rect l="0" t="0" r="r" b="b"/>
                    <a:pathLst>
                      <a:path w="1004" h="896">
                        <a:moveTo>
                          <a:pt x="869" y="584"/>
                        </a:moveTo>
                        <a:cubicBezTo>
                          <a:pt x="767" y="710"/>
                          <a:pt x="643" y="816"/>
                          <a:pt x="502" y="896"/>
                        </a:cubicBezTo>
                        <a:cubicBezTo>
                          <a:pt x="361" y="816"/>
                          <a:pt x="237" y="710"/>
                          <a:pt x="135" y="584"/>
                        </a:cubicBezTo>
                        <a:cubicBezTo>
                          <a:pt x="0" y="366"/>
                          <a:pt x="217" y="0"/>
                          <a:pt x="502" y="217"/>
                        </a:cubicBezTo>
                        <a:cubicBezTo>
                          <a:pt x="787" y="0"/>
                          <a:pt x="1004" y="366"/>
                          <a:pt x="869" y="584"/>
                        </a:cubicBezTo>
                        <a:close/>
                      </a:path>
                    </a:pathLst>
                  </a:custGeom>
                  <a:solidFill>
                    <a:srgbClr val="0F999C"/>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1" name="Group 80">
                  <a:extLst>
                    <a:ext uri="{FF2B5EF4-FFF2-40B4-BE49-F238E27FC236}">
                      <a16:creationId xmlns:a16="http://schemas.microsoft.com/office/drawing/2014/main" id="{B248DB89-AFB3-495D-B225-CDAC08165040}"/>
                    </a:ext>
                  </a:extLst>
                </p:cNvPr>
                <p:cNvGrpSpPr/>
                <p:nvPr/>
              </p:nvGrpSpPr>
              <p:grpSpPr>
                <a:xfrm rot="19158363">
                  <a:off x="6023590" y="3220749"/>
                  <a:ext cx="582951" cy="260467"/>
                  <a:chOff x="5805488" y="4065588"/>
                  <a:chExt cx="671512" cy="300037"/>
                </a:xfrm>
              </p:grpSpPr>
              <p:sp>
                <p:nvSpPr>
                  <p:cNvPr id="96" name="Freeform 16">
                    <a:extLst>
                      <a:ext uri="{FF2B5EF4-FFF2-40B4-BE49-F238E27FC236}">
                        <a16:creationId xmlns:a16="http://schemas.microsoft.com/office/drawing/2014/main" id="{AF7B1E13-A66B-4816-B49F-382CAA9D0710}"/>
                      </a:ext>
                    </a:extLst>
                  </p:cNvPr>
                  <p:cNvSpPr>
                    <a:spLocks/>
                  </p:cNvSpPr>
                  <p:nvPr/>
                </p:nvSpPr>
                <p:spPr bwMode="auto">
                  <a:xfrm>
                    <a:off x="5967413" y="4065588"/>
                    <a:ext cx="346075" cy="60325"/>
                  </a:xfrm>
                  <a:custGeom>
                    <a:avLst/>
                    <a:gdLst>
                      <a:gd name="T0" fmla="*/ 57 w 64"/>
                      <a:gd name="T1" fmla="*/ 2 h 11"/>
                      <a:gd name="T2" fmla="*/ 7 w 64"/>
                      <a:gd name="T3" fmla="*/ 2 h 11"/>
                      <a:gd name="T4" fmla="*/ 0 w 64"/>
                      <a:gd name="T5" fmla="*/ 9 h 11"/>
                      <a:gd name="T6" fmla="*/ 0 w 64"/>
                      <a:gd name="T7" fmla="*/ 11 h 11"/>
                      <a:gd name="T8" fmla="*/ 5 w 64"/>
                      <a:gd name="T9" fmla="*/ 10 h 11"/>
                      <a:gd name="T10" fmla="*/ 5 w 64"/>
                      <a:gd name="T11" fmla="*/ 9 h 11"/>
                      <a:gd name="T12" fmla="*/ 7 w 64"/>
                      <a:gd name="T13" fmla="*/ 6 h 11"/>
                      <a:gd name="T14" fmla="*/ 56 w 64"/>
                      <a:gd name="T15" fmla="*/ 6 h 11"/>
                      <a:gd name="T16" fmla="*/ 59 w 64"/>
                      <a:gd name="T17" fmla="*/ 9 h 11"/>
                      <a:gd name="T18" fmla="*/ 59 w 64"/>
                      <a:gd name="T19" fmla="*/ 10 h 11"/>
                      <a:gd name="T20" fmla="*/ 63 w 64"/>
                      <a:gd name="T21" fmla="*/ 11 h 11"/>
                      <a:gd name="T22" fmla="*/ 63 w 64"/>
                      <a:gd name="T23" fmla="*/ 9 h 11"/>
                      <a:gd name="T24" fmla="*/ 57 w 64"/>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1">
                        <a:moveTo>
                          <a:pt x="57" y="2"/>
                        </a:moveTo>
                        <a:cubicBezTo>
                          <a:pt x="40" y="0"/>
                          <a:pt x="23" y="0"/>
                          <a:pt x="7" y="2"/>
                        </a:cubicBezTo>
                        <a:cubicBezTo>
                          <a:pt x="3" y="2"/>
                          <a:pt x="0" y="5"/>
                          <a:pt x="0" y="9"/>
                        </a:cubicBezTo>
                        <a:cubicBezTo>
                          <a:pt x="0" y="11"/>
                          <a:pt x="0" y="11"/>
                          <a:pt x="0" y="11"/>
                        </a:cubicBezTo>
                        <a:cubicBezTo>
                          <a:pt x="5" y="10"/>
                          <a:pt x="5" y="10"/>
                          <a:pt x="5" y="10"/>
                        </a:cubicBezTo>
                        <a:cubicBezTo>
                          <a:pt x="5" y="9"/>
                          <a:pt x="5" y="9"/>
                          <a:pt x="5" y="9"/>
                        </a:cubicBezTo>
                        <a:cubicBezTo>
                          <a:pt x="5" y="8"/>
                          <a:pt x="6" y="6"/>
                          <a:pt x="7" y="6"/>
                        </a:cubicBezTo>
                        <a:cubicBezTo>
                          <a:pt x="23" y="5"/>
                          <a:pt x="40" y="5"/>
                          <a:pt x="56" y="6"/>
                        </a:cubicBezTo>
                        <a:cubicBezTo>
                          <a:pt x="58" y="6"/>
                          <a:pt x="59" y="8"/>
                          <a:pt x="59" y="9"/>
                        </a:cubicBezTo>
                        <a:cubicBezTo>
                          <a:pt x="59" y="10"/>
                          <a:pt x="59" y="10"/>
                          <a:pt x="59" y="10"/>
                        </a:cubicBezTo>
                        <a:cubicBezTo>
                          <a:pt x="63" y="11"/>
                          <a:pt x="63" y="11"/>
                          <a:pt x="63" y="11"/>
                        </a:cubicBezTo>
                        <a:cubicBezTo>
                          <a:pt x="63" y="9"/>
                          <a:pt x="63" y="9"/>
                          <a:pt x="63" y="9"/>
                        </a:cubicBezTo>
                        <a:cubicBezTo>
                          <a:pt x="64" y="5"/>
                          <a:pt x="61" y="2"/>
                          <a:pt x="57" y="2"/>
                        </a:cubicBezTo>
                        <a:close/>
                      </a:path>
                    </a:pathLst>
                  </a:custGeom>
                  <a:solidFill>
                    <a:srgbClr val="0F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7">
                    <a:extLst>
                      <a:ext uri="{FF2B5EF4-FFF2-40B4-BE49-F238E27FC236}">
                        <a16:creationId xmlns:a16="http://schemas.microsoft.com/office/drawing/2014/main" id="{E32B15D1-6D5F-49C9-B041-59D77DBBB1F0}"/>
                      </a:ext>
                    </a:extLst>
                  </p:cNvPr>
                  <p:cNvSpPr>
                    <a:spLocks/>
                  </p:cNvSpPr>
                  <p:nvPr/>
                </p:nvSpPr>
                <p:spPr bwMode="auto">
                  <a:xfrm>
                    <a:off x="6065838" y="4152900"/>
                    <a:ext cx="150813" cy="87312"/>
                  </a:xfrm>
                  <a:custGeom>
                    <a:avLst/>
                    <a:gdLst>
                      <a:gd name="T0" fmla="*/ 14 w 28"/>
                      <a:gd name="T1" fmla="*/ 0 h 16"/>
                      <a:gd name="T2" fmla="*/ 4 w 28"/>
                      <a:gd name="T3" fmla="*/ 4 h 16"/>
                      <a:gd name="T4" fmla="*/ 0 w 28"/>
                      <a:gd name="T5" fmla="*/ 15 h 16"/>
                      <a:gd name="T6" fmla="*/ 0 w 28"/>
                      <a:gd name="T7" fmla="*/ 16 h 16"/>
                      <a:gd name="T8" fmla="*/ 5 w 28"/>
                      <a:gd name="T9" fmla="*/ 16 h 16"/>
                      <a:gd name="T10" fmla="*/ 5 w 28"/>
                      <a:gd name="T11" fmla="*/ 15 h 16"/>
                      <a:gd name="T12" fmla="*/ 8 w 28"/>
                      <a:gd name="T13" fmla="*/ 7 h 16"/>
                      <a:gd name="T14" fmla="*/ 14 w 28"/>
                      <a:gd name="T15" fmla="*/ 4 h 16"/>
                      <a:gd name="T16" fmla="*/ 20 w 28"/>
                      <a:gd name="T17" fmla="*/ 7 h 16"/>
                      <a:gd name="T18" fmla="*/ 23 w 28"/>
                      <a:gd name="T19" fmla="*/ 15 h 16"/>
                      <a:gd name="T20" fmla="*/ 23 w 28"/>
                      <a:gd name="T21" fmla="*/ 16 h 16"/>
                      <a:gd name="T22" fmla="*/ 27 w 28"/>
                      <a:gd name="T23" fmla="*/ 16 h 16"/>
                      <a:gd name="T24" fmla="*/ 28 w 28"/>
                      <a:gd name="T25" fmla="*/ 15 h 16"/>
                      <a:gd name="T26" fmla="*/ 23 w 28"/>
                      <a:gd name="T27" fmla="*/ 4 h 16"/>
                      <a:gd name="T28" fmla="*/ 14 w 2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6">
                        <a:moveTo>
                          <a:pt x="14" y="0"/>
                        </a:moveTo>
                        <a:cubicBezTo>
                          <a:pt x="10" y="0"/>
                          <a:pt x="7" y="1"/>
                          <a:pt x="4" y="4"/>
                        </a:cubicBezTo>
                        <a:cubicBezTo>
                          <a:pt x="2" y="7"/>
                          <a:pt x="0" y="11"/>
                          <a:pt x="0" y="15"/>
                        </a:cubicBezTo>
                        <a:cubicBezTo>
                          <a:pt x="0" y="16"/>
                          <a:pt x="0" y="16"/>
                          <a:pt x="0" y="16"/>
                        </a:cubicBezTo>
                        <a:cubicBezTo>
                          <a:pt x="5" y="16"/>
                          <a:pt x="5" y="16"/>
                          <a:pt x="5" y="16"/>
                        </a:cubicBezTo>
                        <a:cubicBezTo>
                          <a:pt x="5" y="15"/>
                          <a:pt x="5" y="15"/>
                          <a:pt x="5" y="15"/>
                        </a:cubicBezTo>
                        <a:cubicBezTo>
                          <a:pt x="5" y="12"/>
                          <a:pt x="6" y="9"/>
                          <a:pt x="8" y="7"/>
                        </a:cubicBezTo>
                        <a:cubicBezTo>
                          <a:pt x="9" y="5"/>
                          <a:pt x="12" y="4"/>
                          <a:pt x="14" y="4"/>
                        </a:cubicBezTo>
                        <a:cubicBezTo>
                          <a:pt x="16" y="4"/>
                          <a:pt x="18" y="5"/>
                          <a:pt x="20" y="7"/>
                        </a:cubicBezTo>
                        <a:cubicBezTo>
                          <a:pt x="22" y="9"/>
                          <a:pt x="23" y="12"/>
                          <a:pt x="23" y="15"/>
                        </a:cubicBezTo>
                        <a:cubicBezTo>
                          <a:pt x="23" y="16"/>
                          <a:pt x="23" y="16"/>
                          <a:pt x="23" y="16"/>
                        </a:cubicBezTo>
                        <a:cubicBezTo>
                          <a:pt x="27" y="16"/>
                          <a:pt x="27" y="16"/>
                          <a:pt x="27" y="16"/>
                        </a:cubicBezTo>
                        <a:cubicBezTo>
                          <a:pt x="28" y="15"/>
                          <a:pt x="28" y="15"/>
                          <a:pt x="28" y="15"/>
                        </a:cubicBezTo>
                        <a:cubicBezTo>
                          <a:pt x="28" y="11"/>
                          <a:pt x="26" y="7"/>
                          <a:pt x="23" y="4"/>
                        </a:cubicBezTo>
                        <a:cubicBezTo>
                          <a:pt x="21" y="1"/>
                          <a:pt x="17" y="0"/>
                          <a:pt x="14" y="0"/>
                        </a:cubicBezTo>
                        <a:close/>
                      </a:path>
                    </a:pathLst>
                  </a:custGeom>
                  <a:solidFill>
                    <a:srgbClr val="0F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153DFD7-3FF4-4A10-B0E9-94617A5C8E23}"/>
                      </a:ext>
                    </a:extLst>
                  </p:cNvPr>
                  <p:cNvSpPr>
                    <a:spLocks/>
                  </p:cNvSpPr>
                  <p:nvPr/>
                </p:nvSpPr>
                <p:spPr bwMode="auto">
                  <a:xfrm>
                    <a:off x="6432550" y="4173538"/>
                    <a:ext cx="44450" cy="82550"/>
                  </a:xfrm>
                  <a:custGeom>
                    <a:avLst/>
                    <a:gdLst>
                      <a:gd name="T0" fmla="*/ 0 w 8"/>
                      <a:gd name="T1" fmla="*/ 13 h 15"/>
                      <a:gd name="T2" fmla="*/ 7 w 8"/>
                      <a:gd name="T3" fmla="*/ 15 h 15"/>
                      <a:gd name="T4" fmla="*/ 8 w 8"/>
                      <a:gd name="T5" fmla="*/ 2 h 15"/>
                      <a:gd name="T6" fmla="*/ 1 w 8"/>
                      <a:gd name="T7" fmla="*/ 0 h 15"/>
                      <a:gd name="T8" fmla="*/ 0 w 8"/>
                      <a:gd name="T9" fmla="*/ 13 h 15"/>
                    </a:gdLst>
                    <a:ahLst/>
                    <a:cxnLst>
                      <a:cxn ang="0">
                        <a:pos x="T0" y="T1"/>
                      </a:cxn>
                      <a:cxn ang="0">
                        <a:pos x="T2" y="T3"/>
                      </a:cxn>
                      <a:cxn ang="0">
                        <a:pos x="T4" y="T5"/>
                      </a:cxn>
                      <a:cxn ang="0">
                        <a:pos x="T6" y="T7"/>
                      </a:cxn>
                      <a:cxn ang="0">
                        <a:pos x="T8" y="T9"/>
                      </a:cxn>
                    </a:cxnLst>
                    <a:rect l="0" t="0" r="r" b="b"/>
                    <a:pathLst>
                      <a:path w="8" h="15">
                        <a:moveTo>
                          <a:pt x="0" y="13"/>
                        </a:moveTo>
                        <a:cubicBezTo>
                          <a:pt x="2" y="13"/>
                          <a:pt x="4" y="14"/>
                          <a:pt x="7" y="15"/>
                        </a:cubicBezTo>
                        <a:cubicBezTo>
                          <a:pt x="7" y="10"/>
                          <a:pt x="7" y="6"/>
                          <a:pt x="8" y="2"/>
                        </a:cubicBezTo>
                        <a:cubicBezTo>
                          <a:pt x="6" y="1"/>
                          <a:pt x="3" y="1"/>
                          <a:pt x="1" y="0"/>
                        </a:cubicBezTo>
                        <a:cubicBezTo>
                          <a:pt x="0" y="5"/>
                          <a:pt x="0" y="9"/>
                          <a:pt x="0" y="13"/>
                        </a:cubicBezTo>
                        <a:close/>
                      </a:path>
                    </a:pathLst>
                  </a:custGeom>
                  <a:solidFill>
                    <a:srgbClr val="0F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9">
                    <a:extLst>
                      <a:ext uri="{FF2B5EF4-FFF2-40B4-BE49-F238E27FC236}">
                        <a16:creationId xmlns:a16="http://schemas.microsoft.com/office/drawing/2014/main" id="{8C52B6C3-954C-4A4C-8D7F-2F05C61AFFB9}"/>
                      </a:ext>
                    </a:extLst>
                  </p:cNvPr>
                  <p:cNvSpPr>
                    <a:spLocks/>
                  </p:cNvSpPr>
                  <p:nvPr/>
                </p:nvSpPr>
                <p:spPr bwMode="auto">
                  <a:xfrm>
                    <a:off x="6162675" y="4087813"/>
                    <a:ext cx="287338" cy="277812"/>
                  </a:xfrm>
                  <a:custGeom>
                    <a:avLst/>
                    <a:gdLst>
                      <a:gd name="T0" fmla="*/ 52 w 53"/>
                      <a:gd name="T1" fmla="*/ 29 h 51"/>
                      <a:gd name="T2" fmla="*/ 30 w 53"/>
                      <a:gd name="T3" fmla="*/ 49 h 51"/>
                      <a:gd name="T4" fmla="*/ 0 w 53"/>
                      <a:gd name="T5" fmla="*/ 19 h 51"/>
                      <a:gd name="T6" fmla="*/ 34 w 53"/>
                      <a:gd name="T7" fmla="*/ 2 h 51"/>
                      <a:gd name="T8" fmla="*/ 52 w 53"/>
                      <a:gd name="T9" fmla="*/ 29 h 51"/>
                    </a:gdLst>
                    <a:ahLst/>
                    <a:cxnLst>
                      <a:cxn ang="0">
                        <a:pos x="T0" y="T1"/>
                      </a:cxn>
                      <a:cxn ang="0">
                        <a:pos x="T2" y="T3"/>
                      </a:cxn>
                      <a:cxn ang="0">
                        <a:pos x="T4" y="T5"/>
                      </a:cxn>
                      <a:cxn ang="0">
                        <a:pos x="T6" y="T7"/>
                      </a:cxn>
                      <a:cxn ang="0">
                        <a:pos x="T8" y="T9"/>
                      </a:cxn>
                    </a:cxnLst>
                    <a:rect l="0" t="0" r="r" b="b"/>
                    <a:pathLst>
                      <a:path w="53" h="51">
                        <a:moveTo>
                          <a:pt x="52" y="29"/>
                        </a:moveTo>
                        <a:cubicBezTo>
                          <a:pt x="50" y="42"/>
                          <a:pt x="43" y="51"/>
                          <a:pt x="30" y="49"/>
                        </a:cubicBezTo>
                        <a:cubicBezTo>
                          <a:pt x="17" y="48"/>
                          <a:pt x="1" y="28"/>
                          <a:pt x="0" y="19"/>
                        </a:cubicBezTo>
                        <a:cubicBezTo>
                          <a:pt x="0" y="2"/>
                          <a:pt x="19" y="0"/>
                          <a:pt x="34" y="2"/>
                        </a:cubicBezTo>
                        <a:cubicBezTo>
                          <a:pt x="49" y="4"/>
                          <a:pt x="53" y="16"/>
                          <a:pt x="52" y="29"/>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20">
                    <a:extLst>
                      <a:ext uri="{FF2B5EF4-FFF2-40B4-BE49-F238E27FC236}">
                        <a16:creationId xmlns:a16="http://schemas.microsoft.com/office/drawing/2014/main" id="{895CF3C5-58BB-4C5A-AE40-06935DEE9949}"/>
                      </a:ext>
                    </a:extLst>
                  </p:cNvPr>
                  <p:cNvSpPr>
                    <a:spLocks/>
                  </p:cNvSpPr>
                  <p:nvPr/>
                </p:nvSpPr>
                <p:spPr bwMode="auto">
                  <a:xfrm>
                    <a:off x="6189663" y="4119563"/>
                    <a:ext cx="227013" cy="212725"/>
                  </a:xfrm>
                  <a:custGeom>
                    <a:avLst/>
                    <a:gdLst>
                      <a:gd name="T0" fmla="*/ 25 w 42"/>
                      <a:gd name="T1" fmla="*/ 38 h 39"/>
                      <a:gd name="T2" fmla="*/ 0 w 42"/>
                      <a:gd name="T3" fmla="*/ 14 h 39"/>
                      <a:gd name="T4" fmla="*/ 9 w 42"/>
                      <a:gd name="T5" fmla="*/ 2 h 39"/>
                      <a:gd name="T6" fmla="*/ 28 w 42"/>
                      <a:gd name="T7" fmla="*/ 1 h 39"/>
                      <a:gd name="T8" fmla="*/ 40 w 42"/>
                      <a:gd name="T9" fmla="*/ 8 h 39"/>
                      <a:gd name="T10" fmla="*/ 42 w 42"/>
                      <a:gd name="T11" fmla="*/ 22 h 39"/>
                      <a:gd name="T12" fmla="*/ 37 w 42"/>
                      <a:gd name="T13" fmla="*/ 35 h 39"/>
                      <a:gd name="T14" fmla="*/ 25 w 42"/>
                      <a:gd name="T15" fmla="*/ 3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9">
                        <a:moveTo>
                          <a:pt x="25" y="38"/>
                        </a:moveTo>
                        <a:cubicBezTo>
                          <a:pt x="14" y="37"/>
                          <a:pt x="1" y="20"/>
                          <a:pt x="0" y="14"/>
                        </a:cubicBezTo>
                        <a:cubicBezTo>
                          <a:pt x="1" y="8"/>
                          <a:pt x="3" y="4"/>
                          <a:pt x="9" y="2"/>
                        </a:cubicBezTo>
                        <a:cubicBezTo>
                          <a:pt x="13" y="0"/>
                          <a:pt x="20" y="0"/>
                          <a:pt x="28" y="1"/>
                        </a:cubicBezTo>
                        <a:cubicBezTo>
                          <a:pt x="33" y="1"/>
                          <a:pt x="37" y="4"/>
                          <a:pt x="40" y="8"/>
                        </a:cubicBezTo>
                        <a:cubicBezTo>
                          <a:pt x="42" y="11"/>
                          <a:pt x="42" y="16"/>
                          <a:pt x="42" y="22"/>
                        </a:cubicBezTo>
                        <a:cubicBezTo>
                          <a:pt x="41" y="27"/>
                          <a:pt x="39" y="32"/>
                          <a:pt x="37" y="35"/>
                        </a:cubicBezTo>
                        <a:cubicBezTo>
                          <a:pt x="34" y="38"/>
                          <a:pt x="30" y="39"/>
                          <a:pt x="25" y="3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21">
                    <a:extLst>
                      <a:ext uri="{FF2B5EF4-FFF2-40B4-BE49-F238E27FC236}">
                        <a16:creationId xmlns:a16="http://schemas.microsoft.com/office/drawing/2014/main" id="{EE20A565-6E90-4B45-A239-438DD674342D}"/>
                      </a:ext>
                    </a:extLst>
                  </p:cNvPr>
                  <p:cNvSpPr>
                    <a:spLocks/>
                  </p:cNvSpPr>
                  <p:nvPr/>
                </p:nvSpPr>
                <p:spPr bwMode="auto">
                  <a:xfrm>
                    <a:off x="5805488" y="4173538"/>
                    <a:ext cx="42863" cy="82550"/>
                  </a:xfrm>
                  <a:custGeom>
                    <a:avLst/>
                    <a:gdLst>
                      <a:gd name="T0" fmla="*/ 8 w 8"/>
                      <a:gd name="T1" fmla="*/ 13 h 15"/>
                      <a:gd name="T2" fmla="*/ 1 w 8"/>
                      <a:gd name="T3" fmla="*/ 15 h 15"/>
                      <a:gd name="T4" fmla="*/ 0 w 8"/>
                      <a:gd name="T5" fmla="*/ 2 h 15"/>
                      <a:gd name="T6" fmla="*/ 7 w 8"/>
                      <a:gd name="T7" fmla="*/ 0 h 15"/>
                      <a:gd name="T8" fmla="*/ 8 w 8"/>
                      <a:gd name="T9" fmla="*/ 13 h 15"/>
                    </a:gdLst>
                    <a:ahLst/>
                    <a:cxnLst>
                      <a:cxn ang="0">
                        <a:pos x="T0" y="T1"/>
                      </a:cxn>
                      <a:cxn ang="0">
                        <a:pos x="T2" y="T3"/>
                      </a:cxn>
                      <a:cxn ang="0">
                        <a:pos x="T4" y="T5"/>
                      </a:cxn>
                      <a:cxn ang="0">
                        <a:pos x="T6" y="T7"/>
                      </a:cxn>
                      <a:cxn ang="0">
                        <a:pos x="T8" y="T9"/>
                      </a:cxn>
                    </a:cxnLst>
                    <a:rect l="0" t="0" r="r" b="b"/>
                    <a:pathLst>
                      <a:path w="8" h="15">
                        <a:moveTo>
                          <a:pt x="8" y="13"/>
                        </a:moveTo>
                        <a:cubicBezTo>
                          <a:pt x="6" y="13"/>
                          <a:pt x="3" y="14"/>
                          <a:pt x="1" y="15"/>
                        </a:cubicBezTo>
                        <a:cubicBezTo>
                          <a:pt x="0" y="10"/>
                          <a:pt x="0" y="6"/>
                          <a:pt x="0" y="2"/>
                        </a:cubicBezTo>
                        <a:cubicBezTo>
                          <a:pt x="2" y="1"/>
                          <a:pt x="4" y="1"/>
                          <a:pt x="7" y="0"/>
                        </a:cubicBezTo>
                        <a:cubicBezTo>
                          <a:pt x="7" y="5"/>
                          <a:pt x="8" y="9"/>
                          <a:pt x="8" y="13"/>
                        </a:cubicBezTo>
                        <a:close/>
                      </a:path>
                    </a:pathLst>
                  </a:custGeom>
                  <a:solidFill>
                    <a:srgbClr val="0F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2">
                    <a:extLst>
                      <a:ext uri="{FF2B5EF4-FFF2-40B4-BE49-F238E27FC236}">
                        <a16:creationId xmlns:a16="http://schemas.microsoft.com/office/drawing/2014/main" id="{6D3D1916-B125-4500-B5A0-A58BCF09FCEA}"/>
                      </a:ext>
                    </a:extLst>
                  </p:cNvPr>
                  <p:cNvSpPr>
                    <a:spLocks/>
                  </p:cNvSpPr>
                  <p:nvPr/>
                </p:nvSpPr>
                <p:spPr bwMode="auto">
                  <a:xfrm>
                    <a:off x="5827713" y="4087813"/>
                    <a:ext cx="285750" cy="277812"/>
                  </a:xfrm>
                  <a:custGeom>
                    <a:avLst/>
                    <a:gdLst>
                      <a:gd name="T0" fmla="*/ 2 w 53"/>
                      <a:gd name="T1" fmla="*/ 29 h 51"/>
                      <a:gd name="T2" fmla="*/ 24 w 53"/>
                      <a:gd name="T3" fmla="*/ 49 h 51"/>
                      <a:gd name="T4" fmla="*/ 53 w 53"/>
                      <a:gd name="T5" fmla="*/ 19 h 51"/>
                      <a:gd name="T6" fmla="*/ 20 w 53"/>
                      <a:gd name="T7" fmla="*/ 2 h 51"/>
                      <a:gd name="T8" fmla="*/ 2 w 53"/>
                      <a:gd name="T9" fmla="*/ 29 h 51"/>
                    </a:gdLst>
                    <a:ahLst/>
                    <a:cxnLst>
                      <a:cxn ang="0">
                        <a:pos x="T0" y="T1"/>
                      </a:cxn>
                      <a:cxn ang="0">
                        <a:pos x="T2" y="T3"/>
                      </a:cxn>
                      <a:cxn ang="0">
                        <a:pos x="T4" y="T5"/>
                      </a:cxn>
                      <a:cxn ang="0">
                        <a:pos x="T6" y="T7"/>
                      </a:cxn>
                      <a:cxn ang="0">
                        <a:pos x="T8" y="T9"/>
                      </a:cxn>
                    </a:cxnLst>
                    <a:rect l="0" t="0" r="r" b="b"/>
                    <a:pathLst>
                      <a:path w="53" h="51">
                        <a:moveTo>
                          <a:pt x="2" y="29"/>
                        </a:moveTo>
                        <a:cubicBezTo>
                          <a:pt x="4" y="42"/>
                          <a:pt x="10" y="51"/>
                          <a:pt x="24" y="49"/>
                        </a:cubicBezTo>
                        <a:cubicBezTo>
                          <a:pt x="37" y="48"/>
                          <a:pt x="53" y="28"/>
                          <a:pt x="53" y="19"/>
                        </a:cubicBezTo>
                        <a:cubicBezTo>
                          <a:pt x="53" y="2"/>
                          <a:pt x="35" y="0"/>
                          <a:pt x="20" y="2"/>
                        </a:cubicBezTo>
                        <a:cubicBezTo>
                          <a:pt x="5" y="4"/>
                          <a:pt x="0" y="16"/>
                          <a:pt x="2" y="29"/>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3">
                    <a:extLst>
                      <a:ext uri="{FF2B5EF4-FFF2-40B4-BE49-F238E27FC236}">
                        <a16:creationId xmlns:a16="http://schemas.microsoft.com/office/drawing/2014/main" id="{75313A6D-CF32-45C9-9F23-1D79D6C6C5FC}"/>
                      </a:ext>
                    </a:extLst>
                  </p:cNvPr>
                  <p:cNvSpPr>
                    <a:spLocks/>
                  </p:cNvSpPr>
                  <p:nvPr/>
                </p:nvSpPr>
                <p:spPr bwMode="auto">
                  <a:xfrm>
                    <a:off x="5859463" y="4119563"/>
                    <a:ext cx="227013" cy="212725"/>
                  </a:xfrm>
                  <a:custGeom>
                    <a:avLst/>
                    <a:gdLst>
                      <a:gd name="T0" fmla="*/ 18 w 42"/>
                      <a:gd name="T1" fmla="*/ 38 h 39"/>
                      <a:gd name="T2" fmla="*/ 42 w 42"/>
                      <a:gd name="T3" fmla="*/ 14 h 39"/>
                      <a:gd name="T4" fmla="*/ 34 w 42"/>
                      <a:gd name="T5" fmla="*/ 2 h 39"/>
                      <a:gd name="T6" fmla="*/ 15 w 42"/>
                      <a:gd name="T7" fmla="*/ 1 h 39"/>
                      <a:gd name="T8" fmla="*/ 3 w 42"/>
                      <a:gd name="T9" fmla="*/ 8 h 39"/>
                      <a:gd name="T10" fmla="*/ 1 w 42"/>
                      <a:gd name="T11" fmla="*/ 22 h 39"/>
                      <a:gd name="T12" fmla="*/ 6 w 42"/>
                      <a:gd name="T13" fmla="*/ 35 h 39"/>
                      <a:gd name="T14" fmla="*/ 18 w 42"/>
                      <a:gd name="T15" fmla="*/ 3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9">
                        <a:moveTo>
                          <a:pt x="18" y="38"/>
                        </a:moveTo>
                        <a:cubicBezTo>
                          <a:pt x="29" y="37"/>
                          <a:pt x="42" y="20"/>
                          <a:pt x="42" y="14"/>
                        </a:cubicBezTo>
                        <a:cubicBezTo>
                          <a:pt x="42" y="8"/>
                          <a:pt x="39" y="4"/>
                          <a:pt x="34" y="2"/>
                        </a:cubicBezTo>
                        <a:cubicBezTo>
                          <a:pt x="29" y="0"/>
                          <a:pt x="23" y="0"/>
                          <a:pt x="15" y="1"/>
                        </a:cubicBezTo>
                        <a:cubicBezTo>
                          <a:pt x="9" y="1"/>
                          <a:pt x="5" y="4"/>
                          <a:pt x="3" y="8"/>
                        </a:cubicBezTo>
                        <a:cubicBezTo>
                          <a:pt x="1" y="11"/>
                          <a:pt x="0" y="16"/>
                          <a:pt x="1" y="22"/>
                        </a:cubicBezTo>
                        <a:cubicBezTo>
                          <a:pt x="2" y="27"/>
                          <a:pt x="3" y="32"/>
                          <a:pt x="6" y="35"/>
                        </a:cubicBezTo>
                        <a:cubicBezTo>
                          <a:pt x="9" y="38"/>
                          <a:pt x="13" y="39"/>
                          <a:pt x="18" y="3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2" name="Group 81">
                  <a:extLst>
                    <a:ext uri="{FF2B5EF4-FFF2-40B4-BE49-F238E27FC236}">
                      <a16:creationId xmlns:a16="http://schemas.microsoft.com/office/drawing/2014/main" id="{6BAF7B28-EFF0-42AD-A1EC-1A748C72A9B9}"/>
                    </a:ext>
                  </a:extLst>
                </p:cNvPr>
                <p:cNvGrpSpPr/>
                <p:nvPr/>
              </p:nvGrpSpPr>
              <p:grpSpPr>
                <a:xfrm>
                  <a:off x="6460209" y="3563760"/>
                  <a:ext cx="512091" cy="326221"/>
                  <a:chOff x="5664201" y="3994150"/>
                  <a:chExt cx="642938" cy="409576"/>
                </a:xfrm>
              </p:grpSpPr>
              <p:sp>
                <p:nvSpPr>
                  <p:cNvPr id="93" name="Freeform 27">
                    <a:extLst>
                      <a:ext uri="{FF2B5EF4-FFF2-40B4-BE49-F238E27FC236}">
                        <a16:creationId xmlns:a16="http://schemas.microsoft.com/office/drawing/2014/main" id="{F3216B20-B3E0-4A3F-B1A7-35574FDEAA83}"/>
                      </a:ext>
                    </a:extLst>
                  </p:cNvPr>
                  <p:cNvSpPr>
                    <a:spLocks/>
                  </p:cNvSpPr>
                  <p:nvPr/>
                </p:nvSpPr>
                <p:spPr bwMode="auto">
                  <a:xfrm>
                    <a:off x="5713413" y="3994150"/>
                    <a:ext cx="542925" cy="344488"/>
                  </a:xfrm>
                  <a:custGeom>
                    <a:avLst/>
                    <a:gdLst>
                      <a:gd name="T0" fmla="*/ 88 w 98"/>
                      <a:gd name="T1" fmla="*/ 0 h 63"/>
                      <a:gd name="T2" fmla="*/ 10 w 98"/>
                      <a:gd name="T3" fmla="*/ 1 h 63"/>
                      <a:gd name="T4" fmla="*/ 0 w 98"/>
                      <a:gd name="T5" fmla="*/ 12 h 63"/>
                      <a:gd name="T6" fmla="*/ 0 w 98"/>
                      <a:gd name="T7" fmla="*/ 17 h 63"/>
                      <a:gd name="T8" fmla="*/ 1 w 98"/>
                      <a:gd name="T9" fmla="*/ 61 h 63"/>
                      <a:gd name="T10" fmla="*/ 88 w 98"/>
                      <a:gd name="T11" fmla="*/ 62 h 63"/>
                      <a:gd name="T12" fmla="*/ 98 w 98"/>
                      <a:gd name="T13" fmla="*/ 51 h 63"/>
                      <a:gd name="T14" fmla="*/ 98 w 98"/>
                      <a:gd name="T15" fmla="*/ 9 h 63"/>
                      <a:gd name="T16" fmla="*/ 88 w 98"/>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63">
                        <a:moveTo>
                          <a:pt x="88" y="0"/>
                        </a:moveTo>
                        <a:cubicBezTo>
                          <a:pt x="82" y="0"/>
                          <a:pt x="14" y="0"/>
                          <a:pt x="10" y="1"/>
                        </a:cubicBezTo>
                        <a:cubicBezTo>
                          <a:pt x="2" y="1"/>
                          <a:pt x="0" y="4"/>
                          <a:pt x="0" y="12"/>
                        </a:cubicBezTo>
                        <a:cubicBezTo>
                          <a:pt x="0" y="17"/>
                          <a:pt x="0" y="17"/>
                          <a:pt x="0" y="17"/>
                        </a:cubicBezTo>
                        <a:cubicBezTo>
                          <a:pt x="0" y="24"/>
                          <a:pt x="1" y="53"/>
                          <a:pt x="1" y="61"/>
                        </a:cubicBezTo>
                        <a:cubicBezTo>
                          <a:pt x="3" y="62"/>
                          <a:pt x="80" y="63"/>
                          <a:pt x="88" y="62"/>
                        </a:cubicBezTo>
                        <a:cubicBezTo>
                          <a:pt x="95" y="62"/>
                          <a:pt x="98" y="61"/>
                          <a:pt x="98" y="51"/>
                        </a:cubicBezTo>
                        <a:cubicBezTo>
                          <a:pt x="98" y="9"/>
                          <a:pt x="98" y="9"/>
                          <a:pt x="98" y="9"/>
                        </a:cubicBezTo>
                        <a:cubicBezTo>
                          <a:pt x="98" y="2"/>
                          <a:pt x="96" y="1"/>
                          <a:pt x="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8">
                    <a:extLst>
                      <a:ext uri="{FF2B5EF4-FFF2-40B4-BE49-F238E27FC236}">
                        <a16:creationId xmlns:a16="http://schemas.microsoft.com/office/drawing/2014/main" id="{768DFFD3-729D-4000-8F9D-703261935093}"/>
                      </a:ext>
                    </a:extLst>
                  </p:cNvPr>
                  <p:cNvSpPr>
                    <a:spLocks/>
                  </p:cNvSpPr>
                  <p:nvPr/>
                </p:nvSpPr>
                <p:spPr bwMode="auto">
                  <a:xfrm>
                    <a:off x="5741988" y="4021138"/>
                    <a:ext cx="487363" cy="288925"/>
                  </a:xfrm>
                  <a:custGeom>
                    <a:avLst/>
                    <a:gdLst>
                      <a:gd name="T0" fmla="*/ 87 w 88"/>
                      <a:gd name="T1" fmla="*/ 53 h 53"/>
                      <a:gd name="T2" fmla="*/ 2 w 88"/>
                      <a:gd name="T3" fmla="*/ 52 h 53"/>
                      <a:gd name="T4" fmla="*/ 1 w 88"/>
                      <a:gd name="T5" fmla="*/ 1 h 53"/>
                      <a:gd name="T6" fmla="*/ 87 w 88"/>
                      <a:gd name="T7" fmla="*/ 1 h 53"/>
                      <a:gd name="T8" fmla="*/ 87 w 88"/>
                      <a:gd name="T9" fmla="*/ 53 h 53"/>
                    </a:gdLst>
                    <a:ahLst/>
                    <a:cxnLst>
                      <a:cxn ang="0">
                        <a:pos x="T0" y="T1"/>
                      </a:cxn>
                      <a:cxn ang="0">
                        <a:pos x="T2" y="T3"/>
                      </a:cxn>
                      <a:cxn ang="0">
                        <a:pos x="T4" y="T5"/>
                      </a:cxn>
                      <a:cxn ang="0">
                        <a:pos x="T6" y="T7"/>
                      </a:cxn>
                      <a:cxn ang="0">
                        <a:pos x="T8" y="T9"/>
                      </a:cxn>
                    </a:cxnLst>
                    <a:rect l="0" t="0" r="r" b="b"/>
                    <a:pathLst>
                      <a:path w="88" h="53">
                        <a:moveTo>
                          <a:pt x="87" y="53"/>
                        </a:moveTo>
                        <a:cubicBezTo>
                          <a:pt x="2" y="52"/>
                          <a:pt x="2" y="52"/>
                          <a:pt x="2" y="52"/>
                        </a:cubicBezTo>
                        <a:cubicBezTo>
                          <a:pt x="2" y="52"/>
                          <a:pt x="0" y="19"/>
                          <a:pt x="1" y="1"/>
                        </a:cubicBezTo>
                        <a:cubicBezTo>
                          <a:pt x="11" y="0"/>
                          <a:pt x="77" y="0"/>
                          <a:pt x="87" y="1"/>
                        </a:cubicBezTo>
                        <a:cubicBezTo>
                          <a:pt x="88" y="25"/>
                          <a:pt x="87" y="53"/>
                          <a:pt x="87" y="53"/>
                        </a:cubicBezTo>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9">
                    <a:extLst>
                      <a:ext uri="{FF2B5EF4-FFF2-40B4-BE49-F238E27FC236}">
                        <a16:creationId xmlns:a16="http://schemas.microsoft.com/office/drawing/2014/main" id="{02BBFA1D-6E85-46DC-B032-A9F946EB0524}"/>
                      </a:ext>
                    </a:extLst>
                  </p:cNvPr>
                  <p:cNvSpPr>
                    <a:spLocks/>
                  </p:cNvSpPr>
                  <p:nvPr/>
                </p:nvSpPr>
                <p:spPr bwMode="auto">
                  <a:xfrm>
                    <a:off x="5664201" y="4354513"/>
                    <a:ext cx="642938" cy="49213"/>
                  </a:xfrm>
                  <a:custGeom>
                    <a:avLst/>
                    <a:gdLst>
                      <a:gd name="T0" fmla="*/ 109 w 116"/>
                      <a:gd name="T1" fmla="*/ 9 h 9"/>
                      <a:gd name="T2" fmla="*/ 7 w 116"/>
                      <a:gd name="T3" fmla="*/ 9 h 9"/>
                      <a:gd name="T4" fmla="*/ 0 w 116"/>
                      <a:gd name="T5" fmla="*/ 1 h 9"/>
                      <a:gd name="T6" fmla="*/ 0 w 116"/>
                      <a:gd name="T7" fmla="*/ 0 h 9"/>
                      <a:gd name="T8" fmla="*/ 116 w 116"/>
                      <a:gd name="T9" fmla="*/ 0 h 9"/>
                      <a:gd name="T10" fmla="*/ 116 w 116"/>
                      <a:gd name="T11" fmla="*/ 1 h 9"/>
                      <a:gd name="T12" fmla="*/ 109 w 11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16" h="9">
                        <a:moveTo>
                          <a:pt x="109" y="9"/>
                        </a:moveTo>
                        <a:cubicBezTo>
                          <a:pt x="7" y="9"/>
                          <a:pt x="7" y="9"/>
                          <a:pt x="7" y="9"/>
                        </a:cubicBezTo>
                        <a:cubicBezTo>
                          <a:pt x="3" y="9"/>
                          <a:pt x="0" y="5"/>
                          <a:pt x="0" y="1"/>
                        </a:cubicBezTo>
                        <a:cubicBezTo>
                          <a:pt x="0" y="0"/>
                          <a:pt x="0" y="0"/>
                          <a:pt x="0" y="0"/>
                        </a:cubicBezTo>
                        <a:cubicBezTo>
                          <a:pt x="116" y="0"/>
                          <a:pt x="116" y="0"/>
                          <a:pt x="116" y="0"/>
                        </a:cubicBezTo>
                        <a:cubicBezTo>
                          <a:pt x="116" y="1"/>
                          <a:pt x="116" y="1"/>
                          <a:pt x="116" y="1"/>
                        </a:cubicBezTo>
                        <a:cubicBezTo>
                          <a:pt x="116" y="5"/>
                          <a:pt x="113" y="9"/>
                          <a:pt x="109"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3" name="Group 82">
                  <a:extLst>
                    <a:ext uri="{FF2B5EF4-FFF2-40B4-BE49-F238E27FC236}">
                      <a16:creationId xmlns:a16="http://schemas.microsoft.com/office/drawing/2014/main" id="{1DA03CA8-3EED-4C24-8A40-571F00266CEB}"/>
                    </a:ext>
                  </a:extLst>
                </p:cNvPr>
                <p:cNvGrpSpPr/>
                <p:nvPr/>
              </p:nvGrpSpPr>
              <p:grpSpPr>
                <a:xfrm>
                  <a:off x="5715392" y="3937001"/>
                  <a:ext cx="869327" cy="649418"/>
                  <a:chOff x="5980113" y="4764088"/>
                  <a:chExt cx="2008187" cy="1500187"/>
                </a:xfrm>
              </p:grpSpPr>
              <p:sp>
                <p:nvSpPr>
                  <p:cNvPr id="89" name="Freeform 38">
                    <a:extLst>
                      <a:ext uri="{FF2B5EF4-FFF2-40B4-BE49-F238E27FC236}">
                        <a16:creationId xmlns:a16="http://schemas.microsoft.com/office/drawing/2014/main" id="{64C12BC2-110A-474D-BA37-AC3E0633911E}"/>
                      </a:ext>
                    </a:extLst>
                  </p:cNvPr>
                  <p:cNvSpPr>
                    <a:spLocks noEditPoints="1"/>
                  </p:cNvSpPr>
                  <p:nvPr/>
                </p:nvSpPr>
                <p:spPr bwMode="auto">
                  <a:xfrm>
                    <a:off x="6215063" y="4764088"/>
                    <a:ext cx="712787" cy="1423987"/>
                  </a:xfrm>
                  <a:custGeom>
                    <a:avLst/>
                    <a:gdLst>
                      <a:gd name="T0" fmla="*/ 104 w 1034"/>
                      <a:gd name="T1" fmla="*/ 0 h 2116"/>
                      <a:gd name="T2" fmla="*/ 104 w 1034"/>
                      <a:gd name="T3" fmla="*/ 0 h 2116"/>
                      <a:gd name="T4" fmla="*/ 31 w 1034"/>
                      <a:gd name="T5" fmla="*/ 30 h 2116"/>
                      <a:gd name="T6" fmla="*/ 0 w 1034"/>
                      <a:gd name="T7" fmla="*/ 104 h 2116"/>
                      <a:gd name="T8" fmla="*/ 0 w 1034"/>
                      <a:gd name="T9" fmla="*/ 1667 h 2116"/>
                      <a:gd name="T10" fmla="*/ 104 w 1034"/>
                      <a:gd name="T11" fmla="*/ 1771 h 2116"/>
                      <a:gd name="T12" fmla="*/ 1034 w 1034"/>
                      <a:gd name="T13" fmla="*/ 2116 h 2116"/>
                      <a:gd name="T14" fmla="*/ 1034 w 1034"/>
                      <a:gd name="T15" fmla="*/ 480 h 2116"/>
                      <a:gd name="T16" fmla="*/ 1020 w 1034"/>
                      <a:gd name="T17" fmla="*/ 427 h 2116"/>
                      <a:gd name="T18" fmla="*/ 104 w 1034"/>
                      <a:gd name="T19" fmla="*/ 0 h 2116"/>
                      <a:gd name="T20" fmla="*/ 104 w 1034"/>
                      <a:gd name="T21" fmla="*/ 0 h 2116"/>
                      <a:gd name="T22" fmla="*/ 104 w 1034"/>
                      <a:gd name="T23" fmla="*/ 0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2116">
                        <a:moveTo>
                          <a:pt x="104" y="0"/>
                        </a:moveTo>
                        <a:cubicBezTo>
                          <a:pt x="104" y="0"/>
                          <a:pt x="104" y="0"/>
                          <a:pt x="104" y="0"/>
                        </a:cubicBezTo>
                        <a:cubicBezTo>
                          <a:pt x="76" y="0"/>
                          <a:pt x="50" y="10"/>
                          <a:pt x="31" y="30"/>
                        </a:cubicBezTo>
                        <a:cubicBezTo>
                          <a:pt x="11" y="50"/>
                          <a:pt x="0" y="76"/>
                          <a:pt x="0" y="104"/>
                        </a:cubicBezTo>
                        <a:cubicBezTo>
                          <a:pt x="0" y="1667"/>
                          <a:pt x="0" y="1667"/>
                          <a:pt x="0" y="1667"/>
                        </a:cubicBezTo>
                        <a:cubicBezTo>
                          <a:pt x="0" y="1724"/>
                          <a:pt x="47" y="1771"/>
                          <a:pt x="104" y="1771"/>
                        </a:cubicBezTo>
                        <a:cubicBezTo>
                          <a:pt x="347" y="1772"/>
                          <a:pt x="754" y="1822"/>
                          <a:pt x="1034" y="2116"/>
                        </a:cubicBezTo>
                        <a:cubicBezTo>
                          <a:pt x="1034" y="480"/>
                          <a:pt x="1034" y="480"/>
                          <a:pt x="1034" y="480"/>
                        </a:cubicBezTo>
                        <a:cubicBezTo>
                          <a:pt x="1034" y="461"/>
                          <a:pt x="1029" y="442"/>
                          <a:pt x="1020" y="427"/>
                        </a:cubicBezTo>
                        <a:cubicBezTo>
                          <a:pt x="789" y="56"/>
                          <a:pt x="347" y="0"/>
                          <a:pt x="104" y="0"/>
                        </a:cubicBezTo>
                        <a:close/>
                        <a:moveTo>
                          <a:pt x="104" y="0"/>
                        </a:moveTo>
                        <a:cubicBezTo>
                          <a:pt x="104" y="0"/>
                          <a:pt x="104" y="0"/>
                          <a:pt x="10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9">
                    <a:extLst>
                      <a:ext uri="{FF2B5EF4-FFF2-40B4-BE49-F238E27FC236}">
                        <a16:creationId xmlns:a16="http://schemas.microsoft.com/office/drawing/2014/main" id="{8C3B1919-CC3C-4780-8D28-ABC198278FEB}"/>
                      </a:ext>
                    </a:extLst>
                  </p:cNvPr>
                  <p:cNvSpPr>
                    <a:spLocks noEditPoints="1"/>
                  </p:cNvSpPr>
                  <p:nvPr/>
                </p:nvSpPr>
                <p:spPr bwMode="auto">
                  <a:xfrm>
                    <a:off x="7038975" y="4764088"/>
                    <a:ext cx="712787" cy="1423987"/>
                  </a:xfrm>
                  <a:custGeom>
                    <a:avLst/>
                    <a:gdLst>
                      <a:gd name="T0" fmla="*/ 1034 w 1034"/>
                      <a:gd name="T1" fmla="*/ 1667 h 2116"/>
                      <a:gd name="T2" fmla="*/ 1034 w 1034"/>
                      <a:gd name="T3" fmla="*/ 104 h 2116"/>
                      <a:gd name="T4" fmla="*/ 1003 w 1034"/>
                      <a:gd name="T5" fmla="*/ 30 h 2116"/>
                      <a:gd name="T6" fmla="*/ 930 w 1034"/>
                      <a:gd name="T7" fmla="*/ 0 h 2116"/>
                      <a:gd name="T8" fmla="*/ 930 w 1034"/>
                      <a:gd name="T9" fmla="*/ 0 h 2116"/>
                      <a:gd name="T10" fmla="*/ 14 w 1034"/>
                      <a:gd name="T11" fmla="*/ 427 h 2116"/>
                      <a:gd name="T12" fmla="*/ 0 w 1034"/>
                      <a:gd name="T13" fmla="*/ 480 h 2116"/>
                      <a:gd name="T14" fmla="*/ 0 w 1034"/>
                      <a:gd name="T15" fmla="*/ 2116 h 2116"/>
                      <a:gd name="T16" fmla="*/ 930 w 1034"/>
                      <a:gd name="T17" fmla="*/ 1771 h 2116"/>
                      <a:gd name="T18" fmla="*/ 1034 w 1034"/>
                      <a:gd name="T19" fmla="*/ 1667 h 2116"/>
                      <a:gd name="T20" fmla="*/ 1034 w 1034"/>
                      <a:gd name="T21" fmla="*/ 1667 h 2116"/>
                      <a:gd name="T22" fmla="*/ 1034 w 1034"/>
                      <a:gd name="T23" fmla="*/ 1667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2116">
                        <a:moveTo>
                          <a:pt x="1034" y="1667"/>
                        </a:moveTo>
                        <a:cubicBezTo>
                          <a:pt x="1034" y="104"/>
                          <a:pt x="1034" y="104"/>
                          <a:pt x="1034" y="104"/>
                        </a:cubicBezTo>
                        <a:cubicBezTo>
                          <a:pt x="1034" y="76"/>
                          <a:pt x="1023" y="50"/>
                          <a:pt x="1003" y="30"/>
                        </a:cubicBezTo>
                        <a:cubicBezTo>
                          <a:pt x="984" y="10"/>
                          <a:pt x="958" y="0"/>
                          <a:pt x="930" y="0"/>
                        </a:cubicBezTo>
                        <a:cubicBezTo>
                          <a:pt x="930" y="0"/>
                          <a:pt x="930" y="0"/>
                          <a:pt x="930" y="0"/>
                        </a:cubicBezTo>
                        <a:cubicBezTo>
                          <a:pt x="687" y="0"/>
                          <a:pt x="244" y="56"/>
                          <a:pt x="14" y="427"/>
                        </a:cubicBezTo>
                        <a:cubicBezTo>
                          <a:pt x="5" y="442"/>
                          <a:pt x="0" y="461"/>
                          <a:pt x="0" y="480"/>
                        </a:cubicBezTo>
                        <a:cubicBezTo>
                          <a:pt x="0" y="2116"/>
                          <a:pt x="0" y="2116"/>
                          <a:pt x="0" y="2116"/>
                        </a:cubicBezTo>
                        <a:cubicBezTo>
                          <a:pt x="280" y="1822"/>
                          <a:pt x="687" y="1772"/>
                          <a:pt x="930" y="1771"/>
                        </a:cubicBezTo>
                        <a:cubicBezTo>
                          <a:pt x="987" y="1771"/>
                          <a:pt x="1034" y="1724"/>
                          <a:pt x="1034" y="1667"/>
                        </a:cubicBezTo>
                        <a:close/>
                        <a:moveTo>
                          <a:pt x="1034" y="1667"/>
                        </a:moveTo>
                        <a:cubicBezTo>
                          <a:pt x="1034" y="1667"/>
                          <a:pt x="1034" y="1667"/>
                          <a:pt x="1034" y="166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40">
                    <a:extLst>
                      <a:ext uri="{FF2B5EF4-FFF2-40B4-BE49-F238E27FC236}">
                        <a16:creationId xmlns:a16="http://schemas.microsoft.com/office/drawing/2014/main" id="{5DBB9CFD-DED7-4464-A209-DA53878B3C3F}"/>
                      </a:ext>
                    </a:extLst>
                  </p:cNvPr>
                  <p:cNvSpPr>
                    <a:spLocks noEditPoints="1"/>
                  </p:cNvSpPr>
                  <p:nvPr/>
                </p:nvSpPr>
                <p:spPr bwMode="auto">
                  <a:xfrm>
                    <a:off x="7138988" y="5006975"/>
                    <a:ext cx="849312" cy="1257300"/>
                  </a:xfrm>
                  <a:custGeom>
                    <a:avLst/>
                    <a:gdLst>
                      <a:gd name="T0" fmla="*/ 1127 w 1232"/>
                      <a:gd name="T1" fmla="*/ 0 h 1870"/>
                      <a:gd name="T2" fmla="*/ 1052 w 1232"/>
                      <a:gd name="T3" fmla="*/ 0 h 1870"/>
                      <a:gd name="T4" fmla="*/ 1052 w 1232"/>
                      <a:gd name="T5" fmla="*/ 1307 h 1870"/>
                      <a:gd name="T6" fmla="*/ 786 w 1232"/>
                      <a:gd name="T7" fmla="*/ 1573 h 1870"/>
                      <a:gd name="T8" fmla="*/ 0 w 1232"/>
                      <a:gd name="T9" fmla="*/ 1841 h 1870"/>
                      <a:gd name="T10" fmla="*/ 1104 w 1232"/>
                      <a:gd name="T11" fmla="*/ 1863 h 1870"/>
                      <a:gd name="T12" fmla="*/ 1192 w 1232"/>
                      <a:gd name="T13" fmla="*/ 1843 h 1870"/>
                      <a:gd name="T14" fmla="*/ 1232 w 1232"/>
                      <a:gd name="T15" fmla="*/ 1761 h 1870"/>
                      <a:gd name="T16" fmla="*/ 1232 w 1232"/>
                      <a:gd name="T17" fmla="*/ 104 h 1870"/>
                      <a:gd name="T18" fmla="*/ 1127 w 1232"/>
                      <a:gd name="T19" fmla="*/ 0 h 1870"/>
                      <a:gd name="T20" fmla="*/ 1127 w 1232"/>
                      <a:gd name="T21" fmla="*/ 0 h 1870"/>
                      <a:gd name="T22" fmla="*/ 1127 w 1232"/>
                      <a:gd name="T23" fmla="*/ 0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2" h="1870">
                        <a:moveTo>
                          <a:pt x="1127" y="0"/>
                        </a:moveTo>
                        <a:cubicBezTo>
                          <a:pt x="1052" y="0"/>
                          <a:pt x="1052" y="0"/>
                          <a:pt x="1052" y="0"/>
                        </a:cubicBezTo>
                        <a:cubicBezTo>
                          <a:pt x="1052" y="1307"/>
                          <a:pt x="1052" y="1307"/>
                          <a:pt x="1052" y="1307"/>
                        </a:cubicBezTo>
                        <a:cubicBezTo>
                          <a:pt x="1052" y="1453"/>
                          <a:pt x="932" y="1573"/>
                          <a:pt x="786" y="1573"/>
                        </a:cubicBezTo>
                        <a:cubicBezTo>
                          <a:pt x="580" y="1574"/>
                          <a:pt x="241" y="1614"/>
                          <a:pt x="0" y="1841"/>
                        </a:cubicBezTo>
                        <a:cubicBezTo>
                          <a:pt x="416" y="1740"/>
                          <a:pt x="854" y="1806"/>
                          <a:pt x="1104" y="1863"/>
                        </a:cubicBezTo>
                        <a:cubicBezTo>
                          <a:pt x="1135" y="1870"/>
                          <a:pt x="1167" y="1862"/>
                          <a:pt x="1192" y="1843"/>
                        </a:cubicBezTo>
                        <a:cubicBezTo>
                          <a:pt x="1217" y="1823"/>
                          <a:pt x="1232" y="1793"/>
                          <a:pt x="1232" y="1761"/>
                        </a:cubicBezTo>
                        <a:cubicBezTo>
                          <a:pt x="1232" y="104"/>
                          <a:pt x="1232" y="104"/>
                          <a:pt x="1232" y="104"/>
                        </a:cubicBezTo>
                        <a:cubicBezTo>
                          <a:pt x="1232" y="47"/>
                          <a:pt x="1185" y="0"/>
                          <a:pt x="1127" y="0"/>
                        </a:cubicBezTo>
                        <a:close/>
                        <a:moveTo>
                          <a:pt x="1127" y="0"/>
                        </a:moveTo>
                        <a:cubicBezTo>
                          <a:pt x="1127" y="0"/>
                          <a:pt x="1127" y="0"/>
                          <a:pt x="1127" y="0"/>
                        </a:cubicBezTo>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41">
                    <a:extLst>
                      <a:ext uri="{FF2B5EF4-FFF2-40B4-BE49-F238E27FC236}">
                        <a16:creationId xmlns:a16="http://schemas.microsoft.com/office/drawing/2014/main" id="{91C1505F-8C0D-4176-B4D2-8A2A2CA5DFA0}"/>
                      </a:ext>
                    </a:extLst>
                  </p:cNvPr>
                  <p:cNvSpPr>
                    <a:spLocks noEditPoints="1"/>
                  </p:cNvSpPr>
                  <p:nvPr/>
                </p:nvSpPr>
                <p:spPr bwMode="auto">
                  <a:xfrm>
                    <a:off x="5980113" y="5006975"/>
                    <a:ext cx="847725" cy="1257300"/>
                  </a:xfrm>
                  <a:custGeom>
                    <a:avLst/>
                    <a:gdLst>
                      <a:gd name="T0" fmla="*/ 180 w 1231"/>
                      <a:gd name="T1" fmla="*/ 1307 h 1870"/>
                      <a:gd name="T2" fmla="*/ 180 w 1231"/>
                      <a:gd name="T3" fmla="*/ 0 h 1870"/>
                      <a:gd name="T4" fmla="*/ 104 w 1231"/>
                      <a:gd name="T5" fmla="*/ 0 h 1870"/>
                      <a:gd name="T6" fmla="*/ 0 w 1231"/>
                      <a:gd name="T7" fmla="*/ 104 h 1870"/>
                      <a:gd name="T8" fmla="*/ 0 w 1231"/>
                      <a:gd name="T9" fmla="*/ 1761 h 1870"/>
                      <a:gd name="T10" fmla="*/ 39 w 1231"/>
                      <a:gd name="T11" fmla="*/ 1842 h 1870"/>
                      <a:gd name="T12" fmla="*/ 128 w 1231"/>
                      <a:gd name="T13" fmla="*/ 1863 h 1870"/>
                      <a:gd name="T14" fmla="*/ 1231 w 1231"/>
                      <a:gd name="T15" fmla="*/ 1841 h 1870"/>
                      <a:gd name="T16" fmla="*/ 446 w 1231"/>
                      <a:gd name="T17" fmla="*/ 1573 h 1870"/>
                      <a:gd name="T18" fmla="*/ 180 w 1231"/>
                      <a:gd name="T19" fmla="*/ 1307 h 1870"/>
                      <a:gd name="T20" fmla="*/ 180 w 1231"/>
                      <a:gd name="T21" fmla="*/ 1307 h 1870"/>
                      <a:gd name="T22" fmla="*/ 180 w 1231"/>
                      <a:gd name="T23" fmla="*/ 1307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1" h="1870">
                        <a:moveTo>
                          <a:pt x="180" y="1307"/>
                        </a:moveTo>
                        <a:cubicBezTo>
                          <a:pt x="180" y="0"/>
                          <a:pt x="180" y="0"/>
                          <a:pt x="180" y="0"/>
                        </a:cubicBezTo>
                        <a:cubicBezTo>
                          <a:pt x="104" y="0"/>
                          <a:pt x="104" y="0"/>
                          <a:pt x="104" y="0"/>
                        </a:cubicBezTo>
                        <a:cubicBezTo>
                          <a:pt x="47" y="0"/>
                          <a:pt x="0" y="47"/>
                          <a:pt x="0" y="104"/>
                        </a:cubicBezTo>
                        <a:cubicBezTo>
                          <a:pt x="0" y="1761"/>
                          <a:pt x="0" y="1761"/>
                          <a:pt x="0" y="1761"/>
                        </a:cubicBezTo>
                        <a:cubicBezTo>
                          <a:pt x="0" y="1793"/>
                          <a:pt x="15" y="1823"/>
                          <a:pt x="39" y="1842"/>
                        </a:cubicBezTo>
                        <a:cubicBezTo>
                          <a:pt x="64" y="1862"/>
                          <a:pt x="97" y="1870"/>
                          <a:pt x="128" y="1863"/>
                        </a:cubicBezTo>
                        <a:cubicBezTo>
                          <a:pt x="378" y="1806"/>
                          <a:pt x="816" y="1740"/>
                          <a:pt x="1231" y="1841"/>
                        </a:cubicBezTo>
                        <a:cubicBezTo>
                          <a:pt x="991" y="1614"/>
                          <a:pt x="652" y="1574"/>
                          <a:pt x="446" y="1573"/>
                        </a:cubicBezTo>
                        <a:cubicBezTo>
                          <a:pt x="299" y="1573"/>
                          <a:pt x="180" y="1453"/>
                          <a:pt x="180" y="1307"/>
                        </a:cubicBezTo>
                        <a:close/>
                        <a:moveTo>
                          <a:pt x="180" y="1307"/>
                        </a:moveTo>
                        <a:cubicBezTo>
                          <a:pt x="180" y="1307"/>
                          <a:pt x="180" y="1307"/>
                          <a:pt x="180" y="1307"/>
                        </a:cubicBezTo>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a:extLst>
                    <a:ext uri="{FF2B5EF4-FFF2-40B4-BE49-F238E27FC236}">
                      <a16:creationId xmlns:a16="http://schemas.microsoft.com/office/drawing/2014/main" id="{56DC6889-747C-44CB-9D1B-AD6BFA96FC36}"/>
                    </a:ext>
                  </a:extLst>
                </p:cNvPr>
                <p:cNvGrpSpPr/>
                <p:nvPr/>
              </p:nvGrpSpPr>
              <p:grpSpPr>
                <a:xfrm rot="18110906">
                  <a:off x="5340723" y="3697284"/>
                  <a:ext cx="363293" cy="319888"/>
                  <a:chOff x="3187700" y="4772026"/>
                  <a:chExt cx="1328738" cy="1169986"/>
                </a:xfrm>
              </p:grpSpPr>
              <p:sp>
                <p:nvSpPr>
                  <p:cNvPr id="85" name="Freeform 45">
                    <a:extLst>
                      <a:ext uri="{FF2B5EF4-FFF2-40B4-BE49-F238E27FC236}">
                        <a16:creationId xmlns:a16="http://schemas.microsoft.com/office/drawing/2014/main" id="{7375BED9-C8DA-4108-B2CD-CA54CD8DCB57}"/>
                      </a:ext>
                    </a:extLst>
                  </p:cNvPr>
                  <p:cNvSpPr>
                    <a:spLocks/>
                  </p:cNvSpPr>
                  <p:nvPr/>
                </p:nvSpPr>
                <p:spPr bwMode="auto">
                  <a:xfrm>
                    <a:off x="3187700" y="4772026"/>
                    <a:ext cx="1328738" cy="474662"/>
                  </a:xfrm>
                  <a:custGeom>
                    <a:avLst/>
                    <a:gdLst>
                      <a:gd name="T0" fmla="*/ 621 w 683"/>
                      <a:gd name="T1" fmla="*/ 250 h 250"/>
                      <a:gd name="T2" fmla="*/ 62 w 683"/>
                      <a:gd name="T3" fmla="*/ 250 h 250"/>
                      <a:gd name="T4" fmla="*/ 0 w 683"/>
                      <a:gd name="T5" fmla="*/ 188 h 250"/>
                      <a:gd name="T6" fmla="*/ 683 w 683"/>
                      <a:gd name="T7" fmla="*/ 188 h 250"/>
                      <a:gd name="T8" fmla="*/ 621 w 683"/>
                      <a:gd name="T9" fmla="*/ 250 h 250"/>
                    </a:gdLst>
                    <a:ahLst/>
                    <a:cxnLst>
                      <a:cxn ang="0">
                        <a:pos x="T0" y="T1"/>
                      </a:cxn>
                      <a:cxn ang="0">
                        <a:pos x="T2" y="T3"/>
                      </a:cxn>
                      <a:cxn ang="0">
                        <a:pos x="T4" y="T5"/>
                      </a:cxn>
                      <a:cxn ang="0">
                        <a:pos x="T6" y="T7"/>
                      </a:cxn>
                      <a:cxn ang="0">
                        <a:pos x="T8" y="T9"/>
                      </a:cxn>
                    </a:cxnLst>
                    <a:rect l="0" t="0" r="r" b="b"/>
                    <a:pathLst>
                      <a:path w="683" h="250">
                        <a:moveTo>
                          <a:pt x="621" y="250"/>
                        </a:moveTo>
                        <a:cubicBezTo>
                          <a:pt x="467" y="96"/>
                          <a:pt x="216" y="96"/>
                          <a:pt x="62" y="250"/>
                        </a:cubicBezTo>
                        <a:cubicBezTo>
                          <a:pt x="0" y="188"/>
                          <a:pt x="0" y="188"/>
                          <a:pt x="0" y="188"/>
                        </a:cubicBezTo>
                        <a:cubicBezTo>
                          <a:pt x="189" y="0"/>
                          <a:pt x="494" y="0"/>
                          <a:pt x="683" y="188"/>
                        </a:cubicBezTo>
                        <a:lnTo>
                          <a:pt x="621" y="250"/>
                        </a:ln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46">
                    <a:extLst>
                      <a:ext uri="{FF2B5EF4-FFF2-40B4-BE49-F238E27FC236}">
                        <a16:creationId xmlns:a16="http://schemas.microsoft.com/office/drawing/2014/main" id="{F88F66BA-2FAC-49D3-B635-92A3635CA952}"/>
                      </a:ext>
                    </a:extLst>
                  </p:cNvPr>
                  <p:cNvSpPr>
                    <a:spLocks/>
                  </p:cNvSpPr>
                  <p:nvPr/>
                </p:nvSpPr>
                <p:spPr bwMode="auto">
                  <a:xfrm>
                    <a:off x="3368675" y="5045075"/>
                    <a:ext cx="966788" cy="377825"/>
                  </a:xfrm>
                  <a:custGeom>
                    <a:avLst/>
                    <a:gdLst>
                      <a:gd name="T0" fmla="*/ 497 w 497"/>
                      <a:gd name="T1" fmla="*/ 137 h 199"/>
                      <a:gd name="T2" fmla="*/ 435 w 497"/>
                      <a:gd name="T3" fmla="*/ 199 h 199"/>
                      <a:gd name="T4" fmla="*/ 62 w 497"/>
                      <a:gd name="T5" fmla="*/ 199 h 199"/>
                      <a:gd name="T6" fmla="*/ 0 w 497"/>
                      <a:gd name="T7" fmla="*/ 137 h 199"/>
                      <a:gd name="T8" fmla="*/ 497 w 497"/>
                      <a:gd name="T9" fmla="*/ 137 h 199"/>
                    </a:gdLst>
                    <a:ahLst/>
                    <a:cxnLst>
                      <a:cxn ang="0">
                        <a:pos x="T0" y="T1"/>
                      </a:cxn>
                      <a:cxn ang="0">
                        <a:pos x="T2" y="T3"/>
                      </a:cxn>
                      <a:cxn ang="0">
                        <a:pos x="T4" y="T5"/>
                      </a:cxn>
                      <a:cxn ang="0">
                        <a:pos x="T6" y="T7"/>
                      </a:cxn>
                      <a:cxn ang="0">
                        <a:pos x="T8" y="T9"/>
                      </a:cxn>
                    </a:cxnLst>
                    <a:rect l="0" t="0" r="r" b="b"/>
                    <a:pathLst>
                      <a:path w="497" h="199">
                        <a:moveTo>
                          <a:pt x="497" y="137"/>
                        </a:moveTo>
                        <a:cubicBezTo>
                          <a:pt x="435" y="199"/>
                          <a:pt x="435" y="199"/>
                          <a:pt x="435" y="199"/>
                        </a:cubicBezTo>
                        <a:cubicBezTo>
                          <a:pt x="332" y="96"/>
                          <a:pt x="165" y="96"/>
                          <a:pt x="62" y="199"/>
                        </a:cubicBezTo>
                        <a:cubicBezTo>
                          <a:pt x="0" y="137"/>
                          <a:pt x="0" y="137"/>
                          <a:pt x="0" y="137"/>
                        </a:cubicBezTo>
                        <a:cubicBezTo>
                          <a:pt x="137" y="0"/>
                          <a:pt x="360" y="0"/>
                          <a:pt x="497" y="137"/>
                        </a:cubicBezTo>
                      </a:path>
                    </a:pathLst>
                  </a:custGeom>
                  <a:solidFill>
                    <a:srgbClr val="0F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7">
                    <a:extLst>
                      <a:ext uri="{FF2B5EF4-FFF2-40B4-BE49-F238E27FC236}">
                        <a16:creationId xmlns:a16="http://schemas.microsoft.com/office/drawing/2014/main" id="{991CA0AC-B33F-4F7A-A1A7-6541C16E7DC6}"/>
                      </a:ext>
                    </a:extLst>
                  </p:cNvPr>
                  <p:cNvSpPr>
                    <a:spLocks/>
                  </p:cNvSpPr>
                  <p:nvPr/>
                </p:nvSpPr>
                <p:spPr bwMode="auto">
                  <a:xfrm>
                    <a:off x="3549650" y="5319713"/>
                    <a:ext cx="604838" cy="279400"/>
                  </a:xfrm>
                  <a:custGeom>
                    <a:avLst/>
                    <a:gdLst>
                      <a:gd name="T0" fmla="*/ 311 w 311"/>
                      <a:gd name="T1" fmla="*/ 85 h 147"/>
                      <a:gd name="T2" fmla="*/ 249 w 311"/>
                      <a:gd name="T3" fmla="*/ 147 h 147"/>
                      <a:gd name="T4" fmla="*/ 62 w 311"/>
                      <a:gd name="T5" fmla="*/ 147 h 147"/>
                      <a:gd name="T6" fmla="*/ 0 w 311"/>
                      <a:gd name="T7" fmla="*/ 85 h 147"/>
                      <a:gd name="T8" fmla="*/ 311 w 311"/>
                      <a:gd name="T9" fmla="*/ 85 h 147"/>
                    </a:gdLst>
                    <a:ahLst/>
                    <a:cxnLst>
                      <a:cxn ang="0">
                        <a:pos x="T0" y="T1"/>
                      </a:cxn>
                      <a:cxn ang="0">
                        <a:pos x="T2" y="T3"/>
                      </a:cxn>
                      <a:cxn ang="0">
                        <a:pos x="T4" y="T5"/>
                      </a:cxn>
                      <a:cxn ang="0">
                        <a:pos x="T6" y="T7"/>
                      </a:cxn>
                      <a:cxn ang="0">
                        <a:pos x="T8" y="T9"/>
                      </a:cxn>
                    </a:cxnLst>
                    <a:rect l="0" t="0" r="r" b="b"/>
                    <a:pathLst>
                      <a:path w="311" h="147">
                        <a:moveTo>
                          <a:pt x="311" y="85"/>
                        </a:moveTo>
                        <a:cubicBezTo>
                          <a:pt x="249" y="147"/>
                          <a:pt x="249" y="147"/>
                          <a:pt x="249" y="147"/>
                        </a:cubicBezTo>
                        <a:cubicBezTo>
                          <a:pt x="197" y="96"/>
                          <a:pt x="114" y="96"/>
                          <a:pt x="62" y="147"/>
                        </a:cubicBezTo>
                        <a:cubicBezTo>
                          <a:pt x="0" y="85"/>
                          <a:pt x="0" y="85"/>
                          <a:pt x="0" y="85"/>
                        </a:cubicBezTo>
                        <a:cubicBezTo>
                          <a:pt x="86" y="0"/>
                          <a:pt x="225" y="0"/>
                          <a:pt x="311" y="85"/>
                        </a:cubicBezTo>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48">
                    <a:extLst>
                      <a:ext uri="{FF2B5EF4-FFF2-40B4-BE49-F238E27FC236}">
                        <a16:creationId xmlns:a16="http://schemas.microsoft.com/office/drawing/2014/main" id="{453FC421-5199-4D50-B1DF-8BB76DBC4DA2}"/>
                      </a:ext>
                    </a:extLst>
                  </p:cNvPr>
                  <p:cNvSpPr>
                    <a:spLocks noChangeArrowheads="1"/>
                  </p:cNvSpPr>
                  <p:nvPr/>
                </p:nvSpPr>
                <p:spPr bwMode="auto">
                  <a:xfrm>
                    <a:off x="3681413" y="5610225"/>
                    <a:ext cx="341313" cy="33178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 name="Group 76">
                <a:extLst>
                  <a:ext uri="{FF2B5EF4-FFF2-40B4-BE49-F238E27FC236}">
                    <a16:creationId xmlns:a16="http://schemas.microsoft.com/office/drawing/2014/main" id="{EBBEB1AE-B33F-4837-8DEE-4F05111EA5A1}"/>
                  </a:ext>
                </a:extLst>
              </p:cNvPr>
              <p:cNvGrpSpPr/>
              <p:nvPr/>
            </p:nvGrpSpPr>
            <p:grpSpPr>
              <a:xfrm>
                <a:off x="6451157" y="3501390"/>
                <a:ext cx="127826" cy="217424"/>
                <a:chOff x="6173788" y="4449763"/>
                <a:chExt cx="339725" cy="577850"/>
              </a:xfrm>
            </p:grpSpPr>
            <p:sp>
              <p:nvSpPr>
                <p:cNvPr id="78" name="Freeform 33">
                  <a:extLst>
                    <a:ext uri="{FF2B5EF4-FFF2-40B4-BE49-F238E27FC236}">
                      <a16:creationId xmlns:a16="http://schemas.microsoft.com/office/drawing/2014/main" id="{C44BCF28-4B6A-4E95-8B7B-6C9C2005F78A}"/>
                    </a:ext>
                  </a:extLst>
                </p:cNvPr>
                <p:cNvSpPr>
                  <a:spLocks/>
                </p:cNvSpPr>
                <p:nvPr/>
              </p:nvSpPr>
              <p:spPr bwMode="auto">
                <a:xfrm>
                  <a:off x="6173788" y="4449763"/>
                  <a:ext cx="339725" cy="577850"/>
                </a:xfrm>
                <a:custGeom>
                  <a:avLst/>
                  <a:gdLst>
                    <a:gd name="T0" fmla="*/ 37 w 52"/>
                    <a:gd name="T1" fmla="*/ 1 h 93"/>
                    <a:gd name="T2" fmla="*/ 14 w 52"/>
                    <a:gd name="T3" fmla="*/ 1 h 93"/>
                    <a:gd name="T4" fmla="*/ 0 w 52"/>
                    <a:gd name="T5" fmla="*/ 18 h 93"/>
                    <a:gd name="T6" fmla="*/ 0 w 52"/>
                    <a:gd name="T7" fmla="*/ 25 h 93"/>
                    <a:gd name="T8" fmla="*/ 1 w 52"/>
                    <a:gd name="T9" fmla="*/ 90 h 93"/>
                    <a:gd name="T10" fmla="*/ 37 w 52"/>
                    <a:gd name="T11" fmla="*/ 92 h 93"/>
                    <a:gd name="T12" fmla="*/ 52 w 52"/>
                    <a:gd name="T13" fmla="*/ 76 h 93"/>
                    <a:gd name="T14" fmla="*/ 52 w 52"/>
                    <a:gd name="T15" fmla="*/ 14 h 93"/>
                    <a:gd name="T16" fmla="*/ 37 w 52"/>
                    <a:gd name="T17"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93">
                      <a:moveTo>
                        <a:pt x="37" y="1"/>
                      </a:moveTo>
                      <a:cubicBezTo>
                        <a:pt x="28" y="0"/>
                        <a:pt x="21" y="1"/>
                        <a:pt x="14" y="1"/>
                      </a:cubicBezTo>
                      <a:cubicBezTo>
                        <a:pt x="3" y="2"/>
                        <a:pt x="0" y="7"/>
                        <a:pt x="0" y="18"/>
                      </a:cubicBezTo>
                      <a:cubicBezTo>
                        <a:pt x="0" y="25"/>
                        <a:pt x="0" y="25"/>
                        <a:pt x="0" y="25"/>
                      </a:cubicBezTo>
                      <a:cubicBezTo>
                        <a:pt x="1" y="36"/>
                        <a:pt x="2" y="78"/>
                        <a:pt x="1" y="90"/>
                      </a:cubicBezTo>
                      <a:cubicBezTo>
                        <a:pt x="4" y="91"/>
                        <a:pt x="25" y="93"/>
                        <a:pt x="37" y="92"/>
                      </a:cubicBezTo>
                      <a:cubicBezTo>
                        <a:pt x="47" y="91"/>
                        <a:pt x="52" y="89"/>
                        <a:pt x="52" y="76"/>
                      </a:cubicBezTo>
                      <a:cubicBezTo>
                        <a:pt x="52" y="14"/>
                        <a:pt x="52" y="14"/>
                        <a:pt x="52" y="14"/>
                      </a:cubicBezTo>
                      <a:cubicBezTo>
                        <a:pt x="52" y="3"/>
                        <a:pt x="48" y="1"/>
                        <a:pt x="37" y="1"/>
                      </a:cubicBezTo>
                    </a:path>
                  </a:pathLst>
                </a:custGeom>
                <a:solidFill>
                  <a:srgbClr val="0F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4">
                  <a:extLst>
                    <a:ext uri="{FF2B5EF4-FFF2-40B4-BE49-F238E27FC236}">
                      <a16:creationId xmlns:a16="http://schemas.microsoft.com/office/drawing/2014/main" id="{2EBA58BC-9213-4E99-8F87-13FB7C4EB5CC}"/>
                    </a:ext>
                  </a:extLst>
                </p:cNvPr>
                <p:cNvSpPr>
                  <a:spLocks/>
                </p:cNvSpPr>
                <p:nvPr/>
              </p:nvSpPr>
              <p:spPr bwMode="auto">
                <a:xfrm>
                  <a:off x="6200776" y="4511676"/>
                  <a:ext cx="280988" cy="396875"/>
                </a:xfrm>
                <a:custGeom>
                  <a:avLst/>
                  <a:gdLst>
                    <a:gd name="T0" fmla="*/ 43 w 43"/>
                    <a:gd name="T1" fmla="*/ 64 h 64"/>
                    <a:gd name="T2" fmla="*/ 2 w 43"/>
                    <a:gd name="T3" fmla="*/ 63 h 64"/>
                    <a:gd name="T4" fmla="*/ 1 w 43"/>
                    <a:gd name="T5" fmla="*/ 2 h 64"/>
                    <a:gd name="T6" fmla="*/ 43 w 43"/>
                    <a:gd name="T7" fmla="*/ 1 h 64"/>
                    <a:gd name="T8" fmla="*/ 43 w 43"/>
                    <a:gd name="T9" fmla="*/ 64 h 64"/>
                  </a:gdLst>
                  <a:ahLst/>
                  <a:cxnLst>
                    <a:cxn ang="0">
                      <a:pos x="T0" y="T1"/>
                    </a:cxn>
                    <a:cxn ang="0">
                      <a:pos x="T2" y="T3"/>
                    </a:cxn>
                    <a:cxn ang="0">
                      <a:pos x="T4" y="T5"/>
                    </a:cxn>
                    <a:cxn ang="0">
                      <a:pos x="T6" y="T7"/>
                    </a:cxn>
                    <a:cxn ang="0">
                      <a:pos x="T8" y="T9"/>
                    </a:cxn>
                  </a:cxnLst>
                  <a:rect l="0" t="0" r="r" b="b"/>
                  <a:pathLst>
                    <a:path w="43" h="64">
                      <a:moveTo>
                        <a:pt x="43" y="64"/>
                      </a:moveTo>
                      <a:cubicBezTo>
                        <a:pt x="2" y="63"/>
                        <a:pt x="2" y="63"/>
                        <a:pt x="2" y="63"/>
                      </a:cubicBezTo>
                      <a:cubicBezTo>
                        <a:pt x="2" y="63"/>
                        <a:pt x="0" y="23"/>
                        <a:pt x="1" y="2"/>
                      </a:cubicBezTo>
                      <a:cubicBezTo>
                        <a:pt x="14" y="0"/>
                        <a:pt x="31" y="0"/>
                        <a:pt x="43" y="1"/>
                      </a:cubicBezTo>
                      <a:cubicBezTo>
                        <a:pt x="43" y="30"/>
                        <a:pt x="43" y="64"/>
                        <a:pt x="4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4" name="Text Placeholder 3">
            <a:extLst>
              <a:ext uri="{FF2B5EF4-FFF2-40B4-BE49-F238E27FC236}">
                <a16:creationId xmlns:a16="http://schemas.microsoft.com/office/drawing/2014/main" id="{942FACA2-8FCD-4118-B243-2C469E41FFAA}"/>
              </a:ext>
            </a:extLst>
          </p:cNvPr>
          <p:cNvSpPr>
            <a:spLocks noGrp="1"/>
          </p:cNvSpPr>
          <p:nvPr>
            <p:ph type="body" sz="quarter" idx="10"/>
          </p:nvPr>
        </p:nvSpPr>
        <p:spPr>
          <a:xfrm>
            <a:off x="685191" y="1935480"/>
            <a:ext cx="2394327" cy="573455"/>
          </a:xfrm>
        </p:spPr>
        <p:txBody>
          <a:bodyPr>
            <a:normAutofit/>
          </a:bodyPr>
          <a:lstStyle>
            <a:lvl1pPr>
              <a:defRPr kumimoji="0" lang="en-US" sz="1600" b="1"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4" name="Text Placeholder 3">
            <a:extLst>
              <a:ext uri="{FF2B5EF4-FFF2-40B4-BE49-F238E27FC236}">
                <a16:creationId xmlns:a16="http://schemas.microsoft.com/office/drawing/2014/main" id="{10FD5029-8786-41F7-A68E-88957D2EEF30}"/>
              </a:ext>
            </a:extLst>
          </p:cNvPr>
          <p:cNvSpPr>
            <a:spLocks noGrp="1"/>
          </p:cNvSpPr>
          <p:nvPr>
            <p:ph type="body" sz="quarter" idx="11"/>
          </p:nvPr>
        </p:nvSpPr>
        <p:spPr>
          <a:xfrm>
            <a:off x="685191" y="2697480"/>
            <a:ext cx="2394327" cy="573455"/>
          </a:xfrm>
        </p:spPr>
        <p:txBody>
          <a:bodyPr>
            <a:normAutofit/>
          </a:bodyPr>
          <a:lstStyle>
            <a:lvl1pPr>
              <a:defRPr kumimoji="0" lang="en-US" sz="1100" b="0"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5" name="Text Placeholder 3">
            <a:extLst>
              <a:ext uri="{FF2B5EF4-FFF2-40B4-BE49-F238E27FC236}">
                <a16:creationId xmlns:a16="http://schemas.microsoft.com/office/drawing/2014/main" id="{91AA38E4-FE47-4A9A-B8F2-943FEEB4BD06}"/>
              </a:ext>
            </a:extLst>
          </p:cNvPr>
          <p:cNvSpPr>
            <a:spLocks noGrp="1"/>
          </p:cNvSpPr>
          <p:nvPr>
            <p:ph type="body" sz="quarter" idx="12"/>
          </p:nvPr>
        </p:nvSpPr>
        <p:spPr>
          <a:xfrm>
            <a:off x="685191" y="3469640"/>
            <a:ext cx="2394327" cy="573455"/>
          </a:xfrm>
        </p:spPr>
        <p:txBody>
          <a:bodyPr>
            <a:normAutofit/>
          </a:bodyPr>
          <a:lstStyle>
            <a:lvl1pPr>
              <a:defRPr kumimoji="0" lang="en-US" sz="1600" b="1"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6" name="Text Placeholder 3">
            <a:extLst>
              <a:ext uri="{FF2B5EF4-FFF2-40B4-BE49-F238E27FC236}">
                <a16:creationId xmlns:a16="http://schemas.microsoft.com/office/drawing/2014/main" id="{A1E6B270-8B48-4041-B696-AC8AE335C3D5}"/>
              </a:ext>
            </a:extLst>
          </p:cNvPr>
          <p:cNvSpPr>
            <a:spLocks noGrp="1"/>
          </p:cNvSpPr>
          <p:nvPr>
            <p:ph type="body" sz="quarter" idx="13"/>
          </p:nvPr>
        </p:nvSpPr>
        <p:spPr>
          <a:xfrm>
            <a:off x="685191" y="4201160"/>
            <a:ext cx="2394327" cy="573455"/>
          </a:xfrm>
        </p:spPr>
        <p:txBody>
          <a:bodyPr>
            <a:normAutofit/>
          </a:bodyPr>
          <a:lstStyle>
            <a:lvl1pPr>
              <a:defRPr kumimoji="0" lang="en-US" sz="1600" b="1"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7" name="Text Placeholder 3">
            <a:extLst>
              <a:ext uri="{FF2B5EF4-FFF2-40B4-BE49-F238E27FC236}">
                <a16:creationId xmlns:a16="http://schemas.microsoft.com/office/drawing/2014/main" id="{97AC09C2-0BB4-45CA-9397-7B1B0E1D2A85}"/>
              </a:ext>
            </a:extLst>
          </p:cNvPr>
          <p:cNvSpPr>
            <a:spLocks noGrp="1"/>
          </p:cNvSpPr>
          <p:nvPr>
            <p:ph type="body" sz="quarter" idx="14"/>
          </p:nvPr>
        </p:nvSpPr>
        <p:spPr>
          <a:xfrm>
            <a:off x="685191" y="487172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8" name="Text Placeholder 3">
            <a:extLst>
              <a:ext uri="{FF2B5EF4-FFF2-40B4-BE49-F238E27FC236}">
                <a16:creationId xmlns:a16="http://schemas.microsoft.com/office/drawing/2014/main" id="{D3896FE5-52E3-4090-9821-E4BD8EE55BD3}"/>
              </a:ext>
            </a:extLst>
          </p:cNvPr>
          <p:cNvSpPr>
            <a:spLocks noGrp="1"/>
          </p:cNvSpPr>
          <p:nvPr>
            <p:ph type="body" sz="quarter" idx="15"/>
          </p:nvPr>
        </p:nvSpPr>
        <p:spPr>
          <a:xfrm>
            <a:off x="685191" y="553212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9" name="Text Placeholder 3">
            <a:extLst>
              <a:ext uri="{FF2B5EF4-FFF2-40B4-BE49-F238E27FC236}">
                <a16:creationId xmlns:a16="http://schemas.microsoft.com/office/drawing/2014/main" id="{78A5DDDF-E29B-43F4-B767-82244D8B70E4}"/>
              </a:ext>
            </a:extLst>
          </p:cNvPr>
          <p:cNvSpPr>
            <a:spLocks noGrp="1"/>
          </p:cNvSpPr>
          <p:nvPr>
            <p:ph type="body" sz="quarter" idx="16"/>
          </p:nvPr>
        </p:nvSpPr>
        <p:spPr>
          <a:xfrm>
            <a:off x="9229751" y="1833880"/>
            <a:ext cx="2394327" cy="573455"/>
          </a:xfrm>
        </p:spPr>
        <p:txBody>
          <a:bodyPr>
            <a:normAutofit/>
          </a:bodyPr>
          <a:lstStyle>
            <a:lvl1pPr>
              <a:defRPr kumimoji="0" lang="en-US" sz="1600" b="1"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20" name="Text Placeholder 3">
            <a:extLst>
              <a:ext uri="{FF2B5EF4-FFF2-40B4-BE49-F238E27FC236}">
                <a16:creationId xmlns:a16="http://schemas.microsoft.com/office/drawing/2014/main" id="{70281BFA-7D92-4F60-95C8-BF963DAAF50D}"/>
              </a:ext>
            </a:extLst>
          </p:cNvPr>
          <p:cNvSpPr>
            <a:spLocks noGrp="1"/>
          </p:cNvSpPr>
          <p:nvPr>
            <p:ph type="body" sz="quarter" idx="17"/>
          </p:nvPr>
        </p:nvSpPr>
        <p:spPr>
          <a:xfrm>
            <a:off x="9229751" y="2616200"/>
            <a:ext cx="2394327" cy="573455"/>
          </a:xfrm>
        </p:spPr>
        <p:txBody>
          <a:bodyPr>
            <a:normAutofit/>
          </a:bodyPr>
          <a:lstStyle>
            <a:lvl1pPr>
              <a:defRPr kumimoji="0" lang="en-US" sz="1100" b="0"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21" name="Text Placeholder 3">
            <a:extLst>
              <a:ext uri="{FF2B5EF4-FFF2-40B4-BE49-F238E27FC236}">
                <a16:creationId xmlns:a16="http://schemas.microsoft.com/office/drawing/2014/main" id="{3E51419D-18A2-450A-BC71-6F52CD51F374}"/>
              </a:ext>
            </a:extLst>
          </p:cNvPr>
          <p:cNvSpPr>
            <a:spLocks noGrp="1"/>
          </p:cNvSpPr>
          <p:nvPr>
            <p:ph type="body" sz="quarter" idx="18"/>
          </p:nvPr>
        </p:nvSpPr>
        <p:spPr>
          <a:xfrm>
            <a:off x="9229751" y="4029050"/>
            <a:ext cx="2394327" cy="573455"/>
          </a:xfrm>
        </p:spPr>
        <p:txBody>
          <a:bodyPr>
            <a:normAutofit/>
          </a:bodyPr>
          <a:lstStyle>
            <a:lvl1pPr>
              <a:defRPr kumimoji="0" lang="en-US" sz="1600" b="1"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22" name="Text Placeholder 3">
            <a:extLst>
              <a:ext uri="{FF2B5EF4-FFF2-40B4-BE49-F238E27FC236}">
                <a16:creationId xmlns:a16="http://schemas.microsoft.com/office/drawing/2014/main" id="{B6E2B090-F9AA-43B9-89A0-021B6EE4E99A}"/>
              </a:ext>
            </a:extLst>
          </p:cNvPr>
          <p:cNvSpPr>
            <a:spLocks noGrp="1"/>
          </p:cNvSpPr>
          <p:nvPr>
            <p:ph type="body" sz="quarter" idx="19"/>
          </p:nvPr>
        </p:nvSpPr>
        <p:spPr>
          <a:xfrm>
            <a:off x="9229751" y="4750410"/>
            <a:ext cx="2394327" cy="573455"/>
          </a:xfrm>
        </p:spPr>
        <p:txBody>
          <a:bodyPr>
            <a:normAutofit/>
          </a:bodyPr>
          <a:lstStyle>
            <a:lvl1pPr>
              <a:defRPr kumimoji="0" lang="en-US" sz="1600" b="1" i="0" u="none" strike="noStrike" kern="0" cap="none" spc="0" normalizeH="0" baseline="0" dirty="0" smtClean="0">
                <a:ln>
                  <a:noFill/>
                </a:ln>
                <a:solidFill>
                  <a:srgbClr val="15636B"/>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23" name="Text Placeholder 3">
            <a:extLst>
              <a:ext uri="{FF2B5EF4-FFF2-40B4-BE49-F238E27FC236}">
                <a16:creationId xmlns:a16="http://schemas.microsoft.com/office/drawing/2014/main" id="{231B719F-7876-43E9-88A8-50ADC82EE5ED}"/>
              </a:ext>
            </a:extLst>
          </p:cNvPr>
          <p:cNvSpPr>
            <a:spLocks noGrp="1"/>
          </p:cNvSpPr>
          <p:nvPr>
            <p:ph type="body" sz="quarter" idx="20"/>
          </p:nvPr>
        </p:nvSpPr>
        <p:spPr>
          <a:xfrm>
            <a:off x="9229751" y="542097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Tree>
    <p:extLst>
      <p:ext uri="{BB962C8B-B14F-4D97-AF65-F5344CB8AC3E}">
        <p14:creationId xmlns:p14="http://schemas.microsoft.com/office/powerpoint/2010/main" val="2059405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53" name="Rectangle 18">
            <a:extLst>
              <a:ext uri="{FF2B5EF4-FFF2-40B4-BE49-F238E27FC236}">
                <a16:creationId xmlns:a16="http://schemas.microsoft.com/office/drawing/2014/main" id="{227D52D4-2688-4A4D-9277-0AA150DFD938}"/>
              </a:ext>
            </a:extLst>
          </p:cNvPr>
          <p:cNvSpPr/>
          <p:nvPr userDrawn="1"/>
        </p:nvSpPr>
        <p:spPr>
          <a:xfrm>
            <a:off x="641866" y="3032018"/>
            <a:ext cx="2493099" cy="743853"/>
          </a:xfrm>
          <a:prstGeom prst="rect">
            <a:avLst/>
          </a:prstGeom>
          <a:solidFill>
            <a:srgbClr val="860864">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9E3DE42F-62EB-4C1E-91F3-C2E0DF930D19}"/>
              </a:ext>
            </a:extLst>
          </p:cNvPr>
          <p:cNvSpPr/>
          <p:nvPr userDrawn="1"/>
        </p:nvSpPr>
        <p:spPr>
          <a:xfrm>
            <a:off x="641866" y="3774411"/>
            <a:ext cx="2493099" cy="668051"/>
          </a:xfrm>
          <a:prstGeom prst="rect">
            <a:avLst/>
          </a:prstGeom>
          <a:solidFill>
            <a:srgbClr val="860864">
              <a:alpha val="69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1C7C294D-A75C-42EA-A120-EC2EC5AC4A1C}"/>
              </a:ext>
            </a:extLst>
          </p:cNvPr>
          <p:cNvSpPr/>
          <p:nvPr userDrawn="1"/>
        </p:nvSpPr>
        <p:spPr>
          <a:xfrm>
            <a:off x="641866" y="2274178"/>
            <a:ext cx="2493099" cy="768749"/>
          </a:xfrm>
          <a:prstGeom prst="rect">
            <a:avLst/>
          </a:prstGeom>
          <a:solidFill>
            <a:srgbClr val="860864">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D991D24A-F216-46A0-A2CE-0F89D7D18464}"/>
              </a:ext>
            </a:extLst>
          </p:cNvPr>
          <p:cNvSpPr/>
          <p:nvPr userDrawn="1"/>
        </p:nvSpPr>
        <p:spPr>
          <a:xfrm>
            <a:off x="641866" y="4442462"/>
            <a:ext cx="2493099" cy="668051"/>
          </a:xfrm>
          <a:prstGeom prst="rect">
            <a:avLst/>
          </a:prstGeom>
          <a:solidFill>
            <a:srgbClr val="860864"/>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942FACA2-8FCD-4118-B243-2C469E41FFAA}"/>
              </a:ext>
            </a:extLst>
          </p:cNvPr>
          <p:cNvSpPr>
            <a:spLocks noGrp="1"/>
          </p:cNvSpPr>
          <p:nvPr>
            <p:ph type="body" sz="quarter" idx="10"/>
          </p:nvPr>
        </p:nvSpPr>
        <p:spPr>
          <a:xfrm>
            <a:off x="685191" y="2328770"/>
            <a:ext cx="2394327" cy="573455"/>
          </a:xfrm>
        </p:spPr>
        <p:txBody>
          <a:bodyPr>
            <a:normAutofit/>
          </a:bodyPr>
          <a:lstStyle>
            <a:lvl1pPr>
              <a:defRPr kumimoji="0" lang="en-US" sz="1600" b="1" i="0" u="none" strike="noStrike" kern="0" cap="none" spc="0" normalizeH="0" baseline="0" dirty="0" smtClean="0">
                <a:ln>
                  <a:noFill/>
                </a:ln>
                <a:solidFill>
                  <a:srgbClr val="86086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5" name="Text Placeholder 3">
            <a:extLst>
              <a:ext uri="{FF2B5EF4-FFF2-40B4-BE49-F238E27FC236}">
                <a16:creationId xmlns:a16="http://schemas.microsoft.com/office/drawing/2014/main" id="{91AA38E4-FE47-4A9A-B8F2-943FEEB4BD06}"/>
              </a:ext>
            </a:extLst>
          </p:cNvPr>
          <p:cNvSpPr>
            <a:spLocks noGrp="1"/>
          </p:cNvSpPr>
          <p:nvPr>
            <p:ph type="body" sz="quarter" idx="12"/>
          </p:nvPr>
        </p:nvSpPr>
        <p:spPr>
          <a:xfrm>
            <a:off x="685191" y="3080610"/>
            <a:ext cx="2394327" cy="573455"/>
          </a:xfrm>
        </p:spPr>
        <p:txBody>
          <a:bodyPr>
            <a:normAutofit/>
          </a:bodyPr>
          <a:lstStyle>
            <a:lvl1pPr>
              <a:defRPr kumimoji="0" lang="en-US" sz="1600" b="1" i="0" u="none" strike="noStrike" kern="0" cap="none" spc="0" normalizeH="0" baseline="0" dirty="0" smtClean="0">
                <a:ln>
                  <a:noFill/>
                </a:ln>
                <a:solidFill>
                  <a:srgbClr val="86086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7" name="Text Placeholder 3">
            <a:extLst>
              <a:ext uri="{FF2B5EF4-FFF2-40B4-BE49-F238E27FC236}">
                <a16:creationId xmlns:a16="http://schemas.microsoft.com/office/drawing/2014/main" id="{97AC09C2-0BB4-45CA-9397-7B1B0E1D2A85}"/>
              </a:ext>
            </a:extLst>
          </p:cNvPr>
          <p:cNvSpPr>
            <a:spLocks noGrp="1"/>
          </p:cNvSpPr>
          <p:nvPr>
            <p:ph type="body" sz="quarter" idx="14"/>
          </p:nvPr>
        </p:nvSpPr>
        <p:spPr>
          <a:xfrm>
            <a:off x="685191"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8" name="Text Placeholder 3">
            <a:extLst>
              <a:ext uri="{FF2B5EF4-FFF2-40B4-BE49-F238E27FC236}">
                <a16:creationId xmlns:a16="http://schemas.microsoft.com/office/drawing/2014/main" id="{D3896FE5-52E3-4090-9821-E4BD8EE55BD3}"/>
              </a:ext>
            </a:extLst>
          </p:cNvPr>
          <p:cNvSpPr>
            <a:spLocks noGrp="1"/>
          </p:cNvSpPr>
          <p:nvPr>
            <p:ph type="body" sz="quarter" idx="15"/>
          </p:nvPr>
        </p:nvSpPr>
        <p:spPr>
          <a:xfrm>
            <a:off x="685191"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grpSp>
        <p:nvGrpSpPr>
          <p:cNvPr id="71" name="Group 70">
            <a:extLst>
              <a:ext uri="{FF2B5EF4-FFF2-40B4-BE49-F238E27FC236}">
                <a16:creationId xmlns:a16="http://schemas.microsoft.com/office/drawing/2014/main" id="{463CF59A-287F-46E1-869D-45920DA40DAC}"/>
              </a:ext>
            </a:extLst>
          </p:cNvPr>
          <p:cNvGrpSpPr/>
          <p:nvPr userDrawn="1"/>
        </p:nvGrpSpPr>
        <p:grpSpPr>
          <a:xfrm>
            <a:off x="3521705" y="1609085"/>
            <a:ext cx="5148591" cy="5148072"/>
            <a:chOff x="3521705" y="1609085"/>
            <a:chExt cx="5148591" cy="5148072"/>
          </a:xfrm>
        </p:grpSpPr>
        <p:grpSp>
          <p:nvGrpSpPr>
            <p:cNvPr id="112" name="Group 111">
              <a:extLst>
                <a:ext uri="{FF2B5EF4-FFF2-40B4-BE49-F238E27FC236}">
                  <a16:creationId xmlns:a16="http://schemas.microsoft.com/office/drawing/2014/main" id="{ECB5C2B6-6FC0-438B-A165-78D8224EF617}"/>
                </a:ext>
              </a:extLst>
            </p:cNvPr>
            <p:cNvGrpSpPr/>
            <p:nvPr/>
          </p:nvGrpSpPr>
          <p:grpSpPr>
            <a:xfrm>
              <a:off x="3960863" y="1943770"/>
              <a:ext cx="4342729" cy="4342729"/>
              <a:chOff x="3714749" y="1415886"/>
              <a:chExt cx="4870613" cy="4870613"/>
            </a:xfrm>
          </p:grpSpPr>
          <p:sp>
            <p:nvSpPr>
              <p:cNvPr id="213" name="Block Arc 212">
                <a:extLst>
                  <a:ext uri="{FF2B5EF4-FFF2-40B4-BE49-F238E27FC236}">
                    <a16:creationId xmlns:a16="http://schemas.microsoft.com/office/drawing/2014/main" id="{4EF02C59-AD61-42F7-B979-5A7F08E952E1}"/>
                  </a:ext>
                </a:extLst>
              </p:cNvPr>
              <p:cNvSpPr/>
              <p:nvPr/>
            </p:nvSpPr>
            <p:spPr>
              <a:xfrm rot="1314213">
                <a:off x="3714749" y="1415886"/>
                <a:ext cx="4870613" cy="4870613"/>
              </a:xfrm>
              <a:prstGeom prst="blockArc">
                <a:avLst>
                  <a:gd name="adj1" fmla="val 6704137"/>
                  <a:gd name="adj2" fmla="val 164332"/>
                  <a:gd name="adj3" fmla="val 7939"/>
                </a:avLst>
              </a:prstGeom>
              <a:solidFill>
                <a:srgbClr val="FF7E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214" name="Block Arc 213">
                <a:extLst>
                  <a:ext uri="{FF2B5EF4-FFF2-40B4-BE49-F238E27FC236}">
                    <a16:creationId xmlns:a16="http://schemas.microsoft.com/office/drawing/2014/main" id="{BCFD056B-9EA4-44E3-B433-BBCE94EBD121}"/>
                  </a:ext>
                </a:extLst>
              </p:cNvPr>
              <p:cNvSpPr/>
              <p:nvPr/>
            </p:nvSpPr>
            <p:spPr>
              <a:xfrm rot="18853342" flipV="1">
                <a:off x="4080407" y="1788419"/>
                <a:ext cx="4116662" cy="4116662"/>
              </a:xfrm>
              <a:prstGeom prst="blockArc">
                <a:avLst>
                  <a:gd name="adj1" fmla="val 7189031"/>
                  <a:gd name="adj2" fmla="val 148839"/>
                  <a:gd name="adj3" fmla="val 6914"/>
                </a:avLst>
              </a:prstGeom>
              <a:solidFill>
                <a:srgbClr val="B51F7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215" name="Block Arc 214">
                <a:extLst>
                  <a:ext uri="{FF2B5EF4-FFF2-40B4-BE49-F238E27FC236}">
                    <a16:creationId xmlns:a16="http://schemas.microsoft.com/office/drawing/2014/main" id="{A4F47303-B4AC-4672-B346-065FEDE4FA49}"/>
                  </a:ext>
                </a:extLst>
              </p:cNvPr>
              <p:cNvSpPr/>
              <p:nvPr/>
            </p:nvSpPr>
            <p:spPr>
              <a:xfrm rot="2264297">
                <a:off x="4350251" y="2041589"/>
                <a:ext cx="3567735" cy="3567735"/>
              </a:xfrm>
              <a:prstGeom prst="blockArc">
                <a:avLst>
                  <a:gd name="adj1" fmla="val 7433288"/>
                  <a:gd name="adj2" fmla="val 21413901"/>
                  <a:gd name="adj3" fmla="val 12549"/>
                </a:avLst>
              </a:prstGeom>
              <a:solidFill>
                <a:srgbClr val="FF7E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Ubuntu Bold" panose="020B0804030602030204" pitchFamily="34" charset="0"/>
                  <a:ea typeface="+mn-ea"/>
                  <a:cs typeface="+mn-cs"/>
                </a:endParaRPr>
              </a:p>
            </p:txBody>
          </p:sp>
          <p:sp>
            <p:nvSpPr>
              <p:cNvPr id="216" name="Oval 215">
                <a:extLst>
                  <a:ext uri="{FF2B5EF4-FFF2-40B4-BE49-F238E27FC236}">
                    <a16:creationId xmlns:a16="http://schemas.microsoft.com/office/drawing/2014/main" id="{B346C453-56B5-4FC7-A47B-0B2DA2A6747A}"/>
                  </a:ext>
                </a:extLst>
              </p:cNvPr>
              <p:cNvSpPr/>
              <p:nvPr/>
            </p:nvSpPr>
            <p:spPr>
              <a:xfrm>
                <a:off x="4993477" y="2694614"/>
                <a:ext cx="2313156" cy="2313156"/>
              </a:xfrm>
              <a:prstGeom prst="ellipse">
                <a:avLst/>
              </a:prstGeom>
              <a:solidFill>
                <a:srgbClr val="2B0A3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Ubuntu Bold" panose="020B0804030602030204" pitchFamily="34" charset="0"/>
                  <a:ea typeface="+mn-ea"/>
                  <a:cs typeface="+mn-cs"/>
                </a:endParaRPr>
              </a:p>
            </p:txBody>
          </p:sp>
        </p:grpSp>
        <p:sp>
          <p:nvSpPr>
            <p:cNvPr id="113" name="Rectangle 112">
              <a:extLst>
                <a:ext uri="{FF2B5EF4-FFF2-40B4-BE49-F238E27FC236}">
                  <a16:creationId xmlns:a16="http://schemas.microsoft.com/office/drawing/2014/main" id="{1C81D851-3E03-4E94-869A-4BE728745D82}"/>
                </a:ext>
              </a:extLst>
            </p:cNvPr>
            <p:cNvSpPr/>
            <p:nvPr/>
          </p:nvSpPr>
          <p:spPr>
            <a:xfrm rot="5400000">
              <a:off x="3521965" y="1608825"/>
              <a:ext cx="5148072" cy="5148591"/>
            </a:xfrm>
            <a:prstGeom prst="rect">
              <a:avLst/>
            </a:prstGeom>
            <a:noFill/>
          </p:spPr>
          <p:txBody>
            <a:bodyPr wrap="none" lIns="0" tIns="0" rIns="0" bIns="0" anchor="t" anchorCtr="0">
              <a:prstTxWarp prst="textCircle">
                <a:avLst>
                  <a:gd name="adj" fmla="val 567034"/>
                </a:avLst>
              </a:prstTxWarp>
              <a:spAutoFit/>
            </a:bodyPr>
            <a:lstStyle/>
            <a:p>
              <a:pPr algn="ctr"/>
              <a:r>
                <a:rPr lang="en-GB" sz="2800" b="1" dirty="0">
                  <a:solidFill>
                    <a:srgbClr val="B51F77"/>
                  </a:solidFill>
                  <a:latin typeface="+mj-lt"/>
                  <a:cs typeface="Ubuntu Bold"/>
                </a:rPr>
                <a:t>Modernize The Core</a:t>
              </a:r>
            </a:p>
          </p:txBody>
        </p:sp>
        <p:grpSp>
          <p:nvGrpSpPr>
            <p:cNvPr id="124" name="Group 123">
              <a:extLst>
                <a:ext uri="{FF2B5EF4-FFF2-40B4-BE49-F238E27FC236}">
                  <a16:creationId xmlns:a16="http://schemas.microsoft.com/office/drawing/2014/main" id="{6340AE1D-0C72-4946-93A5-AB237570AE92}"/>
                </a:ext>
              </a:extLst>
            </p:cNvPr>
            <p:cNvGrpSpPr/>
            <p:nvPr/>
          </p:nvGrpSpPr>
          <p:grpSpPr>
            <a:xfrm>
              <a:off x="5305457" y="3215085"/>
              <a:ext cx="1653540" cy="1800099"/>
              <a:chOff x="-722601" y="1689730"/>
              <a:chExt cx="2867552" cy="3121709"/>
            </a:xfrm>
          </p:grpSpPr>
          <p:grpSp>
            <p:nvGrpSpPr>
              <p:cNvPr id="125" name="Group 124">
                <a:extLst>
                  <a:ext uri="{FF2B5EF4-FFF2-40B4-BE49-F238E27FC236}">
                    <a16:creationId xmlns:a16="http://schemas.microsoft.com/office/drawing/2014/main" id="{4F3AE5BF-EA02-43DF-BC34-0C07A05B131D}"/>
                  </a:ext>
                </a:extLst>
              </p:cNvPr>
              <p:cNvGrpSpPr/>
              <p:nvPr/>
            </p:nvGrpSpPr>
            <p:grpSpPr>
              <a:xfrm>
                <a:off x="314959" y="2774221"/>
                <a:ext cx="796794" cy="969731"/>
                <a:chOff x="7608030" y="5079174"/>
                <a:chExt cx="1165239" cy="1418145"/>
              </a:xfrm>
            </p:grpSpPr>
            <p:sp>
              <p:nvSpPr>
                <p:cNvPr id="210" name="Freeform: Shape 209">
                  <a:extLst>
                    <a:ext uri="{FF2B5EF4-FFF2-40B4-BE49-F238E27FC236}">
                      <a16:creationId xmlns:a16="http://schemas.microsoft.com/office/drawing/2014/main" id="{161253A1-6389-4A1C-82CE-4DA06FFF01BD}"/>
                    </a:ext>
                  </a:extLst>
                </p:cNvPr>
                <p:cNvSpPr/>
                <p:nvPr/>
              </p:nvSpPr>
              <p:spPr>
                <a:xfrm>
                  <a:off x="7608030" y="5079174"/>
                  <a:ext cx="1165239" cy="1418145"/>
                </a:xfrm>
                <a:custGeom>
                  <a:avLst/>
                  <a:gdLst>
                    <a:gd name="connsiteX0" fmla="*/ 109220 w 1003300"/>
                    <a:gd name="connsiteY0" fmla="*/ 728980 h 1285240"/>
                    <a:gd name="connsiteX1" fmla="*/ 109220 w 1003300"/>
                    <a:gd name="connsiteY1" fmla="*/ 896620 h 1285240"/>
                    <a:gd name="connsiteX2" fmla="*/ 403860 w 1003300"/>
                    <a:gd name="connsiteY2" fmla="*/ 1084580 h 1285240"/>
                    <a:gd name="connsiteX3" fmla="*/ 403860 w 1003300"/>
                    <a:gd name="connsiteY3" fmla="*/ 1285240 h 1285240"/>
                    <a:gd name="connsiteX4" fmla="*/ 957580 w 1003300"/>
                    <a:gd name="connsiteY4" fmla="*/ 1285240 h 1285240"/>
                    <a:gd name="connsiteX5" fmla="*/ 957580 w 1003300"/>
                    <a:gd name="connsiteY5" fmla="*/ 815340 h 1285240"/>
                    <a:gd name="connsiteX6" fmla="*/ 957580 w 1003300"/>
                    <a:gd name="connsiteY6" fmla="*/ 0 h 1285240"/>
                    <a:gd name="connsiteX7" fmla="*/ 142240 w 1003300"/>
                    <a:gd name="connsiteY7" fmla="*/ 205740 h 1285240"/>
                    <a:gd name="connsiteX8" fmla="*/ 508000 w 1003300"/>
                    <a:gd name="connsiteY8" fmla="*/ 205740 h 1285240"/>
                    <a:gd name="connsiteX9" fmla="*/ 508000 w 1003300"/>
                    <a:gd name="connsiteY9" fmla="*/ 281940 h 1285240"/>
                    <a:gd name="connsiteX10" fmla="*/ 812800 w 1003300"/>
                    <a:gd name="connsiteY10" fmla="*/ 281940 h 1285240"/>
                    <a:gd name="connsiteX11" fmla="*/ 1003300 w 1003300"/>
                    <a:gd name="connsiteY11" fmla="*/ 421640 h 1285240"/>
                    <a:gd name="connsiteX12" fmla="*/ 960120 w 1003300"/>
                    <a:gd name="connsiteY12" fmla="*/ 449580 h 1285240"/>
                    <a:gd name="connsiteX13" fmla="*/ 787400 w 1003300"/>
                    <a:gd name="connsiteY13" fmla="*/ 330200 h 1285240"/>
                    <a:gd name="connsiteX14" fmla="*/ 172720 w 1003300"/>
                    <a:gd name="connsiteY14" fmla="*/ 330200 h 1285240"/>
                    <a:gd name="connsiteX15" fmla="*/ 172720 w 1003300"/>
                    <a:gd name="connsiteY15" fmla="*/ 487680 h 1285240"/>
                    <a:gd name="connsiteX16" fmla="*/ 121920 w 1003300"/>
                    <a:gd name="connsiteY16" fmla="*/ 487680 h 1285240"/>
                    <a:gd name="connsiteX17" fmla="*/ 121920 w 1003300"/>
                    <a:gd name="connsiteY17" fmla="*/ 279400 h 1285240"/>
                    <a:gd name="connsiteX18" fmla="*/ 0 w 1003300"/>
                    <a:gd name="connsiteY18" fmla="*/ 279400 h 1285240"/>
                    <a:gd name="connsiteX19" fmla="*/ 0 w 1003300"/>
                    <a:gd name="connsiteY19" fmla="*/ 495300 h 1285240"/>
                    <a:gd name="connsiteX20" fmla="*/ 71120 w 1003300"/>
                    <a:gd name="connsiteY20" fmla="*/ 495300 h 1285240"/>
                    <a:gd name="connsiteX21" fmla="*/ 71120 w 1003300"/>
                    <a:gd name="connsiteY21" fmla="*/ 660400 h 1285240"/>
                    <a:gd name="connsiteX22" fmla="*/ 30480 w 1003300"/>
                    <a:gd name="connsiteY22" fmla="*/ 734060 h 1285240"/>
                    <a:gd name="connsiteX23" fmla="*/ 109220 w 1003300"/>
                    <a:gd name="connsiteY23" fmla="*/ 728980 h 1285240"/>
                    <a:gd name="connsiteX0" fmla="*/ 109220 w 1003300"/>
                    <a:gd name="connsiteY0" fmla="*/ 746125 h 1302385"/>
                    <a:gd name="connsiteX1" fmla="*/ 109220 w 1003300"/>
                    <a:gd name="connsiteY1" fmla="*/ 913765 h 1302385"/>
                    <a:gd name="connsiteX2" fmla="*/ 403860 w 1003300"/>
                    <a:gd name="connsiteY2" fmla="*/ 1101725 h 1302385"/>
                    <a:gd name="connsiteX3" fmla="*/ 403860 w 1003300"/>
                    <a:gd name="connsiteY3" fmla="*/ 1302385 h 1302385"/>
                    <a:gd name="connsiteX4" fmla="*/ 957580 w 1003300"/>
                    <a:gd name="connsiteY4" fmla="*/ 1302385 h 1302385"/>
                    <a:gd name="connsiteX5" fmla="*/ 957580 w 1003300"/>
                    <a:gd name="connsiteY5" fmla="*/ 832485 h 1302385"/>
                    <a:gd name="connsiteX6" fmla="*/ 967105 w 1003300"/>
                    <a:gd name="connsiteY6" fmla="*/ 0 h 1302385"/>
                    <a:gd name="connsiteX7" fmla="*/ 142240 w 1003300"/>
                    <a:gd name="connsiteY7" fmla="*/ 222885 h 1302385"/>
                    <a:gd name="connsiteX8" fmla="*/ 508000 w 1003300"/>
                    <a:gd name="connsiteY8" fmla="*/ 222885 h 1302385"/>
                    <a:gd name="connsiteX9" fmla="*/ 508000 w 1003300"/>
                    <a:gd name="connsiteY9" fmla="*/ 299085 h 1302385"/>
                    <a:gd name="connsiteX10" fmla="*/ 812800 w 1003300"/>
                    <a:gd name="connsiteY10" fmla="*/ 299085 h 1302385"/>
                    <a:gd name="connsiteX11" fmla="*/ 1003300 w 1003300"/>
                    <a:gd name="connsiteY11" fmla="*/ 438785 h 1302385"/>
                    <a:gd name="connsiteX12" fmla="*/ 960120 w 1003300"/>
                    <a:gd name="connsiteY12" fmla="*/ 466725 h 1302385"/>
                    <a:gd name="connsiteX13" fmla="*/ 787400 w 1003300"/>
                    <a:gd name="connsiteY13" fmla="*/ 347345 h 1302385"/>
                    <a:gd name="connsiteX14" fmla="*/ 172720 w 1003300"/>
                    <a:gd name="connsiteY14" fmla="*/ 347345 h 1302385"/>
                    <a:gd name="connsiteX15" fmla="*/ 172720 w 1003300"/>
                    <a:gd name="connsiteY15" fmla="*/ 504825 h 1302385"/>
                    <a:gd name="connsiteX16" fmla="*/ 121920 w 1003300"/>
                    <a:gd name="connsiteY16" fmla="*/ 504825 h 1302385"/>
                    <a:gd name="connsiteX17" fmla="*/ 121920 w 1003300"/>
                    <a:gd name="connsiteY17" fmla="*/ 296545 h 1302385"/>
                    <a:gd name="connsiteX18" fmla="*/ 0 w 1003300"/>
                    <a:gd name="connsiteY18" fmla="*/ 296545 h 1302385"/>
                    <a:gd name="connsiteX19" fmla="*/ 0 w 1003300"/>
                    <a:gd name="connsiteY19" fmla="*/ 512445 h 1302385"/>
                    <a:gd name="connsiteX20" fmla="*/ 71120 w 1003300"/>
                    <a:gd name="connsiteY20" fmla="*/ 512445 h 1302385"/>
                    <a:gd name="connsiteX21" fmla="*/ 71120 w 1003300"/>
                    <a:gd name="connsiteY21" fmla="*/ 677545 h 1302385"/>
                    <a:gd name="connsiteX22" fmla="*/ 30480 w 1003300"/>
                    <a:gd name="connsiteY22" fmla="*/ 751205 h 1302385"/>
                    <a:gd name="connsiteX23" fmla="*/ 109220 w 1003300"/>
                    <a:gd name="connsiteY23" fmla="*/ 746125 h 1302385"/>
                    <a:gd name="connsiteX0" fmla="*/ 110490 w 1004570"/>
                    <a:gd name="connsiteY0" fmla="*/ 746125 h 1302385"/>
                    <a:gd name="connsiteX1" fmla="*/ 110490 w 1004570"/>
                    <a:gd name="connsiteY1" fmla="*/ 913765 h 1302385"/>
                    <a:gd name="connsiteX2" fmla="*/ 405130 w 1004570"/>
                    <a:gd name="connsiteY2" fmla="*/ 1101725 h 1302385"/>
                    <a:gd name="connsiteX3" fmla="*/ 405130 w 1004570"/>
                    <a:gd name="connsiteY3" fmla="*/ 1302385 h 1302385"/>
                    <a:gd name="connsiteX4" fmla="*/ 958850 w 1004570"/>
                    <a:gd name="connsiteY4" fmla="*/ 1302385 h 1302385"/>
                    <a:gd name="connsiteX5" fmla="*/ 958850 w 1004570"/>
                    <a:gd name="connsiteY5" fmla="*/ 832485 h 1302385"/>
                    <a:gd name="connsiteX6" fmla="*/ 968375 w 1004570"/>
                    <a:gd name="connsiteY6" fmla="*/ 0 h 1302385"/>
                    <a:gd name="connsiteX7" fmla="*/ 143510 w 1004570"/>
                    <a:gd name="connsiteY7" fmla="*/ 222885 h 1302385"/>
                    <a:gd name="connsiteX8" fmla="*/ 509270 w 1004570"/>
                    <a:gd name="connsiteY8" fmla="*/ 222885 h 1302385"/>
                    <a:gd name="connsiteX9" fmla="*/ 509270 w 1004570"/>
                    <a:gd name="connsiteY9" fmla="*/ 299085 h 1302385"/>
                    <a:gd name="connsiteX10" fmla="*/ 814070 w 1004570"/>
                    <a:gd name="connsiteY10" fmla="*/ 299085 h 1302385"/>
                    <a:gd name="connsiteX11" fmla="*/ 1004570 w 1004570"/>
                    <a:gd name="connsiteY11" fmla="*/ 438785 h 1302385"/>
                    <a:gd name="connsiteX12" fmla="*/ 961390 w 1004570"/>
                    <a:gd name="connsiteY12" fmla="*/ 466725 h 1302385"/>
                    <a:gd name="connsiteX13" fmla="*/ 788670 w 1004570"/>
                    <a:gd name="connsiteY13" fmla="*/ 347345 h 1302385"/>
                    <a:gd name="connsiteX14" fmla="*/ 173990 w 1004570"/>
                    <a:gd name="connsiteY14" fmla="*/ 347345 h 1302385"/>
                    <a:gd name="connsiteX15" fmla="*/ 173990 w 1004570"/>
                    <a:gd name="connsiteY15" fmla="*/ 504825 h 1302385"/>
                    <a:gd name="connsiteX16" fmla="*/ 123190 w 1004570"/>
                    <a:gd name="connsiteY16" fmla="*/ 504825 h 1302385"/>
                    <a:gd name="connsiteX17" fmla="*/ 123190 w 1004570"/>
                    <a:gd name="connsiteY17" fmla="*/ 296545 h 1302385"/>
                    <a:gd name="connsiteX18" fmla="*/ 1270 w 1004570"/>
                    <a:gd name="connsiteY18" fmla="*/ 296545 h 1302385"/>
                    <a:gd name="connsiteX19" fmla="*/ 1270 w 1004570"/>
                    <a:gd name="connsiteY19" fmla="*/ 512445 h 1302385"/>
                    <a:gd name="connsiteX20" fmla="*/ 72390 w 1004570"/>
                    <a:gd name="connsiteY20" fmla="*/ 512445 h 1302385"/>
                    <a:gd name="connsiteX21" fmla="*/ 0 w 1004570"/>
                    <a:gd name="connsiteY21" fmla="*/ 664210 h 1302385"/>
                    <a:gd name="connsiteX22" fmla="*/ 31750 w 1004570"/>
                    <a:gd name="connsiteY22" fmla="*/ 751205 h 1302385"/>
                    <a:gd name="connsiteX23" fmla="*/ 110490 w 1004570"/>
                    <a:gd name="connsiteY23" fmla="*/ 746125 h 1302385"/>
                    <a:gd name="connsiteX0" fmla="*/ 115151 w 1009231"/>
                    <a:gd name="connsiteY0" fmla="*/ 746125 h 1302385"/>
                    <a:gd name="connsiteX1" fmla="*/ 115151 w 1009231"/>
                    <a:gd name="connsiteY1" fmla="*/ 913765 h 1302385"/>
                    <a:gd name="connsiteX2" fmla="*/ 409791 w 1009231"/>
                    <a:gd name="connsiteY2" fmla="*/ 1101725 h 1302385"/>
                    <a:gd name="connsiteX3" fmla="*/ 409791 w 1009231"/>
                    <a:gd name="connsiteY3" fmla="*/ 1302385 h 1302385"/>
                    <a:gd name="connsiteX4" fmla="*/ 963511 w 1009231"/>
                    <a:gd name="connsiteY4" fmla="*/ 1302385 h 1302385"/>
                    <a:gd name="connsiteX5" fmla="*/ 963511 w 1009231"/>
                    <a:gd name="connsiteY5" fmla="*/ 832485 h 1302385"/>
                    <a:gd name="connsiteX6" fmla="*/ 973036 w 1009231"/>
                    <a:gd name="connsiteY6" fmla="*/ 0 h 1302385"/>
                    <a:gd name="connsiteX7" fmla="*/ 148171 w 1009231"/>
                    <a:gd name="connsiteY7" fmla="*/ 222885 h 1302385"/>
                    <a:gd name="connsiteX8" fmla="*/ 513931 w 1009231"/>
                    <a:gd name="connsiteY8" fmla="*/ 222885 h 1302385"/>
                    <a:gd name="connsiteX9" fmla="*/ 513931 w 1009231"/>
                    <a:gd name="connsiteY9" fmla="*/ 299085 h 1302385"/>
                    <a:gd name="connsiteX10" fmla="*/ 818731 w 1009231"/>
                    <a:gd name="connsiteY10" fmla="*/ 299085 h 1302385"/>
                    <a:gd name="connsiteX11" fmla="*/ 1009231 w 1009231"/>
                    <a:gd name="connsiteY11" fmla="*/ 438785 h 1302385"/>
                    <a:gd name="connsiteX12" fmla="*/ 966051 w 1009231"/>
                    <a:gd name="connsiteY12" fmla="*/ 466725 h 1302385"/>
                    <a:gd name="connsiteX13" fmla="*/ 793331 w 1009231"/>
                    <a:gd name="connsiteY13" fmla="*/ 347345 h 1302385"/>
                    <a:gd name="connsiteX14" fmla="*/ 178651 w 1009231"/>
                    <a:gd name="connsiteY14" fmla="*/ 347345 h 1302385"/>
                    <a:gd name="connsiteX15" fmla="*/ 178651 w 1009231"/>
                    <a:gd name="connsiteY15" fmla="*/ 504825 h 1302385"/>
                    <a:gd name="connsiteX16" fmla="*/ 127851 w 1009231"/>
                    <a:gd name="connsiteY16" fmla="*/ 504825 h 1302385"/>
                    <a:gd name="connsiteX17" fmla="*/ 127851 w 1009231"/>
                    <a:gd name="connsiteY17" fmla="*/ 296545 h 1302385"/>
                    <a:gd name="connsiteX18" fmla="*/ 5931 w 1009231"/>
                    <a:gd name="connsiteY18" fmla="*/ 296545 h 1302385"/>
                    <a:gd name="connsiteX19" fmla="*/ 5931 w 1009231"/>
                    <a:gd name="connsiteY19" fmla="*/ 512445 h 1302385"/>
                    <a:gd name="connsiteX20" fmla="*/ 77051 w 1009231"/>
                    <a:gd name="connsiteY20" fmla="*/ 512445 h 1302385"/>
                    <a:gd name="connsiteX21" fmla="*/ 4661 w 1009231"/>
                    <a:gd name="connsiteY21" fmla="*/ 664210 h 1302385"/>
                    <a:gd name="connsiteX22" fmla="*/ 36411 w 1009231"/>
                    <a:gd name="connsiteY22" fmla="*/ 751205 h 1302385"/>
                    <a:gd name="connsiteX23" fmla="*/ 115151 w 1009231"/>
                    <a:gd name="connsiteY23" fmla="*/ 746125 h 1302385"/>
                    <a:gd name="connsiteX0" fmla="*/ 121189 w 1015269"/>
                    <a:gd name="connsiteY0" fmla="*/ 746125 h 1302385"/>
                    <a:gd name="connsiteX1" fmla="*/ 121189 w 1015269"/>
                    <a:gd name="connsiteY1" fmla="*/ 913765 h 1302385"/>
                    <a:gd name="connsiteX2" fmla="*/ 415829 w 1015269"/>
                    <a:gd name="connsiteY2" fmla="*/ 1101725 h 1302385"/>
                    <a:gd name="connsiteX3" fmla="*/ 415829 w 1015269"/>
                    <a:gd name="connsiteY3" fmla="*/ 1302385 h 1302385"/>
                    <a:gd name="connsiteX4" fmla="*/ 969549 w 1015269"/>
                    <a:gd name="connsiteY4" fmla="*/ 1302385 h 1302385"/>
                    <a:gd name="connsiteX5" fmla="*/ 969549 w 1015269"/>
                    <a:gd name="connsiteY5" fmla="*/ 832485 h 1302385"/>
                    <a:gd name="connsiteX6" fmla="*/ 979074 w 1015269"/>
                    <a:gd name="connsiteY6" fmla="*/ 0 h 1302385"/>
                    <a:gd name="connsiteX7" fmla="*/ 154209 w 1015269"/>
                    <a:gd name="connsiteY7" fmla="*/ 222885 h 1302385"/>
                    <a:gd name="connsiteX8" fmla="*/ 519969 w 1015269"/>
                    <a:gd name="connsiteY8" fmla="*/ 222885 h 1302385"/>
                    <a:gd name="connsiteX9" fmla="*/ 519969 w 1015269"/>
                    <a:gd name="connsiteY9" fmla="*/ 299085 h 1302385"/>
                    <a:gd name="connsiteX10" fmla="*/ 824769 w 1015269"/>
                    <a:gd name="connsiteY10" fmla="*/ 299085 h 1302385"/>
                    <a:gd name="connsiteX11" fmla="*/ 1015269 w 1015269"/>
                    <a:gd name="connsiteY11" fmla="*/ 438785 h 1302385"/>
                    <a:gd name="connsiteX12" fmla="*/ 972089 w 1015269"/>
                    <a:gd name="connsiteY12" fmla="*/ 466725 h 1302385"/>
                    <a:gd name="connsiteX13" fmla="*/ 799369 w 1015269"/>
                    <a:gd name="connsiteY13" fmla="*/ 347345 h 1302385"/>
                    <a:gd name="connsiteX14" fmla="*/ 184689 w 1015269"/>
                    <a:gd name="connsiteY14" fmla="*/ 347345 h 1302385"/>
                    <a:gd name="connsiteX15" fmla="*/ 184689 w 1015269"/>
                    <a:gd name="connsiteY15" fmla="*/ 504825 h 1302385"/>
                    <a:gd name="connsiteX16" fmla="*/ 133889 w 1015269"/>
                    <a:gd name="connsiteY16" fmla="*/ 504825 h 1302385"/>
                    <a:gd name="connsiteX17" fmla="*/ 133889 w 1015269"/>
                    <a:gd name="connsiteY17" fmla="*/ 296545 h 1302385"/>
                    <a:gd name="connsiteX18" fmla="*/ 11969 w 1015269"/>
                    <a:gd name="connsiteY18" fmla="*/ 296545 h 1302385"/>
                    <a:gd name="connsiteX19" fmla="*/ 11969 w 1015269"/>
                    <a:gd name="connsiteY19" fmla="*/ 512445 h 1302385"/>
                    <a:gd name="connsiteX20" fmla="*/ 83089 w 1015269"/>
                    <a:gd name="connsiteY20" fmla="*/ 512445 h 1302385"/>
                    <a:gd name="connsiteX21" fmla="*/ 10699 w 1015269"/>
                    <a:gd name="connsiteY21" fmla="*/ 664210 h 1302385"/>
                    <a:gd name="connsiteX22" fmla="*/ 42449 w 1015269"/>
                    <a:gd name="connsiteY22" fmla="*/ 751205 h 1302385"/>
                    <a:gd name="connsiteX23" fmla="*/ 121189 w 1015269"/>
                    <a:gd name="connsiteY23" fmla="*/ 746125 h 1302385"/>
                    <a:gd name="connsiteX0" fmla="*/ 121189 w 1015269"/>
                    <a:gd name="connsiteY0" fmla="*/ 746125 h 1302385"/>
                    <a:gd name="connsiteX1" fmla="*/ 128809 w 1015269"/>
                    <a:gd name="connsiteY1" fmla="*/ 913765 h 1302385"/>
                    <a:gd name="connsiteX2" fmla="*/ 415829 w 1015269"/>
                    <a:gd name="connsiteY2" fmla="*/ 1101725 h 1302385"/>
                    <a:gd name="connsiteX3" fmla="*/ 415829 w 1015269"/>
                    <a:gd name="connsiteY3" fmla="*/ 1302385 h 1302385"/>
                    <a:gd name="connsiteX4" fmla="*/ 969549 w 1015269"/>
                    <a:gd name="connsiteY4" fmla="*/ 1302385 h 1302385"/>
                    <a:gd name="connsiteX5" fmla="*/ 969549 w 1015269"/>
                    <a:gd name="connsiteY5" fmla="*/ 832485 h 1302385"/>
                    <a:gd name="connsiteX6" fmla="*/ 979074 w 1015269"/>
                    <a:gd name="connsiteY6" fmla="*/ 0 h 1302385"/>
                    <a:gd name="connsiteX7" fmla="*/ 154209 w 1015269"/>
                    <a:gd name="connsiteY7" fmla="*/ 222885 h 1302385"/>
                    <a:gd name="connsiteX8" fmla="*/ 519969 w 1015269"/>
                    <a:gd name="connsiteY8" fmla="*/ 222885 h 1302385"/>
                    <a:gd name="connsiteX9" fmla="*/ 519969 w 1015269"/>
                    <a:gd name="connsiteY9" fmla="*/ 299085 h 1302385"/>
                    <a:gd name="connsiteX10" fmla="*/ 824769 w 1015269"/>
                    <a:gd name="connsiteY10" fmla="*/ 299085 h 1302385"/>
                    <a:gd name="connsiteX11" fmla="*/ 1015269 w 1015269"/>
                    <a:gd name="connsiteY11" fmla="*/ 438785 h 1302385"/>
                    <a:gd name="connsiteX12" fmla="*/ 972089 w 1015269"/>
                    <a:gd name="connsiteY12" fmla="*/ 466725 h 1302385"/>
                    <a:gd name="connsiteX13" fmla="*/ 799369 w 1015269"/>
                    <a:gd name="connsiteY13" fmla="*/ 347345 h 1302385"/>
                    <a:gd name="connsiteX14" fmla="*/ 184689 w 1015269"/>
                    <a:gd name="connsiteY14" fmla="*/ 347345 h 1302385"/>
                    <a:gd name="connsiteX15" fmla="*/ 184689 w 1015269"/>
                    <a:gd name="connsiteY15" fmla="*/ 504825 h 1302385"/>
                    <a:gd name="connsiteX16" fmla="*/ 133889 w 1015269"/>
                    <a:gd name="connsiteY16" fmla="*/ 504825 h 1302385"/>
                    <a:gd name="connsiteX17" fmla="*/ 133889 w 1015269"/>
                    <a:gd name="connsiteY17" fmla="*/ 296545 h 1302385"/>
                    <a:gd name="connsiteX18" fmla="*/ 11969 w 1015269"/>
                    <a:gd name="connsiteY18" fmla="*/ 296545 h 1302385"/>
                    <a:gd name="connsiteX19" fmla="*/ 11969 w 1015269"/>
                    <a:gd name="connsiteY19" fmla="*/ 512445 h 1302385"/>
                    <a:gd name="connsiteX20" fmla="*/ 83089 w 1015269"/>
                    <a:gd name="connsiteY20" fmla="*/ 512445 h 1302385"/>
                    <a:gd name="connsiteX21" fmla="*/ 10699 w 1015269"/>
                    <a:gd name="connsiteY21" fmla="*/ 664210 h 1302385"/>
                    <a:gd name="connsiteX22" fmla="*/ 42449 w 1015269"/>
                    <a:gd name="connsiteY22" fmla="*/ 751205 h 1302385"/>
                    <a:gd name="connsiteX23" fmla="*/ 121189 w 1015269"/>
                    <a:gd name="connsiteY23" fmla="*/ 746125 h 1302385"/>
                    <a:gd name="connsiteX0" fmla="*/ 121189 w 1015269"/>
                    <a:gd name="connsiteY0" fmla="*/ 746125 h 1302385"/>
                    <a:gd name="connsiteX1" fmla="*/ 126904 w 1015269"/>
                    <a:gd name="connsiteY1" fmla="*/ 909955 h 1302385"/>
                    <a:gd name="connsiteX2" fmla="*/ 415829 w 1015269"/>
                    <a:gd name="connsiteY2" fmla="*/ 1101725 h 1302385"/>
                    <a:gd name="connsiteX3" fmla="*/ 415829 w 1015269"/>
                    <a:gd name="connsiteY3" fmla="*/ 1302385 h 1302385"/>
                    <a:gd name="connsiteX4" fmla="*/ 969549 w 1015269"/>
                    <a:gd name="connsiteY4" fmla="*/ 1302385 h 1302385"/>
                    <a:gd name="connsiteX5" fmla="*/ 969549 w 1015269"/>
                    <a:gd name="connsiteY5" fmla="*/ 832485 h 1302385"/>
                    <a:gd name="connsiteX6" fmla="*/ 979074 w 1015269"/>
                    <a:gd name="connsiteY6" fmla="*/ 0 h 1302385"/>
                    <a:gd name="connsiteX7" fmla="*/ 154209 w 1015269"/>
                    <a:gd name="connsiteY7" fmla="*/ 222885 h 1302385"/>
                    <a:gd name="connsiteX8" fmla="*/ 519969 w 1015269"/>
                    <a:gd name="connsiteY8" fmla="*/ 222885 h 1302385"/>
                    <a:gd name="connsiteX9" fmla="*/ 519969 w 1015269"/>
                    <a:gd name="connsiteY9" fmla="*/ 299085 h 1302385"/>
                    <a:gd name="connsiteX10" fmla="*/ 824769 w 1015269"/>
                    <a:gd name="connsiteY10" fmla="*/ 299085 h 1302385"/>
                    <a:gd name="connsiteX11" fmla="*/ 1015269 w 1015269"/>
                    <a:gd name="connsiteY11" fmla="*/ 438785 h 1302385"/>
                    <a:gd name="connsiteX12" fmla="*/ 972089 w 1015269"/>
                    <a:gd name="connsiteY12" fmla="*/ 466725 h 1302385"/>
                    <a:gd name="connsiteX13" fmla="*/ 799369 w 1015269"/>
                    <a:gd name="connsiteY13" fmla="*/ 347345 h 1302385"/>
                    <a:gd name="connsiteX14" fmla="*/ 184689 w 1015269"/>
                    <a:gd name="connsiteY14" fmla="*/ 347345 h 1302385"/>
                    <a:gd name="connsiteX15" fmla="*/ 184689 w 1015269"/>
                    <a:gd name="connsiteY15" fmla="*/ 504825 h 1302385"/>
                    <a:gd name="connsiteX16" fmla="*/ 133889 w 1015269"/>
                    <a:gd name="connsiteY16" fmla="*/ 504825 h 1302385"/>
                    <a:gd name="connsiteX17" fmla="*/ 133889 w 1015269"/>
                    <a:gd name="connsiteY17" fmla="*/ 296545 h 1302385"/>
                    <a:gd name="connsiteX18" fmla="*/ 11969 w 1015269"/>
                    <a:gd name="connsiteY18" fmla="*/ 296545 h 1302385"/>
                    <a:gd name="connsiteX19" fmla="*/ 11969 w 1015269"/>
                    <a:gd name="connsiteY19" fmla="*/ 512445 h 1302385"/>
                    <a:gd name="connsiteX20" fmla="*/ 83089 w 1015269"/>
                    <a:gd name="connsiteY20" fmla="*/ 512445 h 1302385"/>
                    <a:gd name="connsiteX21" fmla="*/ 10699 w 1015269"/>
                    <a:gd name="connsiteY21" fmla="*/ 664210 h 1302385"/>
                    <a:gd name="connsiteX22" fmla="*/ 42449 w 1015269"/>
                    <a:gd name="connsiteY22" fmla="*/ 751205 h 1302385"/>
                    <a:gd name="connsiteX23" fmla="*/ 121189 w 1015269"/>
                    <a:gd name="connsiteY23" fmla="*/ 746125 h 1302385"/>
                    <a:gd name="connsiteX0" fmla="*/ 121189 w 1015269"/>
                    <a:gd name="connsiteY0" fmla="*/ 746125 h 1302385"/>
                    <a:gd name="connsiteX1" fmla="*/ 126904 w 1015269"/>
                    <a:gd name="connsiteY1" fmla="*/ 909955 h 1302385"/>
                    <a:gd name="connsiteX2" fmla="*/ 415829 w 1015269"/>
                    <a:gd name="connsiteY2" fmla="*/ 1101725 h 1302385"/>
                    <a:gd name="connsiteX3" fmla="*/ 415829 w 1015269"/>
                    <a:gd name="connsiteY3" fmla="*/ 1302385 h 1302385"/>
                    <a:gd name="connsiteX4" fmla="*/ 969549 w 1015269"/>
                    <a:gd name="connsiteY4" fmla="*/ 1302385 h 1302385"/>
                    <a:gd name="connsiteX5" fmla="*/ 969549 w 1015269"/>
                    <a:gd name="connsiteY5" fmla="*/ 832485 h 1302385"/>
                    <a:gd name="connsiteX6" fmla="*/ 979074 w 1015269"/>
                    <a:gd name="connsiteY6" fmla="*/ 0 h 1302385"/>
                    <a:gd name="connsiteX7" fmla="*/ 154209 w 1015269"/>
                    <a:gd name="connsiteY7" fmla="*/ 222885 h 1302385"/>
                    <a:gd name="connsiteX8" fmla="*/ 519969 w 1015269"/>
                    <a:gd name="connsiteY8" fmla="*/ 222885 h 1302385"/>
                    <a:gd name="connsiteX9" fmla="*/ 519969 w 1015269"/>
                    <a:gd name="connsiteY9" fmla="*/ 299085 h 1302385"/>
                    <a:gd name="connsiteX10" fmla="*/ 824769 w 1015269"/>
                    <a:gd name="connsiteY10" fmla="*/ 299085 h 1302385"/>
                    <a:gd name="connsiteX11" fmla="*/ 1015269 w 1015269"/>
                    <a:gd name="connsiteY11" fmla="*/ 438785 h 1302385"/>
                    <a:gd name="connsiteX12" fmla="*/ 972089 w 1015269"/>
                    <a:gd name="connsiteY12" fmla="*/ 466725 h 1302385"/>
                    <a:gd name="connsiteX13" fmla="*/ 799369 w 1015269"/>
                    <a:gd name="connsiteY13" fmla="*/ 347345 h 1302385"/>
                    <a:gd name="connsiteX14" fmla="*/ 184689 w 1015269"/>
                    <a:gd name="connsiteY14" fmla="*/ 347345 h 1302385"/>
                    <a:gd name="connsiteX15" fmla="*/ 184689 w 1015269"/>
                    <a:gd name="connsiteY15" fmla="*/ 504825 h 1302385"/>
                    <a:gd name="connsiteX16" fmla="*/ 133889 w 1015269"/>
                    <a:gd name="connsiteY16" fmla="*/ 504825 h 1302385"/>
                    <a:gd name="connsiteX17" fmla="*/ 133889 w 1015269"/>
                    <a:gd name="connsiteY17" fmla="*/ 296545 h 1302385"/>
                    <a:gd name="connsiteX18" fmla="*/ 11969 w 1015269"/>
                    <a:gd name="connsiteY18" fmla="*/ 296545 h 1302385"/>
                    <a:gd name="connsiteX19" fmla="*/ 11969 w 1015269"/>
                    <a:gd name="connsiteY19" fmla="*/ 512445 h 1302385"/>
                    <a:gd name="connsiteX20" fmla="*/ 83089 w 1015269"/>
                    <a:gd name="connsiteY20" fmla="*/ 512445 h 1302385"/>
                    <a:gd name="connsiteX21" fmla="*/ 10699 w 1015269"/>
                    <a:gd name="connsiteY21" fmla="*/ 664210 h 1302385"/>
                    <a:gd name="connsiteX22" fmla="*/ 42449 w 1015269"/>
                    <a:gd name="connsiteY22" fmla="*/ 751205 h 1302385"/>
                    <a:gd name="connsiteX23" fmla="*/ 121189 w 1015269"/>
                    <a:gd name="connsiteY23" fmla="*/ 746125 h 1302385"/>
                    <a:gd name="connsiteX0" fmla="*/ 121189 w 1015269"/>
                    <a:gd name="connsiteY0" fmla="*/ 746125 h 1302385"/>
                    <a:gd name="connsiteX1" fmla="*/ 126904 w 1015269"/>
                    <a:gd name="connsiteY1" fmla="*/ 909955 h 1302385"/>
                    <a:gd name="connsiteX2" fmla="*/ 415829 w 1015269"/>
                    <a:gd name="connsiteY2" fmla="*/ 1101725 h 1302385"/>
                    <a:gd name="connsiteX3" fmla="*/ 415829 w 1015269"/>
                    <a:gd name="connsiteY3" fmla="*/ 1302385 h 1302385"/>
                    <a:gd name="connsiteX4" fmla="*/ 969549 w 1015269"/>
                    <a:gd name="connsiteY4" fmla="*/ 1302385 h 1302385"/>
                    <a:gd name="connsiteX5" fmla="*/ 969549 w 1015269"/>
                    <a:gd name="connsiteY5" fmla="*/ 832485 h 1302385"/>
                    <a:gd name="connsiteX6" fmla="*/ 979074 w 1015269"/>
                    <a:gd name="connsiteY6" fmla="*/ 0 h 1302385"/>
                    <a:gd name="connsiteX7" fmla="*/ 154209 w 1015269"/>
                    <a:gd name="connsiteY7" fmla="*/ 222885 h 1302385"/>
                    <a:gd name="connsiteX8" fmla="*/ 519969 w 1015269"/>
                    <a:gd name="connsiteY8" fmla="*/ 222885 h 1302385"/>
                    <a:gd name="connsiteX9" fmla="*/ 519969 w 1015269"/>
                    <a:gd name="connsiteY9" fmla="*/ 299085 h 1302385"/>
                    <a:gd name="connsiteX10" fmla="*/ 824769 w 1015269"/>
                    <a:gd name="connsiteY10" fmla="*/ 299085 h 1302385"/>
                    <a:gd name="connsiteX11" fmla="*/ 1015269 w 1015269"/>
                    <a:gd name="connsiteY11" fmla="*/ 438785 h 1302385"/>
                    <a:gd name="connsiteX12" fmla="*/ 972089 w 1015269"/>
                    <a:gd name="connsiteY12" fmla="*/ 466725 h 1302385"/>
                    <a:gd name="connsiteX13" fmla="*/ 799369 w 1015269"/>
                    <a:gd name="connsiteY13" fmla="*/ 347345 h 1302385"/>
                    <a:gd name="connsiteX14" fmla="*/ 184689 w 1015269"/>
                    <a:gd name="connsiteY14" fmla="*/ 347345 h 1302385"/>
                    <a:gd name="connsiteX15" fmla="*/ 184689 w 1015269"/>
                    <a:gd name="connsiteY15" fmla="*/ 504825 h 1302385"/>
                    <a:gd name="connsiteX16" fmla="*/ 133889 w 1015269"/>
                    <a:gd name="connsiteY16" fmla="*/ 504825 h 1302385"/>
                    <a:gd name="connsiteX17" fmla="*/ 133889 w 1015269"/>
                    <a:gd name="connsiteY17" fmla="*/ 296545 h 1302385"/>
                    <a:gd name="connsiteX18" fmla="*/ 11969 w 1015269"/>
                    <a:gd name="connsiteY18" fmla="*/ 296545 h 1302385"/>
                    <a:gd name="connsiteX19" fmla="*/ 11969 w 1015269"/>
                    <a:gd name="connsiteY19" fmla="*/ 512445 h 1302385"/>
                    <a:gd name="connsiteX20" fmla="*/ 83089 w 1015269"/>
                    <a:gd name="connsiteY20" fmla="*/ 512445 h 1302385"/>
                    <a:gd name="connsiteX21" fmla="*/ 10699 w 1015269"/>
                    <a:gd name="connsiteY21" fmla="*/ 664210 h 1302385"/>
                    <a:gd name="connsiteX22" fmla="*/ 42449 w 1015269"/>
                    <a:gd name="connsiteY22" fmla="*/ 751205 h 1302385"/>
                    <a:gd name="connsiteX23" fmla="*/ 121189 w 1015269"/>
                    <a:gd name="connsiteY23" fmla="*/ 746125 h 1302385"/>
                    <a:gd name="connsiteX0" fmla="*/ 121189 w 1015269"/>
                    <a:gd name="connsiteY0" fmla="*/ 746125 h 1302385"/>
                    <a:gd name="connsiteX1" fmla="*/ 126904 w 1015269"/>
                    <a:gd name="connsiteY1" fmla="*/ 909955 h 1302385"/>
                    <a:gd name="connsiteX2" fmla="*/ 415829 w 1015269"/>
                    <a:gd name="connsiteY2" fmla="*/ 1101725 h 1302385"/>
                    <a:gd name="connsiteX3" fmla="*/ 415829 w 1015269"/>
                    <a:gd name="connsiteY3" fmla="*/ 1302385 h 1302385"/>
                    <a:gd name="connsiteX4" fmla="*/ 969549 w 1015269"/>
                    <a:gd name="connsiteY4" fmla="*/ 1302385 h 1302385"/>
                    <a:gd name="connsiteX5" fmla="*/ 969549 w 1015269"/>
                    <a:gd name="connsiteY5" fmla="*/ 832485 h 1302385"/>
                    <a:gd name="connsiteX6" fmla="*/ 979074 w 1015269"/>
                    <a:gd name="connsiteY6" fmla="*/ 0 h 1302385"/>
                    <a:gd name="connsiteX7" fmla="*/ 154209 w 1015269"/>
                    <a:gd name="connsiteY7" fmla="*/ 222885 h 1302385"/>
                    <a:gd name="connsiteX8" fmla="*/ 519969 w 1015269"/>
                    <a:gd name="connsiteY8" fmla="*/ 222885 h 1302385"/>
                    <a:gd name="connsiteX9" fmla="*/ 519969 w 1015269"/>
                    <a:gd name="connsiteY9" fmla="*/ 299085 h 1302385"/>
                    <a:gd name="connsiteX10" fmla="*/ 824769 w 1015269"/>
                    <a:gd name="connsiteY10" fmla="*/ 299085 h 1302385"/>
                    <a:gd name="connsiteX11" fmla="*/ 1015269 w 1015269"/>
                    <a:gd name="connsiteY11" fmla="*/ 438785 h 1302385"/>
                    <a:gd name="connsiteX12" fmla="*/ 972089 w 1015269"/>
                    <a:gd name="connsiteY12" fmla="*/ 466725 h 1302385"/>
                    <a:gd name="connsiteX13" fmla="*/ 799369 w 1015269"/>
                    <a:gd name="connsiteY13" fmla="*/ 347345 h 1302385"/>
                    <a:gd name="connsiteX14" fmla="*/ 184689 w 1015269"/>
                    <a:gd name="connsiteY14" fmla="*/ 347345 h 1302385"/>
                    <a:gd name="connsiteX15" fmla="*/ 184689 w 1015269"/>
                    <a:gd name="connsiteY15" fmla="*/ 504825 h 1302385"/>
                    <a:gd name="connsiteX16" fmla="*/ 133889 w 1015269"/>
                    <a:gd name="connsiteY16" fmla="*/ 504825 h 1302385"/>
                    <a:gd name="connsiteX17" fmla="*/ 133889 w 1015269"/>
                    <a:gd name="connsiteY17" fmla="*/ 296545 h 1302385"/>
                    <a:gd name="connsiteX18" fmla="*/ 11969 w 1015269"/>
                    <a:gd name="connsiteY18" fmla="*/ 296545 h 1302385"/>
                    <a:gd name="connsiteX19" fmla="*/ 11969 w 1015269"/>
                    <a:gd name="connsiteY19" fmla="*/ 512445 h 1302385"/>
                    <a:gd name="connsiteX20" fmla="*/ 83089 w 1015269"/>
                    <a:gd name="connsiteY20" fmla="*/ 512445 h 1302385"/>
                    <a:gd name="connsiteX21" fmla="*/ 10699 w 1015269"/>
                    <a:gd name="connsiteY21" fmla="*/ 664210 h 1302385"/>
                    <a:gd name="connsiteX22" fmla="*/ 42449 w 1015269"/>
                    <a:gd name="connsiteY22" fmla="*/ 751205 h 1302385"/>
                    <a:gd name="connsiteX23" fmla="*/ 121189 w 1015269"/>
                    <a:gd name="connsiteY23" fmla="*/ 746125 h 1302385"/>
                    <a:gd name="connsiteX0" fmla="*/ 121189 w 1015269"/>
                    <a:gd name="connsiteY0" fmla="*/ 746125 h 1302385"/>
                    <a:gd name="connsiteX1" fmla="*/ 126904 w 1015269"/>
                    <a:gd name="connsiteY1" fmla="*/ 909955 h 1302385"/>
                    <a:gd name="connsiteX2" fmla="*/ 415829 w 1015269"/>
                    <a:gd name="connsiteY2" fmla="*/ 1101725 h 1302385"/>
                    <a:gd name="connsiteX3" fmla="*/ 415829 w 1015269"/>
                    <a:gd name="connsiteY3" fmla="*/ 1302385 h 1302385"/>
                    <a:gd name="connsiteX4" fmla="*/ 969549 w 1015269"/>
                    <a:gd name="connsiteY4" fmla="*/ 1302385 h 1302385"/>
                    <a:gd name="connsiteX5" fmla="*/ 969549 w 1015269"/>
                    <a:gd name="connsiteY5" fmla="*/ 832485 h 1302385"/>
                    <a:gd name="connsiteX6" fmla="*/ 979074 w 1015269"/>
                    <a:gd name="connsiteY6" fmla="*/ 0 h 1302385"/>
                    <a:gd name="connsiteX7" fmla="*/ 154209 w 1015269"/>
                    <a:gd name="connsiteY7" fmla="*/ 222885 h 1302385"/>
                    <a:gd name="connsiteX8" fmla="*/ 519969 w 1015269"/>
                    <a:gd name="connsiteY8" fmla="*/ 222885 h 1302385"/>
                    <a:gd name="connsiteX9" fmla="*/ 519969 w 1015269"/>
                    <a:gd name="connsiteY9" fmla="*/ 299085 h 1302385"/>
                    <a:gd name="connsiteX10" fmla="*/ 824769 w 1015269"/>
                    <a:gd name="connsiteY10" fmla="*/ 299085 h 1302385"/>
                    <a:gd name="connsiteX11" fmla="*/ 1015269 w 1015269"/>
                    <a:gd name="connsiteY11" fmla="*/ 438785 h 1302385"/>
                    <a:gd name="connsiteX12" fmla="*/ 972089 w 1015269"/>
                    <a:gd name="connsiteY12" fmla="*/ 466725 h 1302385"/>
                    <a:gd name="connsiteX13" fmla="*/ 799369 w 1015269"/>
                    <a:gd name="connsiteY13" fmla="*/ 347345 h 1302385"/>
                    <a:gd name="connsiteX14" fmla="*/ 184689 w 1015269"/>
                    <a:gd name="connsiteY14" fmla="*/ 347345 h 1302385"/>
                    <a:gd name="connsiteX15" fmla="*/ 184689 w 1015269"/>
                    <a:gd name="connsiteY15" fmla="*/ 504825 h 1302385"/>
                    <a:gd name="connsiteX16" fmla="*/ 133889 w 1015269"/>
                    <a:gd name="connsiteY16" fmla="*/ 504825 h 1302385"/>
                    <a:gd name="connsiteX17" fmla="*/ 133889 w 1015269"/>
                    <a:gd name="connsiteY17" fmla="*/ 296545 h 1302385"/>
                    <a:gd name="connsiteX18" fmla="*/ 11969 w 1015269"/>
                    <a:gd name="connsiteY18" fmla="*/ 296545 h 1302385"/>
                    <a:gd name="connsiteX19" fmla="*/ 11969 w 1015269"/>
                    <a:gd name="connsiteY19" fmla="*/ 512445 h 1302385"/>
                    <a:gd name="connsiteX20" fmla="*/ 83089 w 1015269"/>
                    <a:gd name="connsiteY20" fmla="*/ 512445 h 1302385"/>
                    <a:gd name="connsiteX21" fmla="*/ 10699 w 1015269"/>
                    <a:gd name="connsiteY21" fmla="*/ 664210 h 1302385"/>
                    <a:gd name="connsiteX22" fmla="*/ 42449 w 1015269"/>
                    <a:gd name="connsiteY22" fmla="*/ 751205 h 1302385"/>
                    <a:gd name="connsiteX23" fmla="*/ 121189 w 1015269"/>
                    <a:gd name="connsiteY23" fmla="*/ 746125 h 1302385"/>
                    <a:gd name="connsiteX0" fmla="*/ 121189 w 1067727"/>
                    <a:gd name="connsiteY0" fmla="*/ 746125 h 1302385"/>
                    <a:gd name="connsiteX1" fmla="*/ 126904 w 1067727"/>
                    <a:gd name="connsiteY1" fmla="*/ 909955 h 1302385"/>
                    <a:gd name="connsiteX2" fmla="*/ 415829 w 1067727"/>
                    <a:gd name="connsiteY2" fmla="*/ 1101725 h 1302385"/>
                    <a:gd name="connsiteX3" fmla="*/ 415829 w 1067727"/>
                    <a:gd name="connsiteY3" fmla="*/ 1302385 h 1302385"/>
                    <a:gd name="connsiteX4" fmla="*/ 969549 w 1067727"/>
                    <a:gd name="connsiteY4" fmla="*/ 1302385 h 1302385"/>
                    <a:gd name="connsiteX5" fmla="*/ 969549 w 1067727"/>
                    <a:gd name="connsiteY5" fmla="*/ 832485 h 1302385"/>
                    <a:gd name="connsiteX6" fmla="*/ 979074 w 1067727"/>
                    <a:gd name="connsiteY6" fmla="*/ 0 h 1302385"/>
                    <a:gd name="connsiteX7" fmla="*/ 154209 w 1067727"/>
                    <a:gd name="connsiteY7" fmla="*/ 222885 h 1302385"/>
                    <a:gd name="connsiteX8" fmla="*/ 519969 w 1067727"/>
                    <a:gd name="connsiteY8" fmla="*/ 222885 h 1302385"/>
                    <a:gd name="connsiteX9" fmla="*/ 519969 w 1067727"/>
                    <a:gd name="connsiteY9" fmla="*/ 299085 h 1302385"/>
                    <a:gd name="connsiteX10" fmla="*/ 824769 w 1067727"/>
                    <a:gd name="connsiteY10" fmla="*/ 299085 h 1302385"/>
                    <a:gd name="connsiteX11" fmla="*/ 1015269 w 1067727"/>
                    <a:gd name="connsiteY11" fmla="*/ 438785 h 1302385"/>
                    <a:gd name="connsiteX12" fmla="*/ 972089 w 1067727"/>
                    <a:gd name="connsiteY12" fmla="*/ 466725 h 1302385"/>
                    <a:gd name="connsiteX13" fmla="*/ 799369 w 1067727"/>
                    <a:gd name="connsiteY13" fmla="*/ 347345 h 1302385"/>
                    <a:gd name="connsiteX14" fmla="*/ 184689 w 1067727"/>
                    <a:gd name="connsiteY14" fmla="*/ 347345 h 1302385"/>
                    <a:gd name="connsiteX15" fmla="*/ 184689 w 1067727"/>
                    <a:gd name="connsiteY15" fmla="*/ 504825 h 1302385"/>
                    <a:gd name="connsiteX16" fmla="*/ 133889 w 1067727"/>
                    <a:gd name="connsiteY16" fmla="*/ 504825 h 1302385"/>
                    <a:gd name="connsiteX17" fmla="*/ 133889 w 1067727"/>
                    <a:gd name="connsiteY17" fmla="*/ 296545 h 1302385"/>
                    <a:gd name="connsiteX18" fmla="*/ 11969 w 1067727"/>
                    <a:gd name="connsiteY18" fmla="*/ 296545 h 1302385"/>
                    <a:gd name="connsiteX19" fmla="*/ 11969 w 1067727"/>
                    <a:gd name="connsiteY19" fmla="*/ 512445 h 1302385"/>
                    <a:gd name="connsiteX20" fmla="*/ 83089 w 1067727"/>
                    <a:gd name="connsiteY20" fmla="*/ 512445 h 1302385"/>
                    <a:gd name="connsiteX21" fmla="*/ 10699 w 1067727"/>
                    <a:gd name="connsiteY21" fmla="*/ 664210 h 1302385"/>
                    <a:gd name="connsiteX22" fmla="*/ 42449 w 1067727"/>
                    <a:gd name="connsiteY22" fmla="*/ 751205 h 1302385"/>
                    <a:gd name="connsiteX23" fmla="*/ 121189 w 1067727"/>
                    <a:gd name="connsiteY23" fmla="*/ 746125 h 1302385"/>
                    <a:gd name="connsiteX0" fmla="*/ 121189 w 1165239"/>
                    <a:gd name="connsiteY0" fmla="*/ 746125 h 1302385"/>
                    <a:gd name="connsiteX1" fmla="*/ 126904 w 1165239"/>
                    <a:gd name="connsiteY1" fmla="*/ 909955 h 1302385"/>
                    <a:gd name="connsiteX2" fmla="*/ 415829 w 1165239"/>
                    <a:gd name="connsiteY2" fmla="*/ 1101725 h 1302385"/>
                    <a:gd name="connsiteX3" fmla="*/ 415829 w 1165239"/>
                    <a:gd name="connsiteY3" fmla="*/ 1302385 h 1302385"/>
                    <a:gd name="connsiteX4" fmla="*/ 969549 w 1165239"/>
                    <a:gd name="connsiteY4" fmla="*/ 1302385 h 1302385"/>
                    <a:gd name="connsiteX5" fmla="*/ 969549 w 1165239"/>
                    <a:gd name="connsiteY5" fmla="*/ 832485 h 1302385"/>
                    <a:gd name="connsiteX6" fmla="*/ 979074 w 1165239"/>
                    <a:gd name="connsiteY6" fmla="*/ 0 h 1302385"/>
                    <a:gd name="connsiteX7" fmla="*/ 154209 w 1165239"/>
                    <a:gd name="connsiteY7" fmla="*/ 222885 h 1302385"/>
                    <a:gd name="connsiteX8" fmla="*/ 519969 w 1165239"/>
                    <a:gd name="connsiteY8" fmla="*/ 222885 h 1302385"/>
                    <a:gd name="connsiteX9" fmla="*/ 519969 w 1165239"/>
                    <a:gd name="connsiteY9" fmla="*/ 299085 h 1302385"/>
                    <a:gd name="connsiteX10" fmla="*/ 824769 w 1165239"/>
                    <a:gd name="connsiteY10" fmla="*/ 299085 h 1302385"/>
                    <a:gd name="connsiteX11" fmla="*/ 1015269 w 1165239"/>
                    <a:gd name="connsiteY11" fmla="*/ 438785 h 1302385"/>
                    <a:gd name="connsiteX12" fmla="*/ 972089 w 1165239"/>
                    <a:gd name="connsiteY12" fmla="*/ 466725 h 1302385"/>
                    <a:gd name="connsiteX13" fmla="*/ 799369 w 1165239"/>
                    <a:gd name="connsiteY13" fmla="*/ 347345 h 1302385"/>
                    <a:gd name="connsiteX14" fmla="*/ 184689 w 1165239"/>
                    <a:gd name="connsiteY14" fmla="*/ 347345 h 1302385"/>
                    <a:gd name="connsiteX15" fmla="*/ 184689 w 1165239"/>
                    <a:gd name="connsiteY15" fmla="*/ 504825 h 1302385"/>
                    <a:gd name="connsiteX16" fmla="*/ 133889 w 1165239"/>
                    <a:gd name="connsiteY16" fmla="*/ 504825 h 1302385"/>
                    <a:gd name="connsiteX17" fmla="*/ 133889 w 1165239"/>
                    <a:gd name="connsiteY17" fmla="*/ 296545 h 1302385"/>
                    <a:gd name="connsiteX18" fmla="*/ 11969 w 1165239"/>
                    <a:gd name="connsiteY18" fmla="*/ 296545 h 1302385"/>
                    <a:gd name="connsiteX19" fmla="*/ 11969 w 1165239"/>
                    <a:gd name="connsiteY19" fmla="*/ 512445 h 1302385"/>
                    <a:gd name="connsiteX20" fmla="*/ 83089 w 1165239"/>
                    <a:gd name="connsiteY20" fmla="*/ 512445 h 1302385"/>
                    <a:gd name="connsiteX21" fmla="*/ 10699 w 1165239"/>
                    <a:gd name="connsiteY21" fmla="*/ 664210 h 1302385"/>
                    <a:gd name="connsiteX22" fmla="*/ 42449 w 1165239"/>
                    <a:gd name="connsiteY22" fmla="*/ 751205 h 1302385"/>
                    <a:gd name="connsiteX23" fmla="*/ 121189 w 1165239"/>
                    <a:gd name="connsiteY23" fmla="*/ 746125 h 1302385"/>
                    <a:gd name="connsiteX0" fmla="*/ 121189 w 1165239"/>
                    <a:gd name="connsiteY0" fmla="*/ 746125 h 1302385"/>
                    <a:gd name="connsiteX1" fmla="*/ 126904 w 1165239"/>
                    <a:gd name="connsiteY1" fmla="*/ 909955 h 1302385"/>
                    <a:gd name="connsiteX2" fmla="*/ 415829 w 1165239"/>
                    <a:gd name="connsiteY2" fmla="*/ 1101725 h 1302385"/>
                    <a:gd name="connsiteX3" fmla="*/ 415829 w 1165239"/>
                    <a:gd name="connsiteY3" fmla="*/ 1302385 h 1302385"/>
                    <a:gd name="connsiteX4" fmla="*/ 969549 w 1165239"/>
                    <a:gd name="connsiteY4" fmla="*/ 1302385 h 1302385"/>
                    <a:gd name="connsiteX5" fmla="*/ 969549 w 1165239"/>
                    <a:gd name="connsiteY5" fmla="*/ 832485 h 1302385"/>
                    <a:gd name="connsiteX6" fmla="*/ 979074 w 1165239"/>
                    <a:gd name="connsiteY6" fmla="*/ 0 h 1302385"/>
                    <a:gd name="connsiteX7" fmla="*/ 154209 w 1165239"/>
                    <a:gd name="connsiteY7" fmla="*/ 222885 h 1302385"/>
                    <a:gd name="connsiteX8" fmla="*/ 519969 w 1165239"/>
                    <a:gd name="connsiteY8" fmla="*/ 222885 h 1302385"/>
                    <a:gd name="connsiteX9" fmla="*/ 519969 w 1165239"/>
                    <a:gd name="connsiteY9" fmla="*/ 299085 h 1302385"/>
                    <a:gd name="connsiteX10" fmla="*/ 824769 w 1165239"/>
                    <a:gd name="connsiteY10" fmla="*/ 299085 h 1302385"/>
                    <a:gd name="connsiteX11" fmla="*/ 1015269 w 1165239"/>
                    <a:gd name="connsiteY11" fmla="*/ 438785 h 1302385"/>
                    <a:gd name="connsiteX12" fmla="*/ 972089 w 1165239"/>
                    <a:gd name="connsiteY12" fmla="*/ 466725 h 1302385"/>
                    <a:gd name="connsiteX13" fmla="*/ 799369 w 1165239"/>
                    <a:gd name="connsiteY13" fmla="*/ 347345 h 1302385"/>
                    <a:gd name="connsiteX14" fmla="*/ 184689 w 1165239"/>
                    <a:gd name="connsiteY14" fmla="*/ 347345 h 1302385"/>
                    <a:gd name="connsiteX15" fmla="*/ 184689 w 1165239"/>
                    <a:gd name="connsiteY15" fmla="*/ 504825 h 1302385"/>
                    <a:gd name="connsiteX16" fmla="*/ 133889 w 1165239"/>
                    <a:gd name="connsiteY16" fmla="*/ 504825 h 1302385"/>
                    <a:gd name="connsiteX17" fmla="*/ 133889 w 1165239"/>
                    <a:gd name="connsiteY17" fmla="*/ 296545 h 1302385"/>
                    <a:gd name="connsiteX18" fmla="*/ 11969 w 1165239"/>
                    <a:gd name="connsiteY18" fmla="*/ 296545 h 1302385"/>
                    <a:gd name="connsiteX19" fmla="*/ 11969 w 1165239"/>
                    <a:gd name="connsiteY19" fmla="*/ 512445 h 1302385"/>
                    <a:gd name="connsiteX20" fmla="*/ 83089 w 1165239"/>
                    <a:gd name="connsiteY20" fmla="*/ 512445 h 1302385"/>
                    <a:gd name="connsiteX21" fmla="*/ 10699 w 1165239"/>
                    <a:gd name="connsiteY21" fmla="*/ 664210 h 1302385"/>
                    <a:gd name="connsiteX22" fmla="*/ 42449 w 1165239"/>
                    <a:gd name="connsiteY22" fmla="*/ 751205 h 1302385"/>
                    <a:gd name="connsiteX23" fmla="*/ 121189 w 1165239"/>
                    <a:gd name="connsiteY23" fmla="*/ 746125 h 1302385"/>
                    <a:gd name="connsiteX0" fmla="*/ 121189 w 1165239"/>
                    <a:gd name="connsiteY0" fmla="*/ 805725 h 1361985"/>
                    <a:gd name="connsiteX1" fmla="*/ 126904 w 1165239"/>
                    <a:gd name="connsiteY1" fmla="*/ 969555 h 1361985"/>
                    <a:gd name="connsiteX2" fmla="*/ 415829 w 1165239"/>
                    <a:gd name="connsiteY2" fmla="*/ 1161325 h 1361985"/>
                    <a:gd name="connsiteX3" fmla="*/ 415829 w 1165239"/>
                    <a:gd name="connsiteY3" fmla="*/ 1361985 h 1361985"/>
                    <a:gd name="connsiteX4" fmla="*/ 969549 w 1165239"/>
                    <a:gd name="connsiteY4" fmla="*/ 1361985 h 1361985"/>
                    <a:gd name="connsiteX5" fmla="*/ 969549 w 1165239"/>
                    <a:gd name="connsiteY5" fmla="*/ 892085 h 1361985"/>
                    <a:gd name="connsiteX6" fmla="*/ 979074 w 1165239"/>
                    <a:gd name="connsiteY6" fmla="*/ 59600 h 1361985"/>
                    <a:gd name="connsiteX7" fmla="*/ 154209 w 1165239"/>
                    <a:gd name="connsiteY7" fmla="*/ 282485 h 1361985"/>
                    <a:gd name="connsiteX8" fmla="*/ 519969 w 1165239"/>
                    <a:gd name="connsiteY8" fmla="*/ 282485 h 1361985"/>
                    <a:gd name="connsiteX9" fmla="*/ 519969 w 1165239"/>
                    <a:gd name="connsiteY9" fmla="*/ 358685 h 1361985"/>
                    <a:gd name="connsiteX10" fmla="*/ 824769 w 1165239"/>
                    <a:gd name="connsiteY10" fmla="*/ 358685 h 1361985"/>
                    <a:gd name="connsiteX11" fmla="*/ 1015269 w 1165239"/>
                    <a:gd name="connsiteY11" fmla="*/ 498385 h 1361985"/>
                    <a:gd name="connsiteX12" fmla="*/ 972089 w 1165239"/>
                    <a:gd name="connsiteY12" fmla="*/ 526325 h 1361985"/>
                    <a:gd name="connsiteX13" fmla="*/ 799369 w 1165239"/>
                    <a:gd name="connsiteY13" fmla="*/ 406945 h 1361985"/>
                    <a:gd name="connsiteX14" fmla="*/ 184689 w 1165239"/>
                    <a:gd name="connsiteY14" fmla="*/ 406945 h 1361985"/>
                    <a:gd name="connsiteX15" fmla="*/ 184689 w 1165239"/>
                    <a:gd name="connsiteY15" fmla="*/ 564425 h 1361985"/>
                    <a:gd name="connsiteX16" fmla="*/ 133889 w 1165239"/>
                    <a:gd name="connsiteY16" fmla="*/ 564425 h 1361985"/>
                    <a:gd name="connsiteX17" fmla="*/ 133889 w 1165239"/>
                    <a:gd name="connsiteY17" fmla="*/ 356145 h 1361985"/>
                    <a:gd name="connsiteX18" fmla="*/ 11969 w 1165239"/>
                    <a:gd name="connsiteY18" fmla="*/ 356145 h 1361985"/>
                    <a:gd name="connsiteX19" fmla="*/ 11969 w 1165239"/>
                    <a:gd name="connsiteY19" fmla="*/ 572045 h 1361985"/>
                    <a:gd name="connsiteX20" fmla="*/ 83089 w 1165239"/>
                    <a:gd name="connsiteY20" fmla="*/ 572045 h 1361985"/>
                    <a:gd name="connsiteX21" fmla="*/ 10699 w 1165239"/>
                    <a:gd name="connsiteY21" fmla="*/ 723810 h 1361985"/>
                    <a:gd name="connsiteX22" fmla="*/ 42449 w 1165239"/>
                    <a:gd name="connsiteY22" fmla="*/ 810805 h 1361985"/>
                    <a:gd name="connsiteX23" fmla="*/ 121189 w 1165239"/>
                    <a:gd name="connsiteY23" fmla="*/ 805725 h 1361985"/>
                    <a:gd name="connsiteX0" fmla="*/ 121189 w 1165239"/>
                    <a:gd name="connsiteY0" fmla="*/ 854315 h 1410575"/>
                    <a:gd name="connsiteX1" fmla="*/ 126904 w 1165239"/>
                    <a:gd name="connsiteY1" fmla="*/ 1018145 h 1410575"/>
                    <a:gd name="connsiteX2" fmla="*/ 415829 w 1165239"/>
                    <a:gd name="connsiteY2" fmla="*/ 1209915 h 1410575"/>
                    <a:gd name="connsiteX3" fmla="*/ 415829 w 1165239"/>
                    <a:gd name="connsiteY3" fmla="*/ 1410575 h 1410575"/>
                    <a:gd name="connsiteX4" fmla="*/ 969549 w 1165239"/>
                    <a:gd name="connsiteY4" fmla="*/ 1410575 h 1410575"/>
                    <a:gd name="connsiteX5" fmla="*/ 969549 w 1165239"/>
                    <a:gd name="connsiteY5" fmla="*/ 940675 h 1410575"/>
                    <a:gd name="connsiteX6" fmla="*/ 979074 w 1165239"/>
                    <a:gd name="connsiteY6" fmla="*/ 108190 h 1410575"/>
                    <a:gd name="connsiteX7" fmla="*/ 154209 w 1165239"/>
                    <a:gd name="connsiteY7" fmla="*/ 331075 h 1410575"/>
                    <a:gd name="connsiteX8" fmla="*/ 519969 w 1165239"/>
                    <a:gd name="connsiteY8" fmla="*/ 331075 h 1410575"/>
                    <a:gd name="connsiteX9" fmla="*/ 519969 w 1165239"/>
                    <a:gd name="connsiteY9" fmla="*/ 407275 h 1410575"/>
                    <a:gd name="connsiteX10" fmla="*/ 824769 w 1165239"/>
                    <a:gd name="connsiteY10" fmla="*/ 407275 h 1410575"/>
                    <a:gd name="connsiteX11" fmla="*/ 1015269 w 1165239"/>
                    <a:gd name="connsiteY11" fmla="*/ 546975 h 1410575"/>
                    <a:gd name="connsiteX12" fmla="*/ 972089 w 1165239"/>
                    <a:gd name="connsiteY12" fmla="*/ 574915 h 1410575"/>
                    <a:gd name="connsiteX13" fmla="*/ 799369 w 1165239"/>
                    <a:gd name="connsiteY13" fmla="*/ 455535 h 1410575"/>
                    <a:gd name="connsiteX14" fmla="*/ 184689 w 1165239"/>
                    <a:gd name="connsiteY14" fmla="*/ 455535 h 1410575"/>
                    <a:gd name="connsiteX15" fmla="*/ 184689 w 1165239"/>
                    <a:gd name="connsiteY15" fmla="*/ 613015 h 1410575"/>
                    <a:gd name="connsiteX16" fmla="*/ 133889 w 1165239"/>
                    <a:gd name="connsiteY16" fmla="*/ 613015 h 1410575"/>
                    <a:gd name="connsiteX17" fmla="*/ 133889 w 1165239"/>
                    <a:gd name="connsiteY17" fmla="*/ 404735 h 1410575"/>
                    <a:gd name="connsiteX18" fmla="*/ 11969 w 1165239"/>
                    <a:gd name="connsiteY18" fmla="*/ 404735 h 1410575"/>
                    <a:gd name="connsiteX19" fmla="*/ 11969 w 1165239"/>
                    <a:gd name="connsiteY19" fmla="*/ 620635 h 1410575"/>
                    <a:gd name="connsiteX20" fmla="*/ 83089 w 1165239"/>
                    <a:gd name="connsiteY20" fmla="*/ 620635 h 1410575"/>
                    <a:gd name="connsiteX21" fmla="*/ 10699 w 1165239"/>
                    <a:gd name="connsiteY21" fmla="*/ 772400 h 1410575"/>
                    <a:gd name="connsiteX22" fmla="*/ 42449 w 1165239"/>
                    <a:gd name="connsiteY22" fmla="*/ 859395 h 1410575"/>
                    <a:gd name="connsiteX23" fmla="*/ 121189 w 1165239"/>
                    <a:gd name="connsiteY23" fmla="*/ 854315 h 141057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 name="connsiteX0" fmla="*/ 121189 w 1165239"/>
                    <a:gd name="connsiteY0" fmla="*/ 861885 h 1418145"/>
                    <a:gd name="connsiteX1" fmla="*/ 126904 w 1165239"/>
                    <a:gd name="connsiteY1" fmla="*/ 1025715 h 1418145"/>
                    <a:gd name="connsiteX2" fmla="*/ 415829 w 1165239"/>
                    <a:gd name="connsiteY2" fmla="*/ 1217485 h 1418145"/>
                    <a:gd name="connsiteX3" fmla="*/ 415829 w 1165239"/>
                    <a:gd name="connsiteY3" fmla="*/ 1418145 h 1418145"/>
                    <a:gd name="connsiteX4" fmla="*/ 969549 w 1165239"/>
                    <a:gd name="connsiteY4" fmla="*/ 1418145 h 1418145"/>
                    <a:gd name="connsiteX5" fmla="*/ 969549 w 1165239"/>
                    <a:gd name="connsiteY5" fmla="*/ 948245 h 1418145"/>
                    <a:gd name="connsiteX6" fmla="*/ 979074 w 1165239"/>
                    <a:gd name="connsiteY6" fmla="*/ 115760 h 1418145"/>
                    <a:gd name="connsiteX7" fmla="*/ 154209 w 1165239"/>
                    <a:gd name="connsiteY7" fmla="*/ 338645 h 1418145"/>
                    <a:gd name="connsiteX8" fmla="*/ 519969 w 1165239"/>
                    <a:gd name="connsiteY8" fmla="*/ 338645 h 1418145"/>
                    <a:gd name="connsiteX9" fmla="*/ 519969 w 1165239"/>
                    <a:gd name="connsiteY9" fmla="*/ 414845 h 1418145"/>
                    <a:gd name="connsiteX10" fmla="*/ 824769 w 1165239"/>
                    <a:gd name="connsiteY10" fmla="*/ 414845 h 1418145"/>
                    <a:gd name="connsiteX11" fmla="*/ 1015269 w 1165239"/>
                    <a:gd name="connsiteY11" fmla="*/ 554545 h 1418145"/>
                    <a:gd name="connsiteX12" fmla="*/ 972089 w 1165239"/>
                    <a:gd name="connsiteY12" fmla="*/ 582485 h 1418145"/>
                    <a:gd name="connsiteX13" fmla="*/ 799369 w 1165239"/>
                    <a:gd name="connsiteY13" fmla="*/ 463105 h 1418145"/>
                    <a:gd name="connsiteX14" fmla="*/ 184689 w 1165239"/>
                    <a:gd name="connsiteY14" fmla="*/ 463105 h 1418145"/>
                    <a:gd name="connsiteX15" fmla="*/ 184689 w 1165239"/>
                    <a:gd name="connsiteY15" fmla="*/ 620585 h 1418145"/>
                    <a:gd name="connsiteX16" fmla="*/ 133889 w 1165239"/>
                    <a:gd name="connsiteY16" fmla="*/ 620585 h 1418145"/>
                    <a:gd name="connsiteX17" fmla="*/ 133889 w 1165239"/>
                    <a:gd name="connsiteY17" fmla="*/ 412305 h 1418145"/>
                    <a:gd name="connsiteX18" fmla="*/ 11969 w 1165239"/>
                    <a:gd name="connsiteY18" fmla="*/ 412305 h 1418145"/>
                    <a:gd name="connsiteX19" fmla="*/ 11969 w 1165239"/>
                    <a:gd name="connsiteY19" fmla="*/ 628205 h 1418145"/>
                    <a:gd name="connsiteX20" fmla="*/ 83089 w 1165239"/>
                    <a:gd name="connsiteY20" fmla="*/ 628205 h 1418145"/>
                    <a:gd name="connsiteX21" fmla="*/ 10699 w 1165239"/>
                    <a:gd name="connsiteY21" fmla="*/ 779970 h 1418145"/>
                    <a:gd name="connsiteX22" fmla="*/ 42449 w 1165239"/>
                    <a:gd name="connsiteY22" fmla="*/ 866965 h 1418145"/>
                    <a:gd name="connsiteX23" fmla="*/ 121189 w 1165239"/>
                    <a:gd name="connsiteY23" fmla="*/ 861885 h 141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239" h="1418145">
                      <a:moveTo>
                        <a:pt x="121189" y="861885"/>
                      </a:moveTo>
                      <a:lnTo>
                        <a:pt x="126904" y="1025715"/>
                      </a:lnTo>
                      <a:cubicBezTo>
                        <a:pt x="150822" y="1213463"/>
                        <a:pt x="279516" y="1222142"/>
                        <a:pt x="415829" y="1217485"/>
                      </a:cubicBezTo>
                      <a:lnTo>
                        <a:pt x="415829" y="1418145"/>
                      </a:lnTo>
                      <a:lnTo>
                        <a:pt x="969549" y="1418145"/>
                      </a:lnTo>
                      <a:lnTo>
                        <a:pt x="969549" y="948245"/>
                      </a:lnTo>
                      <a:cubicBezTo>
                        <a:pt x="1186402" y="769281"/>
                        <a:pt x="1267364" y="391350"/>
                        <a:pt x="979074" y="115760"/>
                      </a:cubicBezTo>
                      <a:cubicBezTo>
                        <a:pt x="706024" y="-97600"/>
                        <a:pt x="297719" y="-11875"/>
                        <a:pt x="154209" y="338645"/>
                      </a:cubicBezTo>
                      <a:lnTo>
                        <a:pt x="519969" y="338645"/>
                      </a:lnTo>
                      <a:lnTo>
                        <a:pt x="519969" y="414845"/>
                      </a:lnTo>
                      <a:lnTo>
                        <a:pt x="824769" y="414845"/>
                      </a:lnTo>
                      <a:cubicBezTo>
                        <a:pt x="947324" y="417597"/>
                        <a:pt x="989869" y="490833"/>
                        <a:pt x="1015269" y="554545"/>
                      </a:cubicBezTo>
                      <a:cubicBezTo>
                        <a:pt x="1027546" y="613388"/>
                        <a:pt x="969337" y="618892"/>
                        <a:pt x="972089" y="582485"/>
                      </a:cubicBezTo>
                      <a:cubicBezTo>
                        <a:pt x="937376" y="464587"/>
                        <a:pt x="849322" y="460988"/>
                        <a:pt x="799369" y="463105"/>
                      </a:cubicBezTo>
                      <a:lnTo>
                        <a:pt x="184689" y="463105"/>
                      </a:lnTo>
                      <a:lnTo>
                        <a:pt x="184689" y="620585"/>
                      </a:lnTo>
                      <a:cubicBezTo>
                        <a:pt x="181091" y="672020"/>
                        <a:pt x="139392" y="660590"/>
                        <a:pt x="133889" y="620585"/>
                      </a:cubicBezTo>
                      <a:lnTo>
                        <a:pt x="133889" y="412305"/>
                      </a:lnTo>
                      <a:lnTo>
                        <a:pt x="11969" y="412305"/>
                      </a:lnTo>
                      <a:lnTo>
                        <a:pt x="11969" y="628205"/>
                      </a:lnTo>
                      <a:lnTo>
                        <a:pt x="83089" y="628205"/>
                      </a:lnTo>
                      <a:lnTo>
                        <a:pt x="10699" y="779970"/>
                      </a:lnTo>
                      <a:cubicBezTo>
                        <a:pt x="-7293" y="833733"/>
                        <a:pt x="-6234" y="860827"/>
                        <a:pt x="42449" y="866965"/>
                      </a:cubicBezTo>
                      <a:lnTo>
                        <a:pt x="121189" y="861885"/>
                      </a:lnTo>
                      <a:close/>
                    </a:path>
                  </a:pathLst>
                </a:custGeom>
                <a:solidFill>
                  <a:srgbClr val="B51F7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42FF4512-DDD8-4841-A85C-66398D8B095E}"/>
                    </a:ext>
                  </a:extLst>
                </p:cNvPr>
                <p:cNvSpPr/>
                <p:nvPr/>
              </p:nvSpPr>
              <p:spPr>
                <a:xfrm>
                  <a:off x="7856221" y="5596891"/>
                  <a:ext cx="100964" cy="1009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Freeform: Shape 211">
                  <a:extLst>
                    <a:ext uri="{FF2B5EF4-FFF2-40B4-BE49-F238E27FC236}">
                      <a16:creationId xmlns:a16="http://schemas.microsoft.com/office/drawing/2014/main" id="{042A3CF8-04BA-4BC6-BFDF-D487DFC53912}"/>
                    </a:ext>
                  </a:extLst>
                </p:cNvPr>
                <p:cNvSpPr/>
                <p:nvPr/>
              </p:nvSpPr>
              <p:spPr>
                <a:xfrm>
                  <a:off x="8275320" y="5602786"/>
                  <a:ext cx="249468" cy="321834"/>
                </a:xfrm>
                <a:custGeom>
                  <a:avLst/>
                  <a:gdLst>
                    <a:gd name="connsiteX0" fmla="*/ 0 w 167640"/>
                    <a:gd name="connsiteY0" fmla="*/ 70485 h 310515"/>
                    <a:gd name="connsiteX1" fmla="*/ 167640 w 167640"/>
                    <a:gd name="connsiteY1" fmla="*/ 0 h 310515"/>
                    <a:gd name="connsiteX2" fmla="*/ 89535 w 167640"/>
                    <a:gd name="connsiteY2" fmla="*/ 310515 h 310515"/>
                    <a:gd name="connsiteX3" fmla="*/ 60960 w 167640"/>
                    <a:gd name="connsiteY3" fmla="*/ 255270 h 310515"/>
                    <a:gd name="connsiteX4" fmla="*/ 112395 w 167640"/>
                    <a:gd name="connsiteY4" fmla="*/ 40005 h 310515"/>
                    <a:gd name="connsiteX5" fmla="*/ 47625 w 167640"/>
                    <a:gd name="connsiteY5" fmla="*/ 89535 h 310515"/>
                    <a:gd name="connsiteX6" fmla="*/ 0 w 167640"/>
                    <a:gd name="connsiteY6" fmla="*/ 70485 h 310515"/>
                    <a:gd name="connsiteX0" fmla="*/ 0 w 167640"/>
                    <a:gd name="connsiteY0" fmla="*/ 70485 h 310515"/>
                    <a:gd name="connsiteX1" fmla="*/ 167640 w 167640"/>
                    <a:gd name="connsiteY1" fmla="*/ 0 h 310515"/>
                    <a:gd name="connsiteX2" fmla="*/ 89535 w 167640"/>
                    <a:gd name="connsiteY2" fmla="*/ 310515 h 310515"/>
                    <a:gd name="connsiteX3" fmla="*/ 60960 w 167640"/>
                    <a:gd name="connsiteY3" fmla="*/ 255270 h 310515"/>
                    <a:gd name="connsiteX4" fmla="*/ 112395 w 167640"/>
                    <a:gd name="connsiteY4" fmla="*/ 40005 h 310515"/>
                    <a:gd name="connsiteX5" fmla="*/ 47625 w 167640"/>
                    <a:gd name="connsiteY5" fmla="*/ 89535 h 310515"/>
                    <a:gd name="connsiteX6" fmla="*/ 0 w 167640"/>
                    <a:gd name="connsiteY6" fmla="*/ 70485 h 310515"/>
                    <a:gd name="connsiteX0" fmla="*/ 0 w 167640"/>
                    <a:gd name="connsiteY0" fmla="*/ 70485 h 310515"/>
                    <a:gd name="connsiteX1" fmla="*/ 167640 w 167640"/>
                    <a:gd name="connsiteY1" fmla="*/ 0 h 310515"/>
                    <a:gd name="connsiteX2" fmla="*/ 89535 w 167640"/>
                    <a:gd name="connsiteY2" fmla="*/ 310515 h 310515"/>
                    <a:gd name="connsiteX3" fmla="*/ 60960 w 167640"/>
                    <a:gd name="connsiteY3" fmla="*/ 255270 h 310515"/>
                    <a:gd name="connsiteX4" fmla="*/ 110490 w 167640"/>
                    <a:gd name="connsiteY4" fmla="*/ 53340 h 310515"/>
                    <a:gd name="connsiteX5" fmla="*/ 47625 w 167640"/>
                    <a:gd name="connsiteY5" fmla="*/ 89535 h 310515"/>
                    <a:gd name="connsiteX6" fmla="*/ 0 w 167640"/>
                    <a:gd name="connsiteY6" fmla="*/ 70485 h 310515"/>
                    <a:gd name="connsiteX0" fmla="*/ 0 w 167640"/>
                    <a:gd name="connsiteY0" fmla="*/ 82153 h 322183"/>
                    <a:gd name="connsiteX1" fmla="*/ 167640 w 167640"/>
                    <a:gd name="connsiteY1" fmla="*/ 11668 h 322183"/>
                    <a:gd name="connsiteX2" fmla="*/ 89535 w 167640"/>
                    <a:gd name="connsiteY2" fmla="*/ 322183 h 322183"/>
                    <a:gd name="connsiteX3" fmla="*/ 60960 w 167640"/>
                    <a:gd name="connsiteY3" fmla="*/ 266938 h 322183"/>
                    <a:gd name="connsiteX4" fmla="*/ 110490 w 167640"/>
                    <a:gd name="connsiteY4" fmla="*/ 65008 h 322183"/>
                    <a:gd name="connsiteX5" fmla="*/ 47625 w 167640"/>
                    <a:gd name="connsiteY5" fmla="*/ 101203 h 322183"/>
                    <a:gd name="connsiteX6" fmla="*/ 0 w 167640"/>
                    <a:gd name="connsiteY6" fmla="*/ 82153 h 322183"/>
                    <a:gd name="connsiteX0" fmla="*/ 0 w 221394"/>
                    <a:gd name="connsiteY0" fmla="*/ 82153 h 322183"/>
                    <a:gd name="connsiteX1" fmla="*/ 167640 w 221394"/>
                    <a:gd name="connsiteY1" fmla="*/ 11668 h 322183"/>
                    <a:gd name="connsiteX2" fmla="*/ 89535 w 221394"/>
                    <a:gd name="connsiteY2" fmla="*/ 322183 h 322183"/>
                    <a:gd name="connsiteX3" fmla="*/ 60960 w 221394"/>
                    <a:gd name="connsiteY3" fmla="*/ 266938 h 322183"/>
                    <a:gd name="connsiteX4" fmla="*/ 110490 w 221394"/>
                    <a:gd name="connsiteY4" fmla="*/ 65008 h 322183"/>
                    <a:gd name="connsiteX5" fmla="*/ 47625 w 221394"/>
                    <a:gd name="connsiteY5" fmla="*/ 101203 h 322183"/>
                    <a:gd name="connsiteX6" fmla="*/ 0 w 221394"/>
                    <a:gd name="connsiteY6" fmla="*/ 82153 h 322183"/>
                    <a:gd name="connsiteX0" fmla="*/ 0 w 250297"/>
                    <a:gd name="connsiteY0" fmla="*/ 82153 h 322253"/>
                    <a:gd name="connsiteX1" fmla="*/ 167640 w 250297"/>
                    <a:gd name="connsiteY1" fmla="*/ 11668 h 322253"/>
                    <a:gd name="connsiteX2" fmla="*/ 89535 w 250297"/>
                    <a:gd name="connsiteY2" fmla="*/ 322183 h 322253"/>
                    <a:gd name="connsiteX3" fmla="*/ 60960 w 250297"/>
                    <a:gd name="connsiteY3" fmla="*/ 266938 h 322253"/>
                    <a:gd name="connsiteX4" fmla="*/ 110490 w 250297"/>
                    <a:gd name="connsiteY4" fmla="*/ 65008 h 322253"/>
                    <a:gd name="connsiteX5" fmla="*/ 47625 w 250297"/>
                    <a:gd name="connsiteY5" fmla="*/ 101203 h 322253"/>
                    <a:gd name="connsiteX6" fmla="*/ 0 w 250297"/>
                    <a:gd name="connsiteY6" fmla="*/ 82153 h 322253"/>
                    <a:gd name="connsiteX0" fmla="*/ 0 w 250297"/>
                    <a:gd name="connsiteY0" fmla="*/ 85090 h 325189"/>
                    <a:gd name="connsiteX1" fmla="*/ 167640 w 250297"/>
                    <a:gd name="connsiteY1" fmla="*/ 10795 h 325189"/>
                    <a:gd name="connsiteX2" fmla="*/ 89535 w 250297"/>
                    <a:gd name="connsiteY2" fmla="*/ 325120 h 325189"/>
                    <a:gd name="connsiteX3" fmla="*/ 60960 w 250297"/>
                    <a:gd name="connsiteY3" fmla="*/ 269875 h 325189"/>
                    <a:gd name="connsiteX4" fmla="*/ 110490 w 250297"/>
                    <a:gd name="connsiteY4" fmla="*/ 67945 h 325189"/>
                    <a:gd name="connsiteX5" fmla="*/ 47625 w 250297"/>
                    <a:gd name="connsiteY5" fmla="*/ 104140 h 325189"/>
                    <a:gd name="connsiteX6" fmla="*/ 0 w 250297"/>
                    <a:gd name="connsiteY6" fmla="*/ 85090 h 325189"/>
                    <a:gd name="connsiteX0" fmla="*/ 0 w 250297"/>
                    <a:gd name="connsiteY0" fmla="*/ 81734 h 321833"/>
                    <a:gd name="connsiteX1" fmla="*/ 167640 w 250297"/>
                    <a:gd name="connsiteY1" fmla="*/ 7439 h 321833"/>
                    <a:gd name="connsiteX2" fmla="*/ 89535 w 250297"/>
                    <a:gd name="connsiteY2" fmla="*/ 321764 h 321833"/>
                    <a:gd name="connsiteX3" fmla="*/ 60960 w 250297"/>
                    <a:gd name="connsiteY3" fmla="*/ 266519 h 321833"/>
                    <a:gd name="connsiteX4" fmla="*/ 110490 w 250297"/>
                    <a:gd name="connsiteY4" fmla="*/ 64589 h 321833"/>
                    <a:gd name="connsiteX5" fmla="*/ 47625 w 250297"/>
                    <a:gd name="connsiteY5" fmla="*/ 100784 h 321833"/>
                    <a:gd name="connsiteX6" fmla="*/ 0 w 250297"/>
                    <a:gd name="connsiteY6" fmla="*/ 81734 h 321833"/>
                    <a:gd name="connsiteX0" fmla="*/ 0 w 250297"/>
                    <a:gd name="connsiteY0" fmla="*/ 85090 h 325189"/>
                    <a:gd name="connsiteX1" fmla="*/ 167640 w 250297"/>
                    <a:gd name="connsiteY1" fmla="*/ 10795 h 325189"/>
                    <a:gd name="connsiteX2" fmla="*/ 89535 w 250297"/>
                    <a:gd name="connsiteY2" fmla="*/ 325120 h 325189"/>
                    <a:gd name="connsiteX3" fmla="*/ 60960 w 250297"/>
                    <a:gd name="connsiteY3" fmla="*/ 269875 h 325189"/>
                    <a:gd name="connsiteX4" fmla="*/ 110490 w 250297"/>
                    <a:gd name="connsiteY4" fmla="*/ 67945 h 325189"/>
                    <a:gd name="connsiteX5" fmla="*/ 47625 w 250297"/>
                    <a:gd name="connsiteY5" fmla="*/ 104140 h 325189"/>
                    <a:gd name="connsiteX6" fmla="*/ 0 w 250297"/>
                    <a:gd name="connsiteY6" fmla="*/ 85090 h 325189"/>
                    <a:gd name="connsiteX0" fmla="*/ 0 w 250297"/>
                    <a:gd name="connsiteY0" fmla="*/ 81734 h 321833"/>
                    <a:gd name="connsiteX1" fmla="*/ 167640 w 250297"/>
                    <a:gd name="connsiteY1" fmla="*/ 7439 h 321833"/>
                    <a:gd name="connsiteX2" fmla="*/ 89535 w 250297"/>
                    <a:gd name="connsiteY2" fmla="*/ 321764 h 321833"/>
                    <a:gd name="connsiteX3" fmla="*/ 60960 w 250297"/>
                    <a:gd name="connsiteY3" fmla="*/ 266519 h 321833"/>
                    <a:gd name="connsiteX4" fmla="*/ 110490 w 250297"/>
                    <a:gd name="connsiteY4" fmla="*/ 64589 h 321833"/>
                    <a:gd name="connsiteX5" fmla="*/ 47625 w 250297"/>
                    <a:gd name="connsiteY5" fmla="*/ 100784 h 321833"/>
                    <a:gd name="connsiteX6" fmla="*/ 0 w 250297"/>
                    <a:gd name="connsiteY6" fmla="*/ 81734 h 321833"/>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64589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64589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64589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64589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51254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51254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51254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51254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51254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0960 w 249468"/>
                    <a:gd name="connsiteY3" fmla="*/ 266519 h 321834"/>
                    <a:gd name="connsiteX4" fmla="*/ 110490 w 249468"/>
                    <a:gd name="connsiteY4" fmla="*/ 51254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2865 w 249468"/>
                    <a:gd name="connsiteY3" fmla="*/ 264614 h 321834"/>
                    <a:gd name="connsiteX4" fmla="*/ 110490 w 249468"/>
                    <a:gd name="connsiteY4" fmla="*/ 51254 h 321834"/>
                    <a:gd name="connsiteX5" fmla="*/ 47625 w 249468"/>
                    <a:gd name="connsiteY5" fmla="*/ 100784 h 321834"/>
                    <a:gd name="connsiteX6" fmla="*/ 0 w 249468"/>
                    <a:gd name="connsiteY6" fmla="*/ 81734 h 321834"/>
                    <a:gd name="connsiteX0" fmla="*/ 0 w 249468"/>
                    <a:gd name="connsiteY0" fmla="*/ 81734 h 321834"/>
                    <a:gd name="connsiteX1" fmla="*/ 167640 w 249468"/>
                    <a:gd name="connsiteY1" fmla="*/ 7439 h 321834"/>
                    <a:gd name="connsiteX2" fmla="*/ 89535 w 249468"/>
                    <a:gd name="connsiteY2" fmla="*/ 321764 h 321834"/>
                    <a:gd name="connsiteX3" fmla="*/ 62865 w 249468"/>
                    <a:gd name="connsiteY3" fmla="*/ 264614 h 321834"/>
                    <a:gd name="connsiteX4" fmla="*/ 110490 w 249468"/>
                    <a:gd name="connsiteY4" fmla="*/ 51254 h 321834"/>
                    <a:gd name="connsiteX5" fmla="*/ 47625 w 249468"/>
                    <a:gd name="connsiteY5" fmla="*/ 100784 h 321834"/>
                    <a:gd name="connsiteX6" fmla="*/ 0 w 249468"/>
                    <a:gd name="connsiteY6" fmla="*/ 81734 h 32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468" h="321834">
                      <a:moveTo>
                        <a:pt x="0" y="81734"/>
                      </a:moveTo>
                      <a:cubicBezTo>
                        <a:pt x="38735" y="-8436"/>
                        <a:pt x="132715" y="-7166"/>
                        <a:pt x="167640" y="7439"/>
                      </a:cubicBezTo>
                      <a:cubicBezTo>
                        <a:pt x="313055" y="55699"/>
                        <a:pt x="250825" y="326844"/>
                        <a:pt x="89535" y="321764"/>
                      </a:cubicBezTo>
                      <a:cubicBezTo>
                        <a:pt x="26670" y="320494"/>
                        <a:pt x="26670" y="294459"/>
                        <a:pt x="62865" y="264614"/>
                      </a:cubicBezTo>
                      <a:cubicBezTo>
                        <a:pt x="210820" y="302079"/>
                        <a:pt x="255905" y="30934"/>
                        <a:pt x="110490" y="51254"/>
                      </a:cubicBezTo>
                      <a:cubicBezTo>
                        <a:pt x="70485" y="63954"/>
                        <a:pt x="68580" y="84274"/>
                        <a:pt x="47625" y="100784"/>
                      </a:cubicBezTo>
                      <a:cubicBezTo>
                        <a:pt x="29845" y="130629"/>
                        <a:pt x="635" y="122374"/>
                        <a:pt x="0" y="81734"/>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26" name="Oval 125">
                <a:extLst>
                  <a:ext uri="{FF2B5EF4-FFF2-40B4-BE49-F238E27FC236}">
                    <a16:creationId xmlns:a16="http://schemas.microsoft.com/office/drawing/2014/main" id="{31D2BCEC-C8F6-48A9-9433-37346F69299F}"/>
                  </a:ext>
                </a:extLst>
              </p:cNvPr>
              <p:cNvSpPr/>
              <p:nvPr/>
            </p:nvSpPr>
            <p:spPr>
              <a:xfrm>
                <a:off x="-25399" y="2534915"/>
                <a:ext cx="1463039" cy="146303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Freeform: Shape 126">
                <a:extLst>
                  <a:ext uri="{FF2B5EF4-FFF2-40B4-BE49-F238E27FC236}">
                    <a16:creationId xmlns:a16="http://schemas.microsoft.com/office/drawing/2014/main" id="{C34E4852-FB4B-4667-A3F4-7CB5FD448724}"/>
                  </a:ext>
                </a:extLst>
              </p:cNvPr>
              <p:cNvSpPr/>
              <p:nvPr/>
            </p:nvSpPr>
            <p:spPr>
              <a:xfrm>
                <a:off x="650240" y="1844035"/>
                <a:ext cx="269239" cy="695959"/>
              </a:xfrm>
              <a:custGeom>
                <a:avLst/>
                <a:gdLst>
                  <a:gd name="connsiteX0" fmla="*/ 0 w 269240"/>
                  <a:gd name="connsiteY0" fmla="*/ 695960 h 695960"/>
                  <a:gd name="connsiteX1" fmla="*/ 0 w 269240"/>
                  <a:gd name="connsiteY1" fmla="*/ 375920 h 695960"/>
                  <a:gd name="connsiteX2" fmla="*/ 269240 w 269240"/>
                  <a:gd name="connsiteY2" fmla="*/ 375920 h 695960"/>
                  <a:gd name="connsiteX3" fmla="*/ 269240 w 269240"/>
                  <a:gd name="connsiteY3" fmla="*/ 0 h 695960"/>
                </a:gdLst>
                <a:ahLst/>
                <a:cxnLst>
                  <a:cxn ang="0">
                    <a:pos x="connsiteX0" y="connsiteY0"/>
                  </a:cxn>
                  <a:cxn ang="0">
                    <a:pos x="connsiteX1" y="connsiteY1"/>
                  </a:cxn>
                  <a:cxn ang="0">
                    <a:pos x="connsiteX2" y="connsiteY2"/>
                  </a:cxn>
                  <a:cxn ang="0">
                    <a:pos x="connsiteX3" y="connsiteY3"/>
                  </a:cxn>
                </a:cxnLst>
                <a:rect l="l" t="t" r="r" b="b"/>
                <a:pathLst>
                  <a:path w="269240" h="695960">
                    <a:moveTo>
                      <a:pt x="0" y="695960"/>
                    </a:moveTo>
                    <a:lnTo>
                      <a:pt x="0" y="375920"/>
                    </a:lnTo>
                    <a:lnTo>
                      <a:pt x="269240" y="375920"/>
                    </a:lnTo>
                    <a:lnTo>
                      <a:pt x="26924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8" name="Freeform: Shape 127">
                <a:extLst>
                  <a:ext uri="{FF2B5EF4-FFF2-40B4-BE49-F238E27FC236}">
                    <a16:creationId xmlns:a16="http://schemas.microsoft.com/office/drawing/2014/main" id="{5658D3E1-F811-4746-9E9B-2AC4ABEA8AF9}"/>
                  </a:ext>
                </a:extLst>
              </p:cNvPr>
              <p:cNvSpPr/>
              <p:nvPr/>
            </p:nvSpPr>
            <p:spPr>
              <a:xfrm>
                <a:off x="944879" y="2011676"/>
                <a:ext cx="132079" cy="563878"/>
              </a:xfrm>
              <a:custGeom>
                <a:avLst/>
                <a:gdLst>
                  <a:gd name="connsiteX0" fmla="*/ 132080 w 132080"/>
                  <a:gd name="connsiteY0" fmla="*/ 0 h 563880"/>
                  <a:gd name="connsiteX1" fmla="*/ 0 w 132080"/>
                  <a:gd name="connsiteY1" fmla="*/ 563880 h 563880"/>
                </a:gdLst>
                <a:ahLst/>
                <a:cxnLst>
                  <a:cxn ang="0">
                    <a:pos x="connsiteX0" y="connsiteY0"/>
                  </a:cxn>
                  <a:cxn ang="0">
                    <a:pos x="connsiteX1" y="connsiteY1"/>
                  </a:cxn>
                </a:cxnLst>
                <a:rect l="l" t="t" r="r" b="b"/>
                <a:pathLst>
                  <a:path w="132080" h="563880">
                    <a:moveTo>
                      <a:pt x="132080" y="0"/>
                    </a:moveTo>
                    <a:lnTo>
                      <a:pt x="0" y="56388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9" name="Freeform: Shape 128">
                <a:extLst>
                  <a:ext uri="{FF2B5EF4-FFF2-40B4-BE49-F238E27FC236}">
                    <a16:creationId xmlns:a16="http://schemas.microsoft.com/office/drawing/2014/main" id="{CE45E2E8-6B1F-42ED-A7B3-A20EB0846871}"/>
                  </a:ext>
                </a:extLst>
              </p:cNvPr>
              <p:cNvSpPr/>
              <p:nvPr/>
            </p:nvSpPr>
            <p:spPr>
              <a:xfrm>
                <a:off x="1051560" y="2164075"/>
                <a:ext cx="396239" cy="462278"/>
              </a:xfrm>
              <a:custGeom>
                <a:avLst/>
                <a:gdLst>
                  <a:gd name="connsiteX0" fmla="*/ 396240 w 396240"/>
                  <a:gd name="connsiteY0" fmla="*/ 0 h 462280"/>
                  <a:gd name="connsiteX1" fmla="*/ 0 w 396240"/>
                  <a:gd name="connsiteY1" fmla="*/ 462280 h 462280"/>
                </a:gdLst>
                <a:ahLst/>
                <a:cxnLst>
                  <a:cxn ang="0">
                    <a:pos x="connsiteX0" y="connsiteY0"/>
                  </a:cxn>
                  <a:cxn ang="0">
                    <a:pos x="connsiteX1" y="connsiteY1"/>
                  </a:cxn>
                </a:cxnLst>
                <a:rect l="l" t="t" r="r" b="b"/>
                <a:pathLst>
                  <a:path w="396240" h="462280">
                    <a:moveTo>
                      <a:pt x="396240" y="0"/>
                    </a:moveTo>
                    <a:lnTo>
                      <a:pt x="0" y="46228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0" name="Freeform: Shape 129">
                <a:extLst>
                  <a:ext uri="{FF2B5EF4-FFF2-40B4-BE49-F238E27FC236}">
                    <a16:creationId xmlns:a16="http://schemas.microsoft.com/office/drawing/2014/main" id="{8820CD5B-F420-4A89-873F-2FA2ACD7C3BF}"/>
                  </a:ext>
                </a:extLst>
              </p:cNvPr>
              <p:cNvSpPr/>
              <p:nvPr/>
            </p:nvSpPr>
            <p:spPr>
              <a:xfrm>
                <a:off x="1310639" y="2260596"/>
                <a:ext cx="457200" cy="594359"/>
              </a:xfrm>
              <a:custGeom>
                <a:avLst/>
                <a:gdLst>
                  <a:gd name="connsiteX0" fmla="*/ 457200 w 457200"/>
                  <a:gd name="connsiteY0" fmla="*/ 0 h 594360"/>
                  <a:gd name="connsiteX1" fmla="*/ 127000 w 457200"/>
                  <a:gd name="connsiteY1" fmla="*/ 203200 h 594360"/>
                  <a:gd name="connsiteX2" fmla="*/ 264160 w 457200"/>
                  <a:gd name="connsiteY2" fmla="*/ 411480 h 594360"/>
                  <a:gd name="connsiteX3" fmla="*/ 0 w 457200"/>
                  <a:gd name="connsiteY3" fmla="*/ 594360 h 594360"/>
                </a:gdLst>
                <a:ahLst/>
                <a:cxnLst>
                  <a:cxn ang="0">
                    <a:pos x="connsiteX0" y="connsiteY0"/>
                  </a:cxn>
                  <a:cxn ang="0">
                    <a:pos x="connsiteX1" y="connsiteY1"/>
                  </a:cxn>
                  <a:cxn ang="0">
                    <a:pos x="connsiteX2" y="connsiteY2"/>
                  </a:cxn>
                  <a:cxn ang="0">
                    <a:pos x="connsiteX3" y="connsiteY3"/>
                  </a:cxn>
                </a:cxnLst>
                <a:rect l="l" t="t" r="r" b="b"/>
                <a:pathLst>
                  <a:path w="457200" h="594360">
                    <a:moveTo>
                      <a:pt x="457200" y="0"/>
                    </a:moveTo>
                    <a:lnTo>
                      <a:pt x="127000" y="203200"/>
                    </a:lnTo>
                    <a:lnTo>
                      <a:pt x="264160" y="411480"/>
                    </a:lnTo>
                    <a:lnTo>
                      <a:pt x="0" y="59436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1" name="Freeform: Shape 130">
                <a:extLst>
                  <a:ext uri="{FF2B5EF4-FFF2-40B4-BE49-F238E27FC236}">
                    <a16:creationId xmlns:a16="http://schemas.microsoft.com/office/drawing/2014/main" id="{6A82E403-A746-488C-B4CD-729EBB194108}"/>
                  </a:ext>
                </a:extLst>
              </p:cNvPr>
              <p:cNvSpPr/>
              <p:nvPr/>
            </p:nvSpPr>
            <p:spPr>
              <a:xfrm>
                <a:off x="1381760" y="2672073"/>
                <a:ext cx="523240" cy="330199"/>
              </a:xfrm>
              <a:custGeom>
                <a:avLst/>
                <a:gdLst>
                  <a:gd name="connsiteX0" fmla="*/ 523240 w 523240"/>
                  <a:gd name="connsiteY0" fmla="*/ 0 h 330200"/>
                  <a:gd name="connsiteX1" fmla="*/ 0 w 523240"/>
                  <a:gd name="connsiteY1" fmla="*/ 330200 h 330200"/>
                </a:gdLst>
                <a:ahLst/>
                <a:cxnLst>
                  <a:cxn ang="0">
                    <a:pos x="connsiteX0" y="connsiteY0"/>
                  </a:cxn>
                  <a:cxn ang="0">
                    <a:pos x="connsiteX1" y="connsiteY1"/>
                  </a:cxn>
                </a:cxnLst>
                <a:rect l="l" t="t" r="r" b="b"/>
                <a:pathLst>
                  <a:path w="523240" h="330200">
                    <a:moveTo>
                      <a:pt x="523240" y="0"/>
                    </a:moveTo>
                    <a:lnTo>
                      <a:pt x="0" y="33020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2" name="Freeform: Shape 131">
                <a:extLst>
                  <a:ext uri="{FF2B5EF4-FFF2-40B4-BE49-F238E27FC236}">
                    <a16:creationId xmlns:a16="http://schemas.microsoft.com/office/drawing/2014/main" id="{BA8DEA51-F24B-42D6-8553-0399E36567F0}"/>
                  </a:ext>
                </a:extLst>
              </p:cNvPr>
              <p:cNvSpPr/>
              <p:nvPr/>
            </p:nvSpPr>
            <p:spPr>
              <a:xfrm>
                <a:off x="1432559" y="3007353"/>
                <a:ext cx="584200" cy="330199"/>
              </a:xfrm>
              <a:custGeom>
                <a:avLst/>
                <a:gdLst>
                  <a:gd name="connsiteX0" fmla="*/ 584200 w 584200"/>
                  <a:gd name="connsiteY0" fmla="*/ 0 h 330200"/>
                  <a:gd name="connsiteX1" fmla="*/ 355600 w 584200"/>
                  <a:gd name="connsiteY1" fmla="*/ 0 h 330200"/>
                  <a:gd name="connsiteX2" fmla="*/ 355600 w 584200"/>
                  <a:gd name="connsiteY2" fmla="*/ 330200 h 330200"/>
                  <a:gd name="connsiteX3" fmla="*/ 0 w 584200"/>
                  <a:gd name="connsiteY3" fmla="*/ 330200 h 330200"/>
                </a:gdLst>
                <a:ahLst/>
                <a:cxnLst>
                  <a:cxn ang="0">
                    <a:pos x="connsiteX0" y="connsiteY0"/>
                  </a:cxn>
                  <a:cxn ang="0">
                    <a:pos x="connsiteX1" y="connsiteY1"/>
                  </a:cxn>
                  <a:cxn ang="0">
                    <a:pos x="connsiteX2" y="connsiteY2"/>
                  </a:cxn>
                  <a:cxn ang="0">
                    <a:pos x="connsiteX3" y="connsiteY3"/>
                  </a:cxn>
                </a:cxnLst>
                <a:rect l="l" t="t" r="r" b="b"/>
                <a:pathLst>
                  <a:path w="584200" h="330200">
                    <a:moveTo>
                      <a:pt x="584200" y="0"/>
                    </a:moveTo>
                    <a:lnTo>
                      <a:pt x="355600" y="0"/>
                    </a:lnTo>
                    <a:lnTo>
                      <a:pt x="355600" y="330200"/>
                    </a:lnTo>
                    <a:lnTo>
                      <a:pt x="0" y="33020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3" name="Freeform: Shape 132">
                <a:extLst>
                  <a:ext uri="{FF2B5EF4-FFF2-40B4-BE49-F238E27FC236}">
                    <a16:creationId xmlns:a16="http://schemas.microsoft.com/office/drawing/2014/main" id="{16B8FA2D-0E31-4CA0-AB5A-BB2DCDB56084}"/>
                  </a:ext>
                </a:extLst>
              </p:cNvPr>
              <p:cNvSpPr/>
              <p:nvPr/>
            </p:nvSpPr>
            <p:spPr>
              <a:xfrm>
                <a:off x="1381760" y="3530593"/>
                <a:ext cx="553719" cy="243840"/>
              </a:xfrm>
              <a:custGeom>
                <a:avLst/>
                <a:gdLst>
                  <a:gd name="connsiteX0" fmla="*/ 553720 w 553720"/>
                  <a:gd name="connsiteY0" fmla="*/ 243840 h 243840"/>
                  <a:gd name="connsiteX1" fmla="*/ 0 w 553720"/>
                  <a:gd name="connsiteY1" fmla="*/ 0 h 243840"/>
                </a:gdLst>
                <a:ahLst/>
                <a:cxnLst>
                  <a:cxn ang="0">
                    <a:pos x="connsiteX0" y="connsiteY0"/>
                  </a:cxn>
                  <a:cxn ang="0">
                    <a:pos x="connsiteX1" y="connsiteY1"/>
                  </a:cxn>
                </a:cxnLst>
                <a:rect l="l" t="t" r="r" b="b"/>
                <a:pathLst>
                  <a:path w="553720" h="243840">
                    <a:moveTo>
                      <a:pt x="553720" y="243840"/>
                    </a:move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4" name="Freeform: Shape 133">
                <a:extLst>
                  <a:ext uri="{FF2B5EF4-FFF2-40B4-BE49-F238E27FC236}">
                    <a16:creationId xmlns:a16="http://schemas.microsoft.com/office/drawing/2014/main" id="{7D87F3A8-10D4-48DF-BA80-A1E8027A1D88}"/>
                  </a:ext>
                </a:extLst>
              </p:cNvPr>
              <p:cNvSpPr/>
              <p:nvPr/>
            </p:nvSpPr>
            <p:spPr>
              <a:xfrm>
                <a:off x="1290320" y="3718551"/>
                <a:ext cx="447040" cy="594359"/>
              </a:xfrm>
              <a:custGeom>
                <a:avLst/>
                <a:gdLst>
                  <a:gd name="connsiteX0" fmla="*/ 447040 w 447040"/>
                  <a:gd name="connsiteY0" fmla="*/ 594360 h 594360"/>
                  <a:gd name="connsiteX1" fmla="*/ 106680 w 447040"/>
                  <a:gd name="connsiteY1" fmla="*/ 386080 h 594360"/>
                  <a:gd name="connsiteX2" fmla="*/ 248920 w 447040"/>
                  <a:gd name="connsiteY2" fmla="*/ 182880 h 594360"/>
                  <a:gd name="connsiteX3" fmla="*/ 0 w 447040"/>
                  <a:gd name="connsiteY3" fmla="*/ 0 h 594360"/>
                </a:gdLst>
                <a:ahLst/>
                <a:cxnLst>
                  <a:cxn ang="0">
                    <a:pos x="connsiteX0" y="connsiteY0"/>
                  </a:cxn>
                  <a:cxn ang="0">
                    <a:pos x="connsiteX1" y="connsiteY1"/>
                  </a:cxn>
                  <a:cxn ang="0">
                    <a:pos x="connsiteX2" y="connsiteY2"/>
                  </a:cxn>
                  <a:cxn ang="0">
                    <a:pos x="connsiteX3" y="connsiteY3"/>
                  </a:cxn>
                </a:cxnLst>
                <a:rect l="l" t="t" r="r" b="b"/>
                <a:pathLst>
                  <a:path w="447040" h="594360">
                    <a:moveTo>
                      <a:pt x="447040" y="594360"/>
                    </a:moveTo>
                    <a:lnTo>
                      <a:pt x="106680" y="386080"/>
                    </a:lnTo>
                    <a:lnTo>
                      <a:pt x="248920" y="182880"/>
                    </a:ln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5" name="Freeform: Shape 134">
                <a:extLst>
                  <a:ext uri="{FF2B5EF4-FFF2-40B4-BE49-F238E27FC236}">
                    <a16:creationId xmlns:a16="http://schemas.microsoft.com/office/drawing/2014/main" id="{13FEF77B-D527-4853-906F-7C523DFDAB75}"/>
                  </a:ext>
                </a:extLst>
              </p:cNvPr>
              <p:cNvSpPr/>
              <p:nvPr/>
            </p:nvSpPr>
            <p:spPr>
              <a:xfrm>
                <a:off x="1016000" y="3931912"/>
                <a:ext cx="365760" cy="452119"/>
              </a:xfrm>
              <a:custGeom>
                <a:avLst/>
                <a:gdLst>
                  <a:gd name="connsiteX0" fmla="*/ 365760 w 365760"/>
                  <a:gd name="connsiteY0" fmla="*/ 452120 h 452120"/>
                  <a:gd name="connsiteX1" fmla="*/ 0 w 365760"/>
                  <a:gd name="connsiteY1" fmla="*/ 0 h 452120"/>
                </a:gdLst>
                <a:ahLst/>
                <a:cxnLst>
                  <a:cxn ang="0">
                    <a:pos x="connsiteX0" y="connsiteY0"/>
                  </a:cxn>
                  <a:cxn ang="0">
                    <a:pos x="connsiteX1" y="connsiteY1"/>
                  </a:cxn>
                </a:cxnLst>
                <a:rect l="l" t="t" r="r" b="b"/>
                <a:pathLst>
                  <a:path w="365760" h="452120">
                    <a:moveTo>
                      <a:pt x="365760" y="452120"/>
                    </a:move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6" name="Freeform: Shape 135">
                <a:extLst>
                  <a:ext uri="{FF2B5EF4-FFF2-40B4-BE49-F238E27FC236}">
                    <a16:creationId xmlns:a16="http://schemas.microsoft.com/office/drawing/2014/main" id="{B23EF8FC-BEC3-4F7B-A8AF-E6FD9BF20DBF}"/>
                  </a:ext>
                </a:extLst>
              </p:cNvPr>
              <p:cNvSpPr/>
              <p:nvPr/>
            </p:nvSpPr>
            <p:spPr>
              <a:xfrm>
                <a:off x="904240" y="3972551"/>
                <a:ext cx="142239" cy="594359"/>
              </a:xfrm>
              <a:custGeom>
                <a:avLst/>
                <a:gdLst>
                  <a:gd name="connsiteX0" fmla="*/ 142240 w 142240"/>
                  <a:gd name="connsiteY0" fmla="*/ 594360 h 594360"/>
                  <a:gd name="connsiteX1" fmla="*/ 0 w 142240"/>
                  <a:gd name="connsiteY1" fmla="*/ 0 h 594360"/>
                </a:gdLst>
                <a:ahLst/>
                <a:cxnLst>
                  <a:cxn ang="0">
                    <a:pos x="connsiteX0" y="connsiteY0"/>
                  </a:cxn>
                  <a:cxn ang="0">
                    <a:pos x="connsiteX1" y="connsiteY1"/>
                  </a:cxn>
                </a:cxnLst>
                <a:rect l="l" t="t" r="r" b="b"/>
                <a:pathLst>
                  <a:path w="142240" h="594360">
                    <a:moveTo>
                      <a:pt x="142240" y="594360"/>
                    </a:move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7" name="Freeform: Shape 136">
                <a:extLst>
                  <a:ext uri="{FF2B5EF4-FFF2-40B4-BE49-F238E27FC236}">
                    <a16:creationId xmlns:a16="http://schemas.microsoft.com/office/drawing/2014/main" id="{89B68289-4C6A-4A84-AF19-CCC8DE207DA6}"/>
                  </a:ext>
                </a:extLst>
              </p:cNvPr>
              <p:cNvSpPr/>
              <p:nvPr/>
            </p:nvSpPr>
            <p:spPr>
              <a:xfrm>
                <a:off x="619760" y="3997952"/>
                <a:ext cx="259079" cy="690878"/>
              </a:xfrm>
              <a:custGeom>
                <a:avLst/>
                <a:gdLst>
                  <a:gd name="connsiteX0" fmla="*/ 5080 w 259080"/>
                  <a:gd name="connsiteY0" fmla="*/ 0 h 690880"/>
                  <a:gd name="connsiteX1" fmla="*/ 0 w 259080"/>
                  <a:gd name="connsiteY1" fmla="*/ 304800 h 690880"/>
                  <a:gd name="connsiteX2" fmla="*/ 259080 w 259080"/>
                  <a:gd name="connsiteY2" fmla="*/ 304800 h 690880"/>
                  <a:gd name="connsiteX3" fmla="*/ 259080 w 259080"/>
                  <a:gd name="connsiteY3" fmla="*/ 690880 h 690880"/>
                </a:gdLst>
                <a:ahLst/>
                <a:cxnLst>
                  <a:cxn ang="0">
                    <a:pos x="connsiteX0" y="connsiteY0"/>
                  </a:cxn>
                  <a:cxn ang="0">
                    <a:pos x="connsiteX1" y="connsiteY1"/>
                  </a:cxn>
                  <a:cxn ang="0">
                    <a:pos x="connsiteX2" y="connsiteY2"/>
                  </a:cxn>
                  <a:cxn ang="0">
                    <a:pos x="connsiteX3" y="connsiteY3"/>
                  </a:cxn>
                </a:cxnLst>
                <a:rect l="l" t="t" r="r" b="b"/>
                <a:pathLst>
                  <a:path w="259080" h="690880">
                    <a:moveTo>
                      <a:pt x="5080" y="0"/>
                    </a:moveTo>
                    <a:cubicBezTo>
                      <a:pt x="3387" y="101600"/>
                      <a:pt x="1693" y="203200"/>
                      <a:pt x="0" y="304800"/>
                    </a:cubicBezTo>
                    <a:lnTo>
                      <a:pt x="259080" y="304800"/>
                    </a:lnTo>
                    <a:lnTo>
                      <a:pt x="259080" y="69088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8" name="Freeform: Shape 137">
                <a:extLst>
                  <a:ext uri="{FF2B5EF4-FFF2-40B4-BE49-F238E27FC236}">
                    <a16:creationId xmlns:a16="http://schemas.microsoft.com/office/drawing/2014/main" id="{918B7C6E-DF9A-47D9-9575-D1FEB5B8F359}"/>
                  </a:ext>
                </a:extLst>
              </p:cNvPr>
              <p:cNvSpPr/>
              <p:nvPr/>
            </p:nvSpPr>
            <p:spPr>
              <a:xfrm>
                <a:off x="345440" y="3972551"/>
                <a:ext cx="152401" cy="568959"/>
              </a:xfrm>
              <a:custGeom>
                <a:avLst/>
                <a:gdLst>
                  <a:gd name="connsiteX0" fmla="*/ 152400 w 152400"/>
                  <a:gd name="connsiteY0" fmla="*/ 0 h 568960"/>
                  <a:gd name="connsiteX1" fmla="*/ 0 w 152400"/>
                  <a:gd name="connsiteY1" fmla="*/ 568960 h 568960"/>
                </a:gdLst>
                <a:ahLst/>
                <a:cxnLst>
                  <a:cxn ang="0">
                    <a:pos x="connsiteX0" y="connsiteY0"/>
                  </a:cxn>
                  <a:cxn ang="0">
                    <a:pos x="connsiteX1" y="connsiteY1"/>
                  </a:cxn>
                </a:cxnLst>
                <a:rect l="l" t="t" r="r" b="b"/>
                <a:pathLst>
                  <a:path w="152400" h="568960">
                    <a:moveTo>
                      <a:pt x="152400" y="0"/>
                    </a:moveTo>
                    <a:lnTo>
                      <a:pt x="0" y="56896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9" name="Freeform: Shape 138">
                <a:extLst>
                  <a:ext uri="{FF2B5EF4-FFF2-40B4-BE49-F238E27FC236}">
                    <a16:creationId xmlns:a16="http://schemas.microsoft.com/office/drawing/2014/main" id="{6CD4B6A4-315F-4F2E-A360-55FAE6AD4E3A}"/>
                  </a:ext>
                </a:extLst>
              </p:cNvPr>
              <p:cNvSpPr/>
              <p:nvPr/>
            </p:nvSpPr>
            <p:spPr>
              <a:xfrm>
                <a:off x="-5079" y="3921753"/>
                <a:ext cx="391161" cy="452119"/>
              </a:xfrm>
              <a:custGeom>
                <a:avLst/>
                <a:gdLst>
                  <a:gd name="connsiteX0" fmla="*/ 391160 w 391160"/>
                  <a:gd name="connsiteY0" fmla="*/ 0 h 452120"/>
                  <a:gd name="connsiteX1" fmla="*/ 0 w 391160"/>
                  <a:gd name="connsiteY1" fmla="*/ 452120 h 452120"/>
                </a:gdLst>
                <a:ahLst/>
                <a:cxnLst>
                  <a:cxn ang="0">
                    <a:pos x="connsiteX0" y="connsiteY0"/>
                  </a:cxn>
                  <a:cxn ang="0">
                    <a:pos x="connsiteX1" y="connsiteY1"/>
                  </a:cxn>
                </a:cxnLst>
                <a:rect l="l" t="t" r="r" b="b"/>
                <a:pathLst>
                  <a:path w="391160" h="452120">
                    <a:moveTo>
                      <a:pt x="391160" y="0"/>
                    </a:moveTo>
                    <a:lnTo>
                      <a:pt x="0" y="45212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0" name="Freeform: Shape 139">
                <a:extLst>
                  <a:ext uri="{FF2B5EF4-FFF2-40B4-BE49-F238E27FC236}">
                    <a16:creationId xmlns:a16="http://schemas.microsoft.com/office/drawing/2014/main" id="{54A6B817-1096-48C1-A198-A20D27190D41}"/>
                  </a:ext>
                </a:extLst>
              </p:cNvPr>
              <p:cNvSpPr/>
              <p:nvPr/>
            </p:nvSpPr>
            <p:spPr>
              <a:xfrm>
                <a:off x="-340360" y="3693153"/>
                <a:ext cx="467360" cy="594359"/>
              </a:xfrm>
              <a:custGeom>
                <a:avLst/>
                <a:gdLst>
                  <a:gd name="connsiteX0" fmla="*/ 467360 w 467360"/>
                  <a:gd name="connsiteY0" fmla="*/ 0 h 594360"/>
                  <a:gd name="connsiteX1" fmla="*/ 203200 w 467360"/>
                  <a:gd name="connsiteY1" fmla="*/ 182880 h 594360"/>
                  <a:gd name="connsiteX2" fmla="*/ 345440 w 467360"/>
                  <a:gd name="connsiteY2" fmla="*/ 391160 h 594360"/>
                  <a:gd name="connsiteX3" fmla="*/ 0 w 467360"/>
                  <a:gd name="connsiteY3" fmla="*/ 594360 h 594360"/>
                </a:gdLst>
                <a:ahLst/>
                <a:cxnLst>
                  <a:cxn ang="0">
                    <a:pos x="connsiteX0" y="connsiteY0"/>
                  </a:cxn>
                  <a:cxn ang="0">
                    <a:pos x="connsiteX1" y="connsiteY1"/>
                  </a:cxn>
                  <a:cxn ang="0">
                    <a:pos x="connsiteX2" y="connsiteY2"/>
                  </a:cxn>
                  <a:cxn ang="0">
                    <a:pos x="connsiteX3" y="connsiteY3"/>
                  </a:cxn>
                </a:cxnLst>
                <a:rect l="l" t="t" r="r" b="b"/>
                <a:pathLst>
                  <a:path w="467360" h="594360">
                    <a:moveTo>
                      <a:pt x="467360" y="0"/>
                    </a:moveTo>
                    <a:lnTo>
                      <a:pt x="203200" y="182880"/>
                    </a:lnTo>
                    <a:lnTo>
                      <a:pt x="345440" y="391160"/>
                    </a:lnTo>
                    <a:lnTo>
                      <a:pt x="0" y="59436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Freeform: Shape 140">
                <a:extLst>
                  <a:ext uri="{FF2B5EF4-FFF2-40B4-BE49-F238E27FC236}">
                    <a16:creationId xmlns:a16="http://schemas.microsoft.com/office/drawing/2014/main" id="{EDCB8844-A3E8-4D55-9F95-16C409DD898E}"/>
                  </a:ext>
                </a:extLst>
              </p:cNvPr>
              <p:cNvSpPr/>
              <p:nvPr/>
            </p:nvSpPr>
            <p:spPr>
              <a:xfrm>
                <a:off x="-467358" y="3555993"/>
                <a:ext cx="497839" cy="335280"/>
              </a:xfrm>
              <a:custGeom>
                <a:avLst/>
                <a:gdLst>
                  <a:gd name="connsiteX0" fmla="*/ 497840 w 497840"/>
                  <a:gd name="connsiteY0" fmla="*/ 0 h 335280"/>
                  <a:gd name="connsiteX1" fmla="*/ 0 w 497840"/>
                  <a:gd name="connsiteY1" fmla="*/ 335280 h 335280"/>
                </a:gdLst>
                <a:ahLst/>
                <a:cxnLst>
                  <a:cxn ang="0">
                    <a:pos x="connsiteX0" y="connsiteY0"/>
                  </a:cxn>
                  <a:cxn ang="0">
                    <a:pos x="connsiteX1" y="connsiteY1"/>
                  </a:cxn>
                </a:cxnLst>
                <a:rect l="l" t="t" r="r" b="b"/>
                <a:pathLst>
                  <a:path w="497840" h="335280">
                    <a:moveTo>
                      <a:pt x="497840" y="0"/>
                    </a:moveTo>
                    <a:lnTo>
                      <a:pt x="0" y="33528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Freeform: Shape 141">
                <a:extLst>
                  <a:ext uri="{FF2B5EF4-FFF2-40B4-BE49-F238E27FC236}">
                    <a16:creationId xmlns:a16="http://schemas.microsoft.com/office/drawing/2014/main" id="{64F54748-DDE0-46CA-933B-8E1900D87123}"/>
                  </a:ext>
                </a:extLst>
              </p:cNvPr>
              <p:cNvSpPr/>
              <p:nvPr/>
            </p:nvSpPr>
            <p:spPr>
              <a:xfrm>
                <a:off x="-594359" y="3241032"/>
                <a:ext cx="548640" cy="304799"/>
              </a:xfrm>
              <a:custGeom>
                <a:avLst/>
                <a:gdLst>
                  <a:gd name="connsiteX0" fmla="*/ 548640 w 548640"/>
                  <a:gd name="connsiteY0" fmla="*/ 0 h 304800"/>
                  <a:gd name="connsiteX1" fmla="*/ 233680 w 548640"/>
                  <a:gd name="connsiteY1" fmla="*/ 0 h 304800"/>
                  <a:gd name="connsiteX2" fmla="*/ 218440 w 548640"/>
                  <a:gd name="connsiteY2" fmla="*/ 304800 h 304800"/>
                  <a:gd name="connsiteX3" fmla="*/ 0 w 54864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548640" h="304800">
                    <a:moveTo>
                      <a:pt x="548640" y="0"/>
                    </a:moveTo>
                    <a:lnTo>
                      <a:pt x="233680" y="0"/>
                    </a:lnTo>
                    <a:lnTo>
                      <a:pt x="218440" y="304800"/>
                    </a:lnTo>
                    <a:lnTo>
                      <a:pt x="0" y="30480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3" name="Freeform: Shape 142">
                <a:extLst>
                  <a:ext uri="{FF2B5EF4-FFF2-40B4-BE49-F238E27FC236}">
                    <a16:creationId xmlns:a16="http://schemas.microsoft.com/office/drawing/2014/main" id="{DE587F49-12AB-4C6E-B739-3B5397987CE8}"/>
                  </a:ext>
                </a:extLst>
              </p:cNvPr>
              <p:cNvSpPr/>
              <p:nvPr/>
            </p:nvSpPr>
            <p:spPr>
              <a:xfrm>
                <a:off x="-543560" y="2758434"/>
                <a:ext cx="558800" cy="218440"/>
              </a:xfrm>
              <a:custGeom>
                <a:avLst/>
                <a:gdLst>
                  <a:gd name="connsiteX0" fmla="*/ 558800 w 558800"/>
                  <a:gd name="connsiteY0" fmla="*/ 218440 h 218440"/>
                  <a:gd name="connsiteX1" fmla="*/ 0 w 558800"/>
                  <a:gd name="connsiteY1" fmla="*/ 0 h 218440"/>
                </a:gdLst>
                <a:ahLst/>
                <a:cxnLst>
                  <a:cxn ang="0">
                    <a:pos x="connsiteX0" y="connsiteY0"/>
                  </a:cxn>
                  <a:cxn ang="0">
                    <a:pos x="connsiteX1" y="connsiteY1"/>
                  </a:cxn>
                </a:cxnLst>
                <a:rect l="l" t="t" r="r" b="b"/>
                <a:pathLst>
                  <a:path w="558800" h="218440">
                    <a:moveTo>
                      <a:pt x="558800" y="218440"/>
                    </a:move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4" name="Freeform: Shape 143">
                <a:extLst>
                  <a:ext uri="{FF2B5EF4-FFF2-40B4-BE49-F238E27FC236}">
                    <a16:creationId xmlns:a16="http://schemas.microsoft.com/office/drawing/2014/main" id="{D7C628D8-43EE-4A05-8F78-55FF348F5FE4}"/>
                  </a:ext>
                </a:extLst>
              </p:cNvPr>
              <p:cNvSpPr/>
              <p:nvPr/>
            </p:nvSpPr>
            <p:spPr>
              <a:xfrm>
                <a:off x="-304800" y="2235195"/>
                <a:ext cx="431800" cy="574040"/>
              </a:xfrm>
              <a:custGeom>
                <a:avLst/>
                <a:gdLst>
                  <a:gd name="connsiteX0" fmla="*/ 431800 w 431800"/>
                  <a:gd name="connsiteY0" fmla="*/ 574040 h 574040"/>
                  <a:gd name="connsiteX1" fmla="*/ 203200 w 431800"/>
                  <a:gd name="connsiteY1" fmla="*/ 401320 h 574040"/>
                  <a:gd name="connsiteX2" fmla="*/ 335280 w 431800"/>
                  <a:gd name="connsiteY2" fmla="*/ 203200 h 574040"/>
                  <a:gd name="connsiteX3" fmla="*/ 0 w 431800"/>
                  <a:gd name="connsiteY3" fmla="*/ 0 h 574040"/>
                </a:gdLst>
                <a:ahLst/>
                <a:cxnLst>
                  <a:cxn ang="0">
                    <a:pos x="connsiteX0" y="connsiteY0"/>
                  </a:cxn>
                  <a:cxn ang="0">
                    <a:pos x="connsiteX1" y="connsiteY1"/>
                  </a:cxn>
                  <a:cxn ang="0">
                    <a:pos x="connsiteX2" y="connsiteY2"/>
                  </a:cxn>
                  <a:cxn ang="0">
                    <a:pos x="connsiteX3" y="connsiteY3"/>
                  </a:cxn>
                </a:cxnLst>
                <a:rect l="l" t="t" r="r" b="b"/>
                <a:pathLst>
                  <a:path w="431800" h="574040">
                    <a:moveTo>
                      <a:pt x="431800" y="574040"/>
                    </a:moveTo>
                    <a:lnTo>
                      <a:pt x="203200" y="401320"/>
                    </a:lnTo>
                    <a:lnTo>
                      <a:pt x="335280" y="203200"/>
                    </a:ln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5" name="Freeform: Shape 144">
                <a:extLst>
                  <a:ext uri="{FF2B5EF4-FFF2-40B4-BE49-F238E27FC236}">
                    <a16:creationId xmlns:a16="http://schemas.microsoft.com/office/drawing/2014/main" id="{B7552FDF-60E8-4993-B2E2-76F1D211BBC0}"/>
                  </a:ext>
                </a:extLst>
              </p:cNvPr>
              <p:cNvSpPr/>
              <p:nvPr/>
            </p:nvSpPr>
            <p:spPr>
              <a:xfrm>
                <a:off x="35560" y="2143755"/>
                <a:ext cx="365760" cy="441959"/>
              </a:xfrm>
              <a:custGeom>
                <a:avLst/>
                <a:gdLst>
                  <a:gd name="connsiteX0" fmla="*/ 365760 w 365760"/>
                  <a:gd name="connsiteY0" fmla="*/ 441960 h 441960"/>
                  <a:gd name="connsiteX1" fmla="*/ 0 w 365760"/>
                  <a:gd name="connsiteY1" fmla="*/ 0 h 441960"/>
                </a:gdLst>
                <a:ahLst/>
                <a:cxnLst>
                  <a:cxn ang="0">
                    <a:pos x="connsiteX0" y="connsiteY0"/>
                  </a:cxn>
                  <a:cxn ang="0">
                    <a:pos x="connsiteX1" y="connsiteY1"/>
                  </a:cxn>
                </a:cxnLst>
                <a:rect l="l" t="t" r="r" b="b"/>
                <a:pathLst>
                  <a:path w="365760" h="441960">
                    <a:moveTo>
                      <a:pt x="365760" y="441960"/>
                    </a:move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9" name="Freeform: Shape 148">
                <a:extLst>
                  <a:ext uri="{FF2B5EF4-FFF2-40B4-BE49-F238E27FC236}">
                    <a16:creationId xmlns:a16="http://schemas.microsoft.com/office/drawing/2014/main" id="{C44ADABC-3BB9-4D52-993B-4F9EB5E70E93}"/>
                  </a:ext>
                </a:extLst>
              </p:cNvPr>
              <p:cNvSpPr/>
              <p:nvPr/>
            </p:nvSpPr>
            <p:spPr>
              <a:xfrm>
                <a:off x="391160" y="1965956"/>
                <a:ext cx="137160" cy="584200"/>
              </a:xfrm>
              <a:custGeom>
                <a:avLst/>
                <a:gdLst>
                  <a:gd name="connsiteX0" fmla="*/ 137160 w 137160"/>
                  <a:gd name="connsiteY0" fmla="*/ 584200 h 584200"/>
                  <a:gd name="connsiteX1" fmla="*/ 0 w 137160"/>
                  <a:gd name="connsiteY1" fmla="*/ 0 h 584200"/>
                </a:gdLst>
                <a:ahLst/>
                <a:cxnLst>
                  <a:cxn ang="0">
                    <a:pos x="connsiteX0" y="connsiteY0"/>
                  </a:cxn>
                  <a:cxn ang="0">
                    <a:pos x="connsiteX1" y="connsiteY1"/>
                  </a:cxn>
                </a:cxnLst>
                <a:rect l="l" t="t" r="r" b="b"/>
                <a:pathLst>
                  <a:path w="137160" h="584200">
                    <a:moveTo>
                      <a:pt x="137160" y="584200"/>
                    </a:moveTo>
                    <a:lnTo>
                      <a:pt x="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50" name="Group 149">
                <a:extLst>
                  <a:ext uri="{FF2B5EF4-FFF2-40B4-BE49-F238E27FC236}">
                    <a16:creationId xmlns:a16="http://schemas.microsoft.com/office/drawing/2014/main" id="{3F0070C1-E3FB-4DBF-8FA1-924D90D8FD56}"/>
                  </a:ext>
                </a:extLst>
              </p:cNvPr>
              <p:cNvGrpSpPr/>
              <p:nvPr/>
            </p:nvGrpSpPr>
            <p:grpSpPr>
              <a:xfrm>
                <a:off x="829943" y="1689730"/>
                <a:ext cx="173355" cy="173355"/>
                <a:chOff x="483234" y="1335404"/>
                <a:chExt cx="173355" cy="173355"/>
              </a:xfrm>
            </p:grpSpPr>
            <p:sp>
              <p:nvSpPr>
                <p:cNvPr id="208" name="Oval 207">
                  <a:extLst>
                    <a:ext uri="{FF2B5EF4-FFF2-40B4-BE49-F238E27FC236}">
                      <a16:creationId xmlns:a16="http://schemas.microsoft.com/office/drawing/2014/main" id="{DAE38C4C-8955-4875-994B-E161F09E3CD1}"/>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id="{3091B811-57A8-4F9B-945F-288C98B15DA2}"/>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1" name="Group 150">
                <a:extLst>
                  <a:ext uri="{FF2B5EF4-FFF2-40B4-BE49-F238E27FC236}">
                    <a16:creationId xmlns:a16="http://schemas.microsoft.com/office/drawing/2014/main" id="{3A85ADC5-959B-4F6B-AA5C-68626974C50C}"/>
                  </a:ext>
                </a:extLst>
              </p:cNvPr>
              <p:cNvGrpSpPr/>
              <p:nvPr/>
            </p:nvGrpSpPr>
            <p:grpSpPr>
              <a:xfrm>
                <a:off x="1018222" y="1871067"/>
                <a:ext cx="173355" cy="173355"/>
                <a:chOff x="483234" y="1335404"/>
                <a:chExt cx="173355" cy="173355"/>
              </a:xfrm>
            </p:grpSpPr>
            <p:sp>
              <p:nvSpPr>
                <p:cNvPr id="206" name="Oval 205">
                  <a:extLst>
                    <a:ext uri="{FF2B5EF4-FFF2-40B4-BE49-F238E27FC236}">
                      <a16:creationId xmlns:a16="http://schemas.microsoft.com/office/drawing/2014/main" id="{0BD876E1-907E-48BF-BE92-43FFB87AE0F2}"/>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id="{AFE57FB0-823B-4885-BA03-6F528CDFFD78}"/>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2" name="Group 151">
                <a:extLst>
                  <a:ext uri="{FF2B5EF4-FFF2-40B4-BE49-F238E27FC236}">
                    <a16:creationId xmlns:a16="http://schemas.microsoft.com/office/drawing/2014/main" id="{6223EF8A-F4EB-40A6-A263-8F9D4B6E3A2E}"/>
                  </a:ext>
                </a:extLst>
              </p:cNvPr>
              <p:cNvGrpSpPr/>
              <p:nvPr/>
            </p:nvGrpSpPr>
            <p:grpSpPr>
              <a:xfrm>
                <a:off x="1387397" y="2043754"/>
                <a:ext cx="173355" cy="173355"/>
                <a:chOff x="483234" y="1335404"/>
                <a:chExt cx="173355" cy="173355"/>
              </a:xfrm>
            </p:grpSpPr>
            <p:sp>
              <p:nvSpPr>
                <p:cNvPr id="204" name="Oval 203">
                  <a:extLst>
                    <a:ext uri="{FF2B5EF4-FFF2-40B4-BE49-F238E27FC236}">
                      <a16:creationId xmlns:a16="http://schemas.microsoft.com/office/drawing/2014/main" id="{9FABDA08-4706-405D-9CA1-A5F9F09695F9}"/>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a:extLst>
                    <a:ext uri="{FF2B5EF4-FFF2-40B4-BE49-F238E27FC236}">
                      <a16:creationId xmlns:a16="http://schemas.microsoft.com/office/drawing/2014/main" id="{E3526482-A41D-45D1-ACCE-9CA4A6EA5B8C}"/>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3" name="Group 152">
                <a:extLst>
                  <a:ext uri="{FF2B5EF4-FFF2-40B4-BE49-F238E27FC236}">
                    <a16:creationId xmlns:a16="http://schemas.microsoft.com/office/drawing/2014/main" id="{7749EB63-487A-444F-B1C2-B16F612D8097}"/>
                  </a:ext>
                </a:extLst>
              </p:cNvPr>
              <p:cNvGrpSpPr/>
              <p:nvPr/>
            </p:nvGrpSpPr>
            <p:grpSpPr>
              <a:xfrm>
                <a:off x="1712516" y="2150434"/>
                <a:ext cx="173355" cy="173355"/>
                <a:chOff x="483234" y="1335404"/>
                <a:chExt cx="173355" cy="173355"/>
              </a:xfrm>
            </p:grpSpPr>
            <p:sp>
              <p:nvSpPr>
                <p:cNvPr id="202" name="Oval 201">
                  <a:extLst>
                    <a:ext uri="{FF2B5EF4-FFF2-40B4-BE49-F238E27FC236}">
                      <a16:creationId xmlns:a16="http://schemas.microsoft.com/office/drawing/2014/main" id="{882E68B7-8CA7-4161-A179-CBFBC173BD36}"/>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E775E93C-462F-4894-A971-93CBB0E3300A}"/>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a:extLst>
                  <a:ext uri="{FF2B5EF4-FFF2-40B4-BE49-F238E27FC236}">
                    <a16:creationId xmlns:a16="http://schemas.microsoft.com/office/drawing/2014/main" id="{22827B47-106C-45AB-8511-CED99C1D9A11}"/>
                  </a:ext>
                </a:extLst>
              </p:cNvPr>
              <p:cNvGrpSpPr/>
              <p:nvPr/>
            </p:nvGrpSpPr>
            <p:grpSpPr>
              <a:xfrm>
                <a:off x="1864917" y="2551754"/>
                <a:ext cx="173355" cy="173355"/>
                <a:chOff x="483234" y="1335404"/>
                <a:chExt cx="173355" cy="173355"/>
              </a:xfrm>
            </p:grpSpPr>
            <p:sp>
              <p:nvSpPr>
                <p:cNvPr id="200" name="Oval 199">
                  <a:extLst>
                    <a:ext uri="{FF2B5EF4-FFF2-40B4-BE49-F238E27FC236}">
                      <a16:creationId xmlns:a16="http://schemas.microsoft.com/office/drawing/2014/main" id="{465A022C-C931-4E98-ADBB-FC803FFECBA8}"/>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1BB6CD1F-EB47-483C-9382-09F7889187F8}"/>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a:extLst>
                  <a:ext uri="{FF2B5EF4-FFF2-40B4-BE49-F238E27FC236}">
                    <a16:creationId xmlns:a16="http://schemas.microsoft.com/office/drawing/2014/main" id="{7437FB1E-F099-450D-A85C-53358B655A65}"/>
                  </a:ext>
                </a:extLst>
              </p:cNvPr>
              <p:cNvGrpSpPr/>
              <p:nvPr/>
            </p:nvGrpSpPr>
            <p:grpSpPr>
              <a:xfrm>
                <a:off x="1971596" y="2912433"/>
                <a:ext cx="173355" cy="173355"/>
                <a:chOff x="483234" y="1335404"/>
                <a:chExt cx="173355" cy="173355"/>
              </a:xfrm>
            </p:grpSpPr>
            <p:sp>
              <p:nvSpPr>
                <p:cNvPr id="198" name="Oval 197">
                  <a:extLst>
                    <a:ext uri="{FF2B5EF4-FFF2-40B4-BE49-F238E27FC236}">
                      <a16:creationId xmlns:a16="http://schemas.microsoft.com/office/drawing/2014/main" id="{E683DE32-CE5E-4ED3-B724-8D9BDF08ACEB}"/>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24427104-B696-40F2-80A4-734C6F382BCE}"/>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A556B455-B435-4117-9B8E-83C3C6A0D61E}"/>
                  </a:ext>
                </a:extLst>
              </p:cNvPr>
              <p:cNvGrpSpPr/>
              <p:nvPr/>
            </p:nvGrpSpPr>
            <p:grpSpPr>
              <a:xfrm>
                <a:off x="1875077" y="3704910"/>
                <a:ext cx="173355" cy="173355"/>
                <a:chOff x="483234" y="1335404"/>
                <a:chExt cx="173355" cy="173355"/>
              </a:xfrm>
            </p:grpSpPr>
            <p:sp>
              <p:nvSpPr>
                <p:cNvPr id="196" name="Oval 195">
                  <a:extLst>
                    <a:ext uri="{FF2B5EF4-FFF2-40B4-BE49-F238E27FC236}">
                      <a16:creationId xmlns:a16="http://schemas.microsoft.com/office/drawing/2014/main" id="{0D13D195-8B5D-473D-84AE-04001D5AC748}"/>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54A6B51C-CA62-4500-A967-14ABAFC7F779}"/>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 name="Group 156">
                <a:extLst>
                  <a:ext uri="{FF2B5EF4-FFF2-40B4-BE49-F238E27FC236}">
                    <a16:creationId xmlns:a16="http://schemas.microsoft.com/office/drawing/2014/main" id="{884C77EF-E0B7-4971-AB07-C8E34878FBAE}"/>
                  </a:ext>
                </a:extLst>
              </p:cNvPr>
              <p:cNvGrpSpPr/>
              <p:nvPr/>
            </p:nvGrpSpPr>
            <p:grpSpPr>
              <a:xfrm>
                <a:off x="1667222" y="4244645"/>
                <a:ext cx="173355" cy="173355"/>
                <a:chOff x="483234" y="1335404"/>
                <a:chExt cx="173355" cy="173355"/>
              </a:xfrm>
            </p:grpSpPr>
            <p:sp>
              <p:nvSpPr>
                <p:cNvPr id="194" name="Oval 193">
                  <a:extLst>
                    <a:ext uri="{FF2B5EF4-FFF2-40B4-BE49-F238E27FC236}">
                      <a16:creationId xmlns:a16="http://schemas.microsoft.com/office/drawing/2014/main" id="{A76277E6-3112-4BE2-AF7D-EDC9FF595AC0}"/>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DBEC26E8-25BE-4E4A-9A00-0F321A6F96CB}"/>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Group 157">
                <a:extLst>
                  <a:ext uri="{FF2B5EF4-FFF2-40B4-BE49-F238E27FC236}">
                    <a16:creationId xmlns:a16="http://schemas.microsoft.com/office/drawing/2014/main" id="{BA6A25B3-441C-47EB-BA23-BA102BEFFBD5}"/>
                  </a:ext>
                </a:extLst>
              </p:cNvPr>
              <p:cNvGrpSpPr/>
              <p:nvPr/>
            </p:nvGrpSpPr>
            <p:grpSpPr>
              <a:xfrm>
                <a:off x="1311975" y="4327045"/>
                <a:ext cx="173355" cy="173355"/>
                <a:chOff x="483234" y="1335404"/>
                <a:chExt cx="173355" cy="173355"/>
              </a:xfrm>
            </p:grpSpPr>
            <p:sp>
              <p:nvSpPr>
                <p:cNvPr id="192" name="Oval 191">
                  <a:extLst>
                    <a:ext uri="{FF2B5EF4-FFF2-40B4-BE49-F238E27FC236}">
                      <a16:creationId xmlns:a16="http://schemas.microsoft.com/office/drawing/2014/main" id="{A65FD141-597A-4733-BD27-CECDF8457029}"/>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48A7099C-3BD2-44C7-8E00-D4750F30C6D2}"/>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9" name="Group 158">
                <a:extLst>
                  <a:ext uri="{FF2B5EF4-FFF2-40B4-BE49-F238E27FC236}">
                    <a16:creationId xmlns:a16="http://schemas.microsoft.com/office/drawing/2014/main" id="{EB9A845C-1709-44FC-A9E6-60830EB49889}"/>
                  </a:ext>
                </a:extLst>
              </p:cNvPr>
              <p:cNvGrpSpPr/>
              <p:nvPr/>
            </p:nvGrpSpPr>
            <p:grpSpPr>
              <a:xfrm>
                <a:off x="974870" y="4492938"/>
                <a:ext cx="173355" cy="173355"/>
                <a:chOff x="483234" y="1335404"/>
                <a:chExt cx="173355" cy="173355"/>
              </a:xfrm>
            </p:grpSpPr>
            <p:sp>
              <p:nvSpPr>
                <p:cNvPr id="190" name="Oval 189">
                  <a:extLst>
                    <a:ext uri="{FF2B5EF4-FFF2-40B4-BE49-F238E27FC236}">
                      <a16:creationId xmlns:a16="http://schemas.microsoft.com/office/drawing/2014/main" id="{98097899-2CA1-4C07-BD27-46CD6BB77B63}"/>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3BE43866-6EF3-47A3-9C1C-41CBD3064861}"/>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0" name="Group 159">
                <a:extLst>
                  <a:ext uri="{FF2B5EF4-FFF2-40B4-BE49-F238E27FC236}">
                    <a16:creationId xmlns:a16="http://schemas.microsoft.com/office/drawing/2014/main" id="{43D7C9B9-FE03-492D-9CA9-6F77C9B644F1}"/>
                  </a:ext>
                </a:extLst>
              </p:cNvPr>
              <p:cNvGrpSpPr/>
              <p:nvPr/>
            </p:nvGrpSpPr>
            <p:grpSpPr>
              <a:xfrm>
                <a:off x="792521" y="4638084"/>
                <a:ext cx="173355" cy="173355"/>
                <a:chOff x="483234" y="1335404"/>
                <a:chExt cx="173355" cy="173355"/>
              </a:xfrm>
            </p:grpSpPr>
            <p:sp>
              <p:nvSpPr>
                <p:cNvPr id="188" name="Oval 187">
                  <a:extLst>
                    <a:ext uri="{FF2B5EF4-FFF2-40B4-BE49-F238E27FC236}">
                      <a16:creationId xmlns:a16="http://schemas.microsoft.com/office/drawing/2014/main" id="{38F39C69-8066-4DC4-A021-6D5A48D936C0}"/>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B85F8617-69FA-4C82-BE84-65A1E6CBCFA2}"/>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Group 160">
                <a:extLst>
                  <a:ext uri="{FF2B5EF4-FFF2-40B4-BE49-F238E27FC236}">
                    <a16:creationId xmlns:a16="http://schemas.microsoft.com/office/drawing/2014/main" id="{7E37BC5D-E0C1-457A-897D-753B868EBBD2}"/>
                  </a:ext>
                </a:extLst>
              </p:cNvPr>
              <p:cNvGrpSpPr/>
              <p:nvPr/>
            </p:nvGrpSpPr>
            <p:grpSpPr>
              <a:xfrm>
                <a:off x="254635" y="4483360"/>
                <a:ext cx="173355" cy="173355"/>
                <a:chOff x="483234" y="1335404"/>
                <a:chExt cx="173355" cy="173355"/>
              </a:xfrm>
            </p:grpSpPr>
            <p:sp>
              <p:nvSpPr>
                <p:cNvPr id="186" name="Oval 185">
                  <a:extLst>
                    <a:ext uri="{FF2B5EF4-FFF2-40B4-BE49-F238E27FC236}">
                      <a16:creationId xmlns:a16="http://schemas.microsoft.com/office/drawing/2014/main" id="{1928D0F3-B895-4C85-A22F-24ADDC541CB0}"/>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B8B4FCAF-60BF-4EB3-ABAB-D0B08B6FA62B}"/>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a:extLst>
                  <a:ext uri="{FF2B5EF4-FFF2-40B4-BE49-F238E27FC236}">
                    <a16:creationId xmlns:a16="http://schemas.microsoft.com/office/drawing/2014/main" id="{DE1DF28E-D5F8-4EF4-BA6A-05215A3648D5}"/>
                  </a:ext>
                </a:extLst>
              </p:cNvPr>
              <p:cNvGrpSpPr/>
              <p:nvPr/>
            </p:nvGrpSpPr>
            <p:grpSpPr>
              <a:xfrm>
                <a:off x="-117158" y="4327091"/>
                <a:ext cx="173355" cy="173355"/>
                <a:chOff x="483234" y="1335404"/>
                <a:chExt cx="173355" cy="173355"/>
              </a:xfrm>
            </p:grpSpPr>
            <p:sp>
              <p:nvSpPr>
                <p:cNvPr id="184" name="Oval 183">
                  <a:extLst>
                    <a:ext uri="{FF2B5EF4-FFF2-40B4-BE49-F238E27FC236}">
                      <a16:creationId xmlns:a16="http://schemas.microsoft.com/office/drawing/2014/main" id="{21C6FB78-71E2-4388-94C4-C0F8E9824A8E}"/>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Oval 184">
                  <a:extLst>
                    <a:ext uri="{FF2B5EF4-FFF2-40B4-BE49-F238E27FC236}">
                      <a16:creationId xmlns:a16="http://schemas.microsoft.com/office/drawing/2014/main" id="{7341E90D-0882-40C6-95B7-5E94CD6FAECC}"/>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3" name="Group 162">
                <a:extLst>
                  <a:ext uri="{FF2B5EF4-FFF2-40B4-BE49-F238E27FC236}">
                    <a16:creationId xmlns:a16="http://schemas.microsoft.com/office/drawing/2014/main" id="{31B2A573-9FA0-41A7-8507-172CC15E72C1}"/>
                  </a:ext>
                </a:extLst>
              </p:cNvPr>
              <p:cNvGrpSpPr/>
              <p:nvPr/>
            </p:nvGrpSpPr>
            <p:grpSpPr>
              <a:xfrm>
                <a:off x="-447602" y="4214322"/>
                <a:ext cx="173355" cy="173355"/>
                <a:chOff x="483234" y="1335404"/>
                <a:chExt cx="173355" cy="173355"/>
              </a:xfrm>
            </p:grpSpPr>
            <p:sp>
              <p:nvSpPr>
                <p:cNvPr id="182" name="Oval 181">
                  <a:extLst>
                    <a:ext uri="{FF2B5EF4-FFF2-40B4-BE49-F238E27FC236}">
                      <a16:creationId xmlns:a16="http://schemas.microsoft.com/office/drawing/2014/main" id="{118CEEE0-DA87-4CD3-BEE9-4ED623CA9AEF}"/>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93FB145D-0D3E-42D2-ADA7-072F850119C8}"/>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4" name="Group 163">
                <a:extLst>
                  <a:ext uri="{FF2B5EF4-FFF2-40B4-BE49-F238E27FC236}">
                    <a16:creationId xmlns:a16="http://schemas.microsoft.com/office/drawing/2014/main" id="{57F47593-D36E-48CB-98E0-6770508AF7D1}"/>
                  </a:ext>
                </a:extLst>
              </p:cNvPr>
              <p:cNvGrpSpPr/>
              <p:nvPr/>
            </p:nvGrpSpPr>
            <p:grpSpPr>
              <a:xfrm>
                <a:off x="-589280" y="3825934"/>
                <a:ext cx="173355" cy="173355"/>
                <a:chOff x="483234" y="1335404"/>
                <a:chExt cx="173355" cy="173355"/>
              </a:xfrm>
            </p:grpSpPr>
            <p:sp>
              <p:nvSpPr>
                <p:cNvPr id="180" name="Oval 179">
                  <a:extLst>
                    <a:ext uri="{FF2B5EF4-FFF2-40B4-BE49-F238E27FC236}">
                      <a16:creationId xmlns:a16="http://schemas.microsoft.com/office/drawing/2014/main" id="{F092191A-F34F-41DC-B4EC-87DC4ED5848F}"/>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C14C07BF-249A-441E-9BFB-679F38CE13F5}"/>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Group 164">
                <a:extLst>
                  <a:ext uri="{FF2B5EF4-FFF2-40B4-BE49-F238E27FC236}">
                    <a16:creationId xmlns:a16="http://schemas.microsoft.com/office/drawing/2014/main" id="{E7B1D9D8-D141-4E69-B975-32FE640C5206}"/>
                  </a:ext>
                </a:extLst>
              </p:cNvPr>
              <p:cNvGrpSpPr/>
              <p:nvPr/>
            </p:nvGrpSpPr>
            <p:grpSpPr>
              <a:xfrm>
                <a:off x="-722601" y="3469314"/>
                <a:ext cx="173355" cy="173355"/>
                <a:chOff x="483234" y="1335404"/>
                <a:chExt cx="173355" cy="173355"/>
              </a:xfrm>
            </p:grpSpPr>
            <p:sp>
              <p:nvSpPr>
                <p:cNvPr id="178" name="Oval 177">
                  <a:extLst>
                    <a:ext uri="{FF2B5EF4-FFF2-40B4-BE49-F238E27FC236}">
                      <a16:creationId xmlns:a16="http://schemas.microsoft.com/office/drawing/2014/main" id="{5AFBF25F-4A6A-4EFE-8F0A-F14F9C605357}"/>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5FCB812D-0EEC-43B6-B91F-39C1C4B1C27B}"/>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6" name="Group 165">
                <a:extLst>
                  <a:ext uri="{FF2B5EF4-FFF2-40B4-BE49-F238E27FC236}">
                    <a16:creationId xmlns:a16="http://schemas.microsoft.com/office/drawing/2014/main" id="{3F2B4CC1-9F4B-4499-B90B-2F614D7B01D6}"/>
                  </a:ext>
                </a:extLst>
              </p:cNvPr>
              <p:cNvGrpSpPr/>
              <p:nvPr/>
            </p:nvGrpSpPr>
            <p:grpSpPr>
              <a:xfrm>
                <a:off x="-680231" y="2652837"/>
                <a:ext cx="173355" cy="173355"/>
                <a:chOff x="483234" y="1335404"/>
                <a:chExt cx="173355" cy="173355"/>
              </a:xfrm>
            </p:grpSpPr>
            <p:sp>
              <p:nvSpPr>
                <p:cNvPr id="176" name="Oval 175">
                  <a:extLst>
                    <a:ext uri="{FF2B5EF4-FFF2-40B4-BE49-F238E27FC236}">
                      <a16:creationId xmlns:a16="http://schemas.microsoft.com/office/drawing/2014/main" id="{D606044F-241E-4620-90B7-30F29EA69EA5}"/>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80D302DE-83E5-4B1C-AF9B-5CC7758A6774}"/>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Group 166">
                <a:extLst>
                  <a:ext uri="{FF2B5EF4-FFF2-40B4-BE49-F238E27FC236}">
                    <a16:creationId xmlns:a16="http://schemas.microsoft.com/office/drawing/2014/main" id="{773CAFA4-C87F-40B8-A509-5D6F9F57BA5A}"/>
                  </a:ext>
                </a:extLst>
              </p:cNvPr>
              <p:cNvGrpSpPr/>
              <p:nvPr/>
            </p:nvGrpSpPr>
            <p:grpSpPr>
              <a:xfrm>
                <a:off x="-435245" y="2135028"/>
                <a:ext cx="173355" cy="173355"/>
                <a:chOff x="483234" y="1335404"/>
                <a:chExt cx="173355" cy="173355"/>
              </a:xfrm>
            </p:grpSpPr>
            <p:sp>
              <p:nvSpPr>
                <p:cNvPr id="174" name="Oval 173">
                  <a:extLst>
                    <a:ext uri="{FF2B5EF4-FFF2-40B4-BE49-F238E27FC236}">
                      <a16:creationId xmlns:a16="http://schemas.microsoft.com/office/drawing/2014/main" id="{4B1B8B85-79F7-46CD-904B-A89C8107EDCE}"/>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a16="http://schemas.microsoft.com/office/drawing/2014/main" id="{A9C73BBB-9C01-4243-8551-280B507C8F61}"/>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8" name="Group 167">
                <a:extLst>
                  <a:ext uri="{FF2B5EF4-FFF2-40B4-BE49-F238E27FC236}">
                    <a16:creationId xmlns:a16="http://schemas.microsoft.com/office/drawing/2014/main" id="{B810C623-5ACC-48FE-9CCF-B935BB2E95C7}"/>
                  </a:ext>
                </a:extLst>
              </p:cNvPr>
              <p:cNvGrpSpPr/>
              <p:nvPr/>
            </p:nvGrpSpPr>
            <p:grpSpPr>
              <a:xfrm>
                <a:off x="-92632" y="2020251"/>
                <a:ext cx="173355" cy="173355"/>
                <a:chOff x="483234" y="1335404"/>
                <a:chExt cx="173355" cy="173355"/>
              </a:xfrm>
            </p:grpSpPr>
            <p:sp>
              <p:nvSpPr>
                <p:cNvPr id="172" name="Oval 171">
                  <a:extLst>
                    <a:ext uri="{FF2B5EF4-FFF2-40B4-BE49-F238E27FC236}">
                      <a16:creationId xmlns:a16="http://schemas.microsoft.com/office/drawing/2014/main" id="{02E3A45B-EC66-49DB-9415-77722E47EA24}"/>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id="{C2D82BA4-EC25-42CB-B27E-56BEFABA41D4}"/>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9" name="Group 168">
                <a:extLst>
                  <a:ext uri="{FF2B5EF4-FFF2-40B4-BE49-F238E27FC236}">
                    <a16:creationId xmlns:a16="http://schemas.microsoft.com/office/drawing/2014/main" id="{76F1DA97-C32C-4D72-84E4-210D51B13355}"/>
                  </a:ext>
                </a:extLst>
              </p:cNvPr>
              <p:cNvGrpSpPr/>
              <p:nvPr/>
            </p:nvGrpSpPr>
            <p:grpSpPr>
              <a:xfrm>
                <a:off x="282996" y="1828983"/>
                <a:ext cx="173355" cy="173355"/>
                <a:chOff x="483234" y="1335404"/>
                <a:chExt cx="173355" cy="173355"/>
              </a:xfrm>
            </p:grpSpPr>
            <p:sp>
              <p:nvSpPr>
                <p:cNvPr id="170" name="Oval 169">
                  <a:extLst>
                    <a:ext uri="{FF2B5EF4-FFF2-40B4-BE49-F238E27FC236}">
                      <a16:creationId xmlns:a16="http://schemas.microsoft.com/office/drawing/2014/main" id="{A997C522-FC09-4BA5-931A-CCB6880BE3B7}"/>
                    </a:ext>
                  </a:extLst>
                </p:cNvPr>
                <p:cNvSpPr/>
                <p:nvPr/>
              </p:nvSpPr>
              <p:spPr>
                <a:xfrm>
                  <a:off x="483234" y="1335404"/>
                  <a:ext cx="173355" cy="173355"/>
                </a:xfrm>
                <a:prstGeom prst="ellipse">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id="{B435CEAE-A424-4E46-B9C7-E8161493093E}"/>
                    </a:ext>
                  </a:extLst>
                </p:cNvPr>
                <p:cNvSpPr/>
                <p:nvPr/>
              </p:nvSpPr>
              <p:spPr>
                <a:xfrm>
                  <a:off x="518635" y="1370805"/>
                  <a:ext cx="102552" cy="102552"/>
                </a:xfrm>
                <a:prstGeom prst="ellipse">
                  <a:avLst/>
                </a:prstGeom>
                <a:solidFill>
                  <a:srgbClr val="B51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219" name="Rectangle 18">
            <a:extLst>
              <a:ext uri="{FF2B5EF4-FFF2-40B4-BE49-F238E27FC236}">
                <a16:creationId xmlns:a16="http://schemas.microsoft.com/office/drawing/2014/main" id="{01B2F182-ECAF-4548-8954-B77EECE4A186}"/>
              </a:ext>
            </a:extLst>
          </p:cNvPr>
          <p:cNvSpPr/>
          <p:nvPr userDrawn="1"/>
        </p:nvSpPr>
        <p:spPr>
          <a:xfrm>
            <a:off x="8932754" y="3032018"/>
            <a:ext cx="2493099" cy="743853"/>
          </a:xfrm>
          <a:prstGeom prst="rect">
            <a:avLst/>
          </a:prstGeom>
          <a:solidFill>
            <a:srgbClr val="860864">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0" name="Rectangle 219">
            <a:extLst>
              <a:ext uri="{FF2B5EF4-FFF2-40B4-BE49-F238E27FC236}">
                <a16:creationId xmlns:a16="http://schemas.microsoft.com/office/drawing/2014/main" id="{24D7AD30-552F-4439-A956-2C314D85C7E7}"/>
              </a:ext>
            </a:extLst>
          </p:cNvPr>
          <p:cNvSpPr/>
          <p:nvPr userDrawn="1"/>
        </p:nvSpPr>
        <p:spPr>
          <a:xfrm>
            <a:off x="8932754" y="3774411"/>
            <a:ext cx="2493099" cy="668051"/>
          </a:xfrm>
          <a:prstGeom prst="rect">
            <a:avLst/>
          </a:prstGeom>
          <a:solidFill>
            <a:srgbClr val="860864">
              <a:alpha val="69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1" name="Rectangle 220">
            <a:extLst>
              <a:ext uri="{FF2B5EF4-FFF2-40B4-BE49-F238E27FC236}">
                <a16:creationId xmlns:a16="http://schemas.microsoft.com/office/drawing/2014/main" id="{E08EA81E-1106-4283-9B77-309C2BE1A0AF}"/>
              </a:ext>
            </a:extLst>
          </p:cNvPr>
          <p:cNvSpPr/>
          <p:nvPr userDrawn="1"/>
        </p:nvSpPr>
        <p:spPr>
          <a:xfrm>
            <a:off x="8932754" y="2274178"/>
            <a:ext cx="2493099" cy="768749"/>
          </a:xfrm>
          <a:prstGeom prst="rect">
            <a:avLst/>
          </a:prstGeom>
          <a:solidFill>
            <a:srgbClr val="860864">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2" name="Rectangle 221">
            <a:extLst>
              <a:ext uri="{FF2B5EF4-FFF2-40B4-BE49-F238E27FC236}">
                <a16:creationId xmlns:a16="http://schemas.microsoft.com/office/drawing/2014/main" id="{3802C3C0-FA35-476D-8630-81C514884A73}"/>
              </a:ext>
            </a:extLst>
          </p:cNvPr>
          <p:cNvSpPr/>
          <p:nvPr userDrawn="1"/>
        </p:nvSpPr>
        <p:spPr>
          <a:xfrm>
            <a:off x="8932754" y="4442462"/>
            <a:ext cx="2493099" cy="668051"/>
          </a:xfrm>
          <a:prstGeom prst="rect">
            <a:avLst/>
          </a:prstGeom>
          <a:solidFill>
            <a:srgbClr val="860864"/>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3" name="Text Placeholder 3">
            <a:extLst>
              <a:ext uri="{FF2B5EF4-FFF2-40B4-BE49-F238E27FC236}">
                <a16:creationId xmlns:a16="http://schemas.microsoft.com/office/drawing/2014/main" id="{47CA184D-A059-49E1-A624-BB644698BF71}"/>
              </a:ext>
            </a:extLst>
          </p:cNvPr>
          <p:cNvSpPr>
            <a:spLocks noGrp="1"/>
          </p:cNvSpPr>
          <p:nvPr>
            <p:ph type="body" sz="quarter" idx="16"/>
          </p:nvPr>
        </p:nvSpPr>
        <p:spPr>
          <a:xfrm>
            <a:off x="8976079" y="2328770"/>
            <a:ext cx="2394327" cy="573455"/>
          </a:xfrm>
        </p:spPr>
        <p:txBody>
          <a:bodyPr>
            <a:normAutofit/>
          </a:bodyPr>
          <a:lstStyle>
            <a:lvl1pPr>
              <a:defRPr kumimoji="0" lang="en-US" sz="1600" b="1" i="0" u="none" strike="noStrike" kern="0" cap="none" spc="0" normalizeH="0" baseline="0" dirty="0" smtClean="0">
                <a:ln>
                  <a:noFill/>
                </a:ln>
                <a:solidFill>
                  <a:srgbClr val="86086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4" name="Text Placeholder 3">
            <a:extLst>
              <a:ext uri="{FF2B5EF4-FFF2-40B4-BE49-F238E27FC236}">
                <a16:creationId xmlns:a16="http://schemas.microsoft.com/office/drawing/2014/main" id="{8BE97938-3628-4B52-9B77-3D3CA6DF1946}"/>
              </a:ext>
            </a:extLst>
          </p:cNvPr>
          <p:cNvSpPr>
            <a:spLocks noGrp="1"/>
          </p:cNvSpPr>
          <p:nvPr>
            <p:ph type="body" sz="quarter" idx="17"/>
          </p:nvPr>
        </p:nvSpPr>
        <p:spPr>
          <a:xfrm>
            <a:off x="8976079" y="3080610"/>
            <a:ext cx="2394327" cy="573455"/>
          </a:xfrm>
        </p:spPr>
        <p:txBody>
          <a:bodyPr>
            <a:normAutofit/>
          </a:bodyPr>
          <a:lstStyle>
            <a:lvl1pPr>
              <a:defRPr kumimoji="0" lang="en-US" sz="1600" b="1" i="0" u="none" strike="noStrike" kern="0" cap="none" spc="0" normalizeH="0" baseline="0" dirty="0" smtClean="0">
                <a:ln>
                  <a:noFill/>
                </a:ln>
                <a:solidFill>
                  <a:srgbClr val="86086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5" name="Text Placeholder 3">
            <a:extLst>
              <a:ext uri="{FF2B5EF4-FFF2-40B4-BE49-F238E27FC236}">
                <a16:creationId xmlns:a16="http://schemas.microsoft.com/office/drawing/2014/main" id="{73C41618-E013-4000-B9AE-C892D1F4F6FB}"/>
              </a:ext>
            </a:extLst>
          </p:cNvPr>
          <p:cNvSpPr>
            <a:spLocks noGrp="1"/>
          </p:cNvSpPr>
          <p:nvPr>
            <p:ph type="body" sz="quarter" idx="18"/>
          </p:nvPr>
        </p:nvSpPr>
        <p:spPr>
          <a:xfrm>
            <a:off x="8976079"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6" name="Text Placeholder 3">
            <a:extLst>
              <a:ext uri="{FF2B5EF4-FFF2-40B4-BE49-F238E27FC236}">
                <a16:creationId xmlns:a16="http://schemas.microsoft.com/office/drawing/2014/main" id="{941D6A50-52B3-43E6-AD4F-C1BEB97692CD}"/>
              </a:ext>
            </a:extLst>
          </p:cNvPr>
          <p:cNvSpPr>
            <a:spLocks noGrp="1"/>
          </p:cNvSpPr>
          <p:nvPr>
            <p:ph type="body" sz="quarter" idx="19"/>
          </p:nvPr>
        </p:nvSpPr>
        <p:spPr>
          <a:xfrm>
            <a:off x="8976079"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Tree>
    <p:extLst>
      <p:ext uri="{BB962C8B-B14F-4D97-AF65-F5344CB8AC3E}">
        <p14:creationId xmlns:p14="http://schemas.microsoft.com/office/powerpoint/2010/main" val="19287308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53" name="Rectangle 18">
            <a:extLst>
              <a:ext uri="{FF2B5EF4-FFF2-40B4-BE49-F238E27FC236}">
                <a16:creationId xmlns:a16="http://schemas.microsoft.com/office/drawing/2014/main" id="{227D52D4-2688-4A4D-9277-0AA150DFD938}"/>
              </a:ext>
            </a:extLst>
          </p:cNvPr>
          <p:cNvSpPr/>
          <p:nvPr userDrawn="1"/>
        </p:nvSpPr>
        <p:spPr>
          <a:xfrm>
            <a:off x="641866" y="3032018"/>
            <a:ext cx="2493099" cy="743853"/>
          </a:xfrm>
          <a:prstGeom prst="rect">
            <a:avLst/>
          </a:prstGeom>
          <a:solidFill>
            <a:srgbClr val="0070AD">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9E3DE42F-62EB-4C1E-91F3-C2E0DF930D19}"/>
              </a:ext>
            </a:extLst>
          </p:cNvPr>
          <p:cNvSpPr/>
          <p:nvPr userDrawn="1"/>
        </p:nvSpPr>
        <p:spPr>
          <a:xfrm>
            <a:off x="641866" y="3774411"/>
            <a:ext cx="2493099" cy="668051"/>
          </a:xfrm>
          <a:prstGeom prst="rect">
            <a:avLst/>
          </a:prstGeom>
          <a:solidFill>
            <a:srgbClr val="0070AD">
              <a:alpha val="69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1C7C294D-A75C-42EA-A120-EC2EC5AC4A1C}"/>
              </a:ext>
            </a:extLst>
          </p:cNvPr>
          <p:cNvSpPr/>
          <p:nvPr userDrawn="1"/>
        </p:nvSpPr>
        <p:spPr>
          <a:xfrm>
            <a:off x="641866" y="2274178"/>
            <a:ext cx="2493099" cy="768749"/>
          </a:xfrm>
          <a:prstGeom prst="rect">
            <a:avLst/>
          </a:prstGeom>
          <a:solidFill>
            <a:srgbClr val="0070AD">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D991D24A-F216-46A0-A2CE-0F89D7D18464}"/>
              </a:ext>
            </a:extLst>
          </p:cNvPr>
          <p:cNvSpPr/>
          <p:nvPr userDrawn="1"/>
        </p:nvSpPr>
        <p:spPr>
          <a:xfrm>
            <a:off x="641866" y="4442462"/>
            <a:ext cx="2493099" cy="668051"/>
          </a:xfrm>
          <a:prstGeom prst="rect">
            <a:avLst/>
          </a:prstGeom>
          <a:solidFill>
            <a:srgbClr val="0070AD"/>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942FACA2-8FCD-4118-B243-2C469E41FFAA}"/>
              </a:ext>
            </a:extLst>
          </p:cNvPr>
          <p:cNvSpPr>
            <a:spLocks noGrp="1"/>
          </p:cNvSpPr>
          <p:nvPr>
            <p:ph type="body" sz="quarter" idx="10"/>
          </p:nvPr>
        </p:nvSpPr>
        <p:spPr>
          <a:xfrm>
            <a:off x="685191" y="2328770"/>
            <a:ext cx="2394327" cy="573455"/>
          </a:xfrm>
        </p:spPr>
        <p:txBody>
          <a:bodyPr>
            <a:normAutofit/>
          </a:bodyPr>
          <a:lstStyle>
            <a:lvl1pPr>
              <a:defRPr kumimoji="0" lang="en-US" sz="1600" b="1" i="0" u="none" strike="noStrike" kern="0" cap="none" spc="0" normalizeH="0" baseline="0" dirty="0" smtClean="0">
                <a:ln>
                  <a:noFill/>
                </a:ln>
                <a:solidFill>
                  <a:srgbClr val="0070AD"/>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5" name="Text Placeholder 3">
            <a:extLst>
              <a:ext uri="{FF2B5EF4-FFF2-40B4-BE49-F238E27FC236}">
                <a16:creationId xmlns:a16="http://schemas.microsoft.com/office/drawing/2014/main" id="{91AA38E4-FE47-4A9A-B8F2-943FEEB4BD06}"/>
              </a:ext>
            </a:extLst>
          </p:cNvPr>
          <p:cNvSpPr>
            <a:spLocks noGrp="1"/>
          </p:cNvSpPr>
          <p:nvPr>
            <p:ph type="body" sz="quarter" idx="12"/>
          </p:nvPr>
        </p:nvSpPr>
        <p:spPr>
          <a:xfrm>
            <a:off x="685191" y="3080610"/>
            <a:ext cx="2394327" cy="573455"/>
          </a:xfrm>
        </p:spPr>
        <p:txBody>
          <a:bodyPr>
            <a:normAutofit/>
          </a:bodyPr>
          <a:lstStyle>
            <a:lvl1pPr>
              <a:defRPr kumimoji="0" lang="en-US" sz="1600" b="1" i="0" u="none" strike="noStrike" kern="0" cap="none" spc="0" normalizeH="0" baseline="0" dirty="0" smtClean="0">
                <a:ln>
                  <a:noFill/>
                </a:ln>
                <a:solidFill>
                  <a:srgbClr val="0070AD"/>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7" name="Text Placeholder 3">
            <a:extLst>
              <a:ext uri="{FF2B5EF4-FFF2-40B4-BE49-F238E27FC236}">
                <a16:creationId xmlns:a16="http://schemas.microsoft.com/office/drawing/2014/main" id="{97AC09C2-0BB4-45CA-9397-7B1B0E1D2A85}"/>
              </a:ext>
            </a:extLst>
          </p:cNvPr>
          <p:cNvSpPr>
            <a:spLocks noGrp="1"/>
          </p:cNvSpPr>
          <p:nvPr>
            <p:ph type="body" sz="quarter" idx="14"/>
          </p:nvPr>
        </p:nvSpPr>
        <p:spPr>
          <a:xfrm>
            <a:off x="685191"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8" name="Text Placeholder 3">
            <a:extLst>
              <a:ext uri="{FF2B5EF4-FFF2-40B4-BE49-F238E27FC236}">
                <a16:creationId xmlns:a16="http://schemas.microsoft.com/office/drawing/2014/main" id="{D3896FE5-52E3-4090-9821-E4BD8EE55BD3}"/>
              </a:ext>
            </a:extLst>
          </p:cNvPr>
          <p:cNvSpPr>
            <a:spLocks noGrp="1"/>
          </p:cNvSpPr>
          <p:nvPr>
            <p:ph type="body" sz="quarter" idx="15"/>
          </p:nvPr>
        </p:nvSpPr>
        <p:spPr>
          <a:xfrm>
            <a:off x="685191"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19" name="Rectangle 18">
            <a:extLst>
              <a:ext uri="{FF2B5EF4-FFF2-40B4-BE49-F238E27FC236}">
                <a16:creationId xmlns:a16="http://schemas.microsoft.com/office/drawing/2014/main" id="{01B2F182-ECAF-4548-8954-B77EECE4A186}"/>
              </a:ext>
            </a:extLst>
          </p:cNvPr>
          <p:cNvSpPr/>
          <p:nvPr userDrawn="1"/>
        </p:nvSpPr>
        <p:spPr>
          <a:xfrm>
            <a:off x="8932754" y="3032018"/>
            <a:ext cx="2493099" cy="743853"/>
          </a:xfrm>
          <a:prstGeom prst="rect">
            <a:avLst/>
          </a:prstGeom>
          <a:solidFill>
            <a:srgbClr val="0070AD">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0" name="Rectangle 219">
            <a:extLst>
              <a:ext uri="{FF2B5EF4-FFF2-40B4-BE49-F238E27FC236}">
                <a16:creationId xmlns:a16="http://schemas.microsoft.com/office/drawing/2014/main" id="{24D7AD30-552F-4439-A956-2C314D85C7E7}"/>
              </a:ext>
            </a:extLst>
          </p:cNvPr>
          <p:cNvSpPr/>
          <p:nvPr userDrawn="1"/>
        </p:nvSpPr>
        <p:spPr>
          <a:xfrm>
            <a:off x="8932754" y="3774411"/>
            <a:ext cx="2493099" cy="668051"/>
          </a:xfrm>
          <a:prstGeom prst="rect">
            <a:avLst/>
          </a:prstGeom>
          <a:solidFill>
            <a:srgbClr val="0070AD">
              <a:alpha val="69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1" name="Rectangle 220">
            <a:extLst>
              <a:ext uri="{FF2B5EF4-FFF2-40B4-BE49-F238E27FC236}">
                <a16:creationId xmlns:a16="http://schemas.microsoft.com/office/drawing/2014/main" id="{E08EA81E-1106-4283-9B77-309C2BE1A0AF}"/>
              </a:ext>
            </a:extLst>
          </p:cNvPr>
          <p:cNvSpPr/>
          <p:nvPr userDrawn="1"/>
        </p:nvSpPr>
        <p:spPr>
          <a:xfrm>
            <a:off x="8932754" y="2274178"/>
            <a:ext cx="2493099" cy="768749"/>
          </a:xfrm>
          <a:prstGeom prst="rect">
            <a:avLst/>
          </a:prstGeom>
          <a:solidFill>
            <a:srgbClr val="0070AD">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2" name="Rectangle 221">
            <a:extLst>
              <a:ext uri="{FF2B5EF4-FFF2-40B4-BE49-F238E27FC236}">
                <a16:creationId xmlns:a16="http://schemas.microsoft.com/office/drawing/2014/main" id="{3802C3C0-FA35-476D-8630-81C514884A73}"/>
              </a:ext>
            </a:extLst>
          </p:cNvPr>
          <p:cNvSpPr/>
          <p:nvPr userDrawn="1"/>
        </p:nvSpPr>
        <p:spPr>
          <a:xfrm>
            <a:off x="8932754" y="4442462"/>
            <a:ext cx="2493099" cy="668051"/>
          </a:xfrm>
          <a:prstGeom prst="rect">
            <a:avLst/>
          </a:prstGeom>
          <a:solidFill>
            <a:srgbClr val="0070AD"/>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3" name="Text Placeholder 3">
            <a:extLst>
              <a:ext uri="{FF2B5EF4-FFF2-40B4-BE49-F238E27FC236}">
                <a16:creationId xmlns:a16="http://schemas.microsoft.com/office/drawing/2014/main" id="{47CA184D-A059-49E1-A624-BB644698BF71}"/>
              </a:ext>
            </a:extLst>
          </p:cNvPr>
          <p:cNvSpPr>
            <a:spLocks noGrp="1"/>
          </p:cNvSpPr>
          <p:nvPr>
            <p:ph type="body" sz="quarter" idx="16"/>
          </p:nvPr>
        </p:nvSpPr>
        <p:spPr>
          <a:xfrm>
            <a:off x="8976079" y="2328770"/>
            <a:ext cx="2394327" cy="573455"/>
          </a:xfrm>
        </p:spPr>
        <p:txBody>
          <a:bodyPr>
            <a:normAutofit/>
          </a:bodyPr>
          <a:lstStyle>
            <a:lvl1pPr>
              <a:defRPr kumimoji="0" lang="en-US" sz="1600" b="1" i="0" u="none" strike="noStrike" kern="0" cap="none" spc="0" normalizeH="0" baseline="0" dirty="0" smtClean="0">
                <a:ln>
                  <a:noFill/>
                </a:ln>
                <a:solidFill>
                  <a:srgbClr val="0070AD"/>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4" name="Text Placeholder 3">
            <a:extLst>
              <a:ext uri="{FF2B5EF4-FFF2-40B4-BE49-F238E27FC236}">
                <a16:creationId xmlns:a16="http://schemas.microsoft.com/office/drawing/2014/main" id="{8BE97938-3628-4B52-9B77-3D3CA6DF1946}"/>
              </a:ext>
            </a:extLst>
          </p:cNvPr>
          <p:cNvSpPr>
            <a:spLocks noGrp="1"/>
          </p:cNvSpPr>
          <p:nvPr>
            <p:ph type="body" sz="quarter" idx="17"/>
          </p:nvPr>
        </p:nvSpPr>
        <p:spPr>
          <a:xfrm>
            <a:off x="8976079" y="3080610"/>
            <a:ext cx="2394327" cy="573455"/>
          </a:xfrm>
        </p:spPr>
        <p:txBody>
          <a:bodyPr>
            <a:normAutofit/>
          </a:bodyPr>
          <a:lstStyle>
            <a:lvl1pPr>
              <a:defRPr kumimoji="0" lang="en-US" sz="1600" b="1" i="0" u="none" strike="noStrike" kern="0" cap="none" spc="0" normalizeH="0" baseline="0" dirty="0" smtClean="0">
                <a:ln>
                  <a:noFill/>
                </a:ln>
                <a:solidFill>
                  <a:srgbClr val="0070AD"/>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5" name="Text Placeholder 3">
            <a:extLst>
              <a:ext uri="{FF2B5EF4-FFF2-40B4-BE49-F238E27FC236}">
                <a16:creationId xmlns:a16="http://schemas.microsoft.com/office/drawing/2014/main" id="{73C41618-E013-4000-B9AE-C892D1F4F6FB}"/>
              </a:ext>
            </a:extLst>
          </p:cNvPr>
          <p:cNvSpPr>
            <a:spLocks noGrp="1"/>
          </p:cNvSpPr>
          <p:nvPr>
            <p:ph type="body" sz="quarter" idx="18"/>
          </p:nvPr>
        </p:nvSpPr>
        <p:spPr>
          <a:xfrm>
            <a:off x="8976079"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6" name="Text Placeholder 3">
            <a:extLst>
              <a:ext uri="{FF2B5EF4-FFF2-40B4-BE49-F238E27FC236}">
                <a16:creationId xmlns:a16="http://schemas.microsoft.com/office/drawing/2014/main" id="{941D6A50-52B3-43E6-AD4F-C1BEB97692CD}"/>
              </a:ext>
            </a:extLst>
          </p:cNvPr>
          <p:cNvSpPr>
            <a:spLocks noGrp="1"/>
          </p:cNvSpPr>
          <p:nvPr>
            <p:ph type="body" sz="quarter" idx="19"/>
          </p:nvPr>
        </p:nvSpPr>
        <p:spPr>
          <a:xfrm>
            <a:off x="8976079"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grpSp>
        <p:nvGrpSpPr>
          <p:cNvPr id="116" name="Group 115">
            <a:extLst>
              <a:ext uri="{FF2B5EF4-FFF2-40B4-BE49-F238E27FC236}">
                <a16:creationId xmlns:a16="http://schemas.microsoft.com/office/drawing/2014/main" id="{6AA61689-CE8E-47E5-AAD8-527BEE3F552F}"/>
              </a:ext>
            </a:extLst>
          </p:cNvPr>
          <p:cNvGrpSpPr/>
          <p:nvPr userDrawn="1"/>
        </p:nvGrpSpPr>
        <p:grpSpPr>
          <a:xfrm>
            <a:off x="3521705" y="1609085"/>
            <a:ext cx="5148591" cy="5148072"/>
            <a:chOff x="3521705" y="1609085"/>
            <a:chExt cx="5148591" cy="5148072"/>
          </a:xfrm>
        </p:grpSpPr>
        <p:cxnSp>
          <p:nvCxnSpPr>
            <p:cNvPr id="119" name="Straight Connector 118">
              <a:extLst>
                <a:ext uri="{FF2B5EF4-FFF2-40B4-BE49-F238E27FC236}">
                  <a16:creationId xmlns:a16="http://schemas.microsoft.com/office/drawing/2014/main" id="{DCB9B5CB-A3D2-414D-AAA6-1428D39432A4}"/>
                </a:ext>
              </a:extLst>
            </p:cNvPr>
            <p:cNvCxnSpPr/>
            <p:nvPr/>
          </p:nvCxnSpPr>
          <p:spPr>
            <a:xfrm>
              <a:off x="7300158" y="3300028"/>
              <a:ext cx="1091520" cy="162119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B493D90-D0B9-45EF-94FD-31B024641744}"/>
                </a:ext>
              </a:extLst>
            </p:cNvPr>
            <p:cNvCxnSpPr/>
            <p:nvPr/>
          </p:nvCxnSpPr>
          <p:spPr>
            <a:xfrm flipH="1">
              <a:off x="3977340" y="3378664"/>
              <a:ext cx="1190107" cy="173705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8282889-F923-49F3-ACB0-5A1155034242}"/>
                </a:ext>
              </a:extLst>
            </p:cNvPr>
            <p:cNvCxnSpPr/>
            <p:nvPr/>
          </p:nvCxnSpPr>
          <p:spPr>
            <a:xfrm>
              <a:off x="6148968" y="3733150"/>
              <a:ext cx="244063" cy="18680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8B5F73C-2C62-411A-AF1D-56DF6B20B00D}"/>
                </a:ext>
              </a:extLst>
            </p:cNvPr>
            <p:cNvCxnSpPr/>
            <p:nvPr/>
          </p:nvCxnSpPr>
          <p:spPr>
            <a:xfrm>
              <a:off x="6797161" y="3617858"/>
              <a:ext cx="611253" cy="179255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9E14F6E-7AA1-4C9D-A9EE-0028EE0B62E0}"/>
                </a:ext>
              </a:extLst>
            </p:cNvPr>
            <p:cNvCxnSpPr/>
            <p:nvPr/>
          </p:nvCxnSpPr>
          <p:spPr>
            <a:xfrm flipH="1">
              <a:off x="5270664" y="3663814"/>
              <a:ext cx="200867" cy="190175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A138D0C2-B740-4F2D-9F57-3F83C288C836}"/>
                </a:ext>
              </a:extLst>
            </p:cNvPr>
            <p:cNvGrpSpPr/>
            <p:nvPr/>
          </p:nvGrpSpPr>
          <p:grpSpPr>
            <a:xfrm>
              <a:off x="3960863" y="1943770"/>
              <a:ext cx="4342729" cy="4342729"/>
              <a:chOff x="3714749" y="1415886"/>
              <a:chExt cx="4870613" cy="4870613"/>
            </a:xfrm>
          </p:grpSpPr>
          <p:sp>
            <p:nvSpPr>
              <p:cNvPr id="236" name="Block Arc 235">
                <a:extLst>
                  <a:ext uri="{FF2B5EF4-FFF2-40B4-BE49-F238E27FC236}">
                    <a16:creationId xmlns:a16="http://schemas.microsoft.com/office/drawing/2014/main" id="{6E8DA9AC-A973-413A-AF59-8CB6A085DA8C}"/>
                  </a:ext>
                </a:extLst>
              </p:cNvPr>
              <p:cNvSpPr/>
              <p:nvPr/>
            </p:nvSpPr>
            <p:spPr>
              <a:xfrm rot="1314213">
                <a:off x="3714749" y="1415886"/>
                <a:ext cx="4870613" cy="4870613"/>
              </a:xfrm>
              <a:prstGeom prst="blockArc">
                <a:avLst>
                  <a:gd name="adj1" fmla="val 6704137"/>
                  <a:gd name="adj2" fmla="val 164332"/>
                  <a:gd name="adj3" fmla="val 7939"/>
                </a:avLst>
              </a:prstGeom>
              <a:solidFill>
                <a:srgbClr val="88D5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237" name="Block Arc 236">
                <a:extLst>
                  <a:ext uri="{FF2B5EF4-FFF2-40B4-BE49-F238E27FC236}">
                    <a16:creationId xmlns:a16="http://schemas.microsoft.com/office/drawing/2014/main" id="{CFA412C2-4417-460B-95D4-C6F488576741}"/>
                  </a:ext>
                </a:extLst>
              </p:cNvPr>
              <p:cNvSpPr/>
              <p:nvPr/>
            </p:nvSpPr>
            <p:spPr>
              <a:xfrm rot="18853342" flipV="1">
                <a:off x="4080407" y="1788419"/>
                <a:ext cx="4116662" cy="4116662"/>
              </a:xfrm>
              <a:prstGeom prst="blockArc">
                <a:avLst>
                  <a:gd name="adj1" fmla="val 7189031"/>
                  <a:gd name="adj2" fmla="val 148839"/>
                  <a:gd name="adj3" fmla="val 6914"/>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238" name="Block Arc 237">
                <a:extLst>
                  <a:ext uri="{FF2B5EF4-FFF2-40B4-BE49-F238E27FC236}">
                    <a16:creationId xmlns:a16="http://schemas.microsoft.com/office/drawing/2014/main" id="{72E62D48-6322-4694-B99A-EDCE1EDCA264}"/>
                  </a:ext>
                </a:extLst>
              </p:cNvPr>
              <p:cNvSpPr/>
              <p:nvPr/>
            </p:nvSpPr>
            <p:spPr>
              <a:xfrm rot="2264297">
                <a:off x="4350251" y="2041589"/>
                <a:ext cx="3567735" cy="3567735"/>
              </a:xfrm>
              <a:prstGeom prst="blockArc">
                <a:avLst>
                  <a:gd name="adj1" fmla="val 7433288"/>
                  <a:gd name="adj2" fmla="val 21413901"/>
                  <a:gd name="adj3" fmla="val 12549"/>
                </a:avLst>
              </a:prstGeom>
              <a:solidFill>
                <a:srgbClr val="88D5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Ubuntu Bold" panose="020B0804030602030204" pitchFamily="34" charset="0"/>
                  <a:ea typeface="+mn-ea"/>
                  <a:cs typeface="+mn-cs"/>
                </a:endParaRPr>
              </a:p>
            </p:txBody>
          </p:sp>
          <p:sp>
            <p:nvSpPr>
              <p:cNvPr id="239" name="Oval 238">
                <a:extLst>
                  <a:ext uri="{FF2B5EF4-FFF2-40B4-BE49-F238E27FC236}">
                    <a16:creationId xmlns:a16="http://schemas.microsoft.com/office/drawing/2014/main" id="{762E094F-C7B7-4431-A833-C15D30297F8F}"/>
                  </a:ext>
                </a:extLst>
              </p:cNvPr>
              <p:cNvSpPr/>
              <p:nvPr/>
            </p:nvSpPr>
            <p:spPr>
              <a:xfrm>
                <a:off x="4993477" y="2694614"/>
                <a:ext cx="2313156" cy="2313156"/>
              </a:xfrm>
              <a:prstGeom prst="ellipse">
                <a:avLst/>
              </a:prstGeom>
              <a:solidFill>
                <a:srgbClr val="2B0A3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Ubuntu Bold" panose="020B0804030602030204" pitchFamily="34" charset="0"/>
                  <a:ea typeface="+mn-ea"/>
                  <a:cs typeface="+mn-cs"/>
                </a:endParaRPr>
              </a:p>
            </p:txBody>
          </p:sp>
        </p:grpSp>
        <p:sp>
          <p:nvSpPr>
            <p:cNvPr id="218" name="Rectangle 217">
              <a:extLst>
                <a:ext uri="{FF2B5EF4-FFF2-40B4-BE49-F238E27FC236}">
                  <a16:creationId xmlns:a16="http://schemas.microsoft.com/office/drawing/2014/main" id="{757A9A20-04A6-4E9B-A709-F956850591BE}"/>
                </a:ext>
              </a:extLst>
            </p:cNvPr>
            <p:cNvSpPr/>
            <p:nvPr/>
          </p:nvSpPr>
          <p:spPr>
            <a:xfrm rot="5400000">
              <a:off x="3521965" y="1608825"/>
              <a:ext cx="5148072" cy="5148591"/>
            </a:xfrm>
            <a:prstGeom prst="rect">
              <a:avLst/>
            </a:prstGeom>
            <a:noFill/>
          </p:spPr>
          <p:txBody>
            <a:bodyPr wrap="none" lIns="0" tIns="0" rIns="0" bIns="0" anchor="t" anchorCtr="0">
              <a:prstTxWarp prst="textCircle">
                <a:avLst>
                  <a:gd name="adj" fmla="val 3554696"/>
                </a:avLst>
              </a:prstTxWarp>
              <a:spAutoFit/>
            </a:bodyPr>
            <a:lstStyle/>
            <a:p>
              <a:pPr algn="ctr"/>
              <a:r>
                <a:rPr lang="en-GB" sz="2800" b="1" dirty="0">
                  <a:solidFill>
                    <a:schemeClr val="accent1"/>
                  </a:solidFill>
                  <a:latin typeface="+mj-lt"/>
                  <a:cs typeface="Ubuntu Bold"/>
                </a:rPr>
                <a:t>AI for Impact</a:t>
              </a:r>
            </a:p>
          </p:txBody>
        </p:sp>
        <p:grpSp>
          <p:nvGrpSpPr>
            <p:cNvPr id="227" name="Group 226">
              <a:extLst>
                <a:ext uri="{FF2B5EF4-FFF2-40B4-BE49-F238E27FC236}">
                  <a16:creationId xmlns:a16="http://schemas.microsoft.com/office/drawing/2014/main" id="{70AE948F-FBE1-4B11-84C8-61A6F130DAF4}"/>
                </a:ext>
              </a:extLst>
            </p:cNvPr>
            <p:cNvGrpSpPr/>
            <p:nvPr/>
          </p:nvGrpSpPr>
          <p:grpSpPr>
            <a:xfrm>
              <a:off x="5522168" y="3402077"/>
              <a:ext cx="1220119" cy="1426114"/>
              <a:chOff x="5608086" y="3198799"/>
              <a:chExt cx="1107038" cy="1293941"/>
            </a:xfrm>
          </p:grpSpPr>
          <p:sp>
            <p:nvSpPr>
              <p:cNvPr id="228" name="Freeform 5">
                <a:extLst>
                  <a:ext uri="{FF2B5EF4-FFF2-40B4-BE49-F238E27FC236}">
                    <a16:creationId xmlns:a16="http://schemas.microsoft.com/office/drawing/2014/main" id="{DAA71ED4-A004-45FF-A4A6-9D853EEC44EE}"/>
                  </a:ext>
                </a:extLst>
              </p:cNvPr>
              <p:cNvSpPr>
                <a:spLocks/>
              </p:cNvSpPr>
              <p:nvPr/>
            </p:nvSpPr>
            <p:spPr bwMode="auto">
              <a:xfrm flipH="1">
                <a:off x="5608086" y="3198799"/>
                <a:ext cx="1107038" cy="1293941"/>
              </a:xfrm>
              <a:custGeom>
                <a:avLst/>
                <a:gdLst>
                  <a:gd name="T0" fmla="*/ 1395 w 2510"/>
                  <a:gd name="T1" fmla="*/ 0 h 2984"/>
                  <a:gd name="T2" fmla="*/ 281 w 2510"/>
                  <a:gd name="T3" fmla="*/ 1099 h 2984"/>
                  <a:gd name="T4" fmla="*/ 0 w 2510"/>
                  <a:gd name="T5" fmla="*/ 1906 h 2984"/>
                  <a:gd name="T6" fmla="*/ 281 w 2510"/>
                  <a:gd name="T7" fmla="*/ 1906 h 2984"/>
                  <a:gd name="T8" fmla="*/ 281 w 2510"/>
                  <a:gd name="T9" fmla="*/ 2507 h 2984"/>
                  <a:gd name="T10" fmla="*/ 825 w 2510"/>
                  <a:gd name="T11" fmla="*/ 2507 h 2984"/>
                  <a:gd name="T12" fmla="*/ 825 w 2510"/>
                  <a:gd name="T13" fmla="*/ 2984 h 2984"/>
                  <a:gd name="T14" fmla="*/ 2105 w 2510"/>
                  <a:gd name="T15" fmla="*/ 2984 h 2984"/>
                  <a:gd name="T16" fmla="*/ 2105 w 2510"/>
                  <a:gd name="T17" fmla="*/ 1973 h 2984"/>
                  <a:gd name="T18" fmla="*/ 2390 w 2510"/>
                  <a:gd name="T19" fmla="*/ 1617 h 2984"/>
                  <a:gd name="T20" fmla="*/ 2510 w 2510"/>
                  <a:gd name="T21" fmla="*/ 1114 h 2984"/>
                  <a:gd name="T22" fmla="*/ 1395 w 2510"/>
                  <a:gd name="T23" fmla="*/ 0 h 2984"/>
                  <a:gd name="connsiteX0" fmla="*/ 5558 w 10000"/>
                  <a:gd name="connsiteY0" fmla="*/ 0 h 10000"/>
                  <a:gd name="connsiteX1" fmla="*/ 1120 w 10000"/>
                  <a:gd name="connsiteY1" fmla="*/ 3683 h 10000"/>
                  <a:gd name="connsiteX2" fmla="*/ 0 w 10000"/>
                  <a:gd name="connsiteY2" fmla="*/ 6387 h 10000"/>
                  <a:gd name="connsiteX3" fmla="*/ 1120 w 10000"/>
                  <a:gd name="connsiteY3" fmla="*/ 6387 h 10000"/>
                  <a:gd name="connsiteX4" fmla="*/ 1120 w 10000"/>
                  <a:gd name="connsiteY4" fmla="*/ 8401 h 10000"/>
                  <a:gd name="connsiteX5" fmla="*/ 3287 w 10000"/>
                  <a:gd name="connsiteY5" fmla="*/ 8401 h 10000"/>
                  <a:gd name="connsiteX6" fmla="*/ 3287 w 10000"/>
                  <a:gd name="connsiteY6" fmla="*/ 10000 h 10000"/>
                  <a:gd name="connsiteX7" fmla="*/ 8386 w 10000"/>
                  <a:gd name="connsiteY7" fmla="*/ 10000 h 10000"/>
                  <a:gd name="connsiteX8" fmla="*/ 8386 w 10000"/>
                  <a:gd name="connsiteY8" fmla="*/ 6612 h 10000"/>
                  <a:gd name="connsiteX9" fmla="*/ 9522 w 10000"/>
                  <a:gd name="connsiteY9" fmla="*/ 5419 h 10000"/>
                  <a:gd name="connsiteX10" fmla="*/ 10000 w 10000"/>
                  <a:gd name="connsiteY10" fmla="*/ 3733 h 10000"/>
                  <a:gd name="connsiteX11" fmla="*/ 5558 w 10000"/>
                  <a:gd name="connsiteY11" fmla="*/ 0 h 10000"/>
                  <a:gd name="connsiteX0" fmla="*/ 5558 w 10000"/>
                  <a:gd name="connsiteY0" fmla="*/ 0 h 10000"/>
                  <a:gd name="connsiteX1" fmla="*/ 1120 w 10000"/>
                  <a:gd name="connsiteY1" fmla="*/ 3683 h 10000"/>
                  <a:gd name="connsiteX2" fmla="*/ 0 w 10000"/>
                  <a:gd name="connsiteY2" fmla="*/ 6387 h 10000"/>
                  <a:gd name="connsiteX3" fmla="*/ 1120 w 10000"/>
                  <a:gd name="connsiteY3" fmla="*/ 6387 h 10000"/>
                  <a:gd name="connsiteX4" fmla="*/ 1120 w 10000"/>
                  <a:gd name="connsiteY4" fmla="*/ 8401 h 10000"/>
                  <a:gd name="connsiteX5" fmla="*/ 3287 w 10000"/>
                  <a:gd name="connsiteY5" fmla="*/ 8401 h 10000"/>
                  <a:gd name="connsiteX6" fmla="*/ 3287 w 10000"/>
                  <a:gd name="connsiteY6" fmla="*/ 10000 h 10000"/>
                  <a:gd name="connsiteX7" fmla="*/ 8386 w 10000"/>
                  <a:gd name="connsiteY7" fmla="*/ 10000 h 10000"/>
                  <a:gd name="connsiteX8" fmla="*/ 8386 w 10000"/>
                  <a:gd name="connsiteY8" fmla="*/ 6612 h 10000"/>
                  <a:gd name="connsiteX9" fmla="*/ 9522 w 10000"/>
                  <a:gd name="connsiteY9" fmla="*/ 5419 h 10000"/>
                  <a:gd name="connsiteX10" fmla="*/ 10000 w 10000"/>
                  <a:gd name="connsiteY10" fmla="*/ 3733 h 10000"/>
                  <a:gd name="connsiteX11" fmla="*/ 5558 w 10000"/>
                  <a:gd name="connsiteY11" fmla="*/ 0 h 10000"/>
                  <a:gd name="connsiteX0" fmla="*/ 5558 w 10000"/>
                  <a:gd name="connsiteY0" fmla="*/ 0 h 10000"/>
                  <a:gd name="connsiteX1" fmla="*/ 1120 w 10000"/>
                  <a:gd name="connsiteY1" fmla="*/ 3683 h 10000"/>
                  <a:gd name="connsiteX2" fmla="*/ 0 w 10000"/>
                  <a:gd name="connsiteY2" fmla="*/ 6387 h 10000"/>
                  <a:gd name="connsiteX3" fmla="*/ 1120 w 10000"/>
                  <a:gd name="connsiteY3" fmla="*/ 6387 h 10000"/>
                  <a:gd name="connsiteX4" fmla="*/ 1120 w 10000"/>
                  <a:gd name="connsiteY4" fmla="*/ 8401 h 10000"/>
                  <a:gd name="connsiteX5" fmla="*/ 3287 w 10000"/>
                  <a:gd name="connsiteY5" fmla="*/ 8401 h 10000"/>
                  <a:gd name="connsiteX6" fmla="*/ 3287 w 10000"/>
                  <a:gd name="connsiteY6" fmla="*/ 10000 h 10000"/>
                  <a:gd name="connsiteX7" fmla="*/ 8386 w 10000"/>
                  <a:gd name="connsiteY7" fmla="*/ 10000 h 10000"/>
                  <a:gd name="connsiteX8" fmla="*/ 8386 w 10000"/>
                  <a:gd name="connsiteY8" fmla="*/ 6612 h 10000"/>
                  <a:gd name="connsiteX9" fmla="*/ 9522 w 10000"/>
                  <a:gd name="connsiteY9" fmla="*/ 5419 h 10000"/>
                  <a:gd name="connsiteX10" fmla="*/ 10000 w 10000"/>
                  <a:gd name="connsiteY10" fmla="*/ 3733 h 10000"/>
                  <a:gd name="connsiteX11" fmla="*/ 5558 w 10000"/>
                  <a:gd name="connsiteY11" fmla="*/ 0 h 10000"/>
                  <a:gd name="connsiteX0" fmla="*/ 5558 w 10000"/>
                  <a:gd name="connsiteY0" fmla="*/ 0 h 10092"/>
                  <a:gd name="connsiteX1" fmla="*/ 1120 w 10000"/>
                  <a:gd name="connsiteY1" fmla="*/ 3683 h 10092"/>
                  <a:gd name="connsiteX2" fmla="*/ 0 w 10000"/>
                  <a:gd name="connsiteY2" fmla="*/ 6387 h 10092"/>
                  <a:gd name="connsiteX3" fmla="*/ 1120 w 10000"/>
                  <a:gd name="connsiteY3" fmla="*/ 6387 h 10092"/>
                  <a:gd name="connsiteX4" fmla="*/ 1120 w 10000"/>
                  <a:gd name="connsiteY4" fmla="*/ 8401 h 10092"/>
                  <a:gd name="connsiteX5" fmla="*/ 3287 w 10000"/>
                  <a:gd name="connsiteY5" fmla="*/ 8401 h 10092"/>
                  <a:gd name="connsiteX6" fmla="*/ 3287 w 10000"/>
                  <a:gd name="connsiteY6" fmla="*/ 10000 h 10092"/>
                  <a:gd name="connsiteX7" fmla="*/ 8386 w 10000"/>
                  <a:gd name="connsiteY7" fmla="*/ 10000 h 10092"/>
                  <a:gd name="connsiteX8" fmla="*/ 8386 w 10000"/>
                  <a:gd name="connsiteY8" fmla="*/ 6612 h 10092"/>
                  <a:gd name="connsiteX9" fmla="*/ 9522 w 10000"/>
                  <a:gd name="connsiteY9" fmla="*/ 5419 h 10092"/>
                  <a:gd name="connsiteX10" fmla="*/ 10000 w 10000"/>
                  <a:gd name="connsiteY10" fmla="*/ 3733 h 10092"/>
                  <a:gd name="connsiteX11" fmla="*/ 5558 w 10000"/>
                  <a:gd name="connsiteY11" fmla="*/ 0 h 1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92">
                    <a:moveTo>
                      <a:pt x="5558" y="0"/>
                    </a:moveTo>
                    <a:cubicBezTo>
                      <a:pt x="3131" y="0"/>
                      <a:pt x="1151" y="1645"/>
                      <a:pt x="1120" y="3683"/>
                    </a:cubicBezTo>
                    <a:lnTo>
                      <a:pt x="0" y="6387"/>
                    </a:lnTo>
                    <a:lnTo>
                      <a:pt x="1120" y="6387"/>
                    </a:lnTo>
                    <a:lnTo>
                      <a:pt x="1120" y="8401"/>
                    </a:lnTo>
                    <a:lnTo>
                      <a:pt x="3287" y="8401"/>
                    </a:lnTo>
                    <a:lnTo>
                      <a:pt x="3287" y="10000"/>
                    </a:lnTo>
                    <a:cubicBezTo>
                      <a:pt x="5244" y="9481"/>
                      <a:pt x="6600" y="10370"/>
                      <a:pt x="8386" y="10000"/>
                    </a:cubicBezTo>
                    <a:lnTo>
                      <a:pt x="8386" y="6612"/>
                    </a:lnTo>
                    <a:cubicBezTo>
                      <a:pt x="8857" y="6287"/>
                      <a:pt x="9247" y="5875"/>
                      <a:pt x="9522" y="5419"/>
                    </a:cubicBezTo>
                    <a:cubicBezTo>
                      <a:pt x="9837" y="4893"/>
                      <a:pt x="10000" y="4326"/>
                      <a:pt x="10000" y="3733"/>
                    </a:cubicBezTo>
                    <a:cubicBezTo>
                      <a:pt x="10000" y="1676"/>
                      <a:pt x="8008" y="0"/>
                      <a:pt x="5558" y="0"/>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29" name="Group 228">
                <a:extLst>
                  <a:ext uri="{FF2B5EF4-FFF2-40B4-BE49-F238E27FC236}">
                    <a16:creationId xmlns:a16="http://schemas.microsoft.com/office/drawing/2014/main" id="{D28F683B-0214-442A-9C9A-46274F48773B}"/>
                  </a:ext>
                </a:extLst>
              </p:cNvPr>
              <p:cNvGrpSpPr/>
              <p:nvPr/>
            </p:nvGrpSpPr>
            <p:grpSpPr>
              <a:xfrm>
                <a:off x="5752050" y="3289735"/>
                <a:ext cx="603030" cy="656873"/>
                <a:chOff x="1371600" y="5156200"/>
                <a:chExt cx="1230218" cy="1340061"/>
              </a:xfrm>
            </p:grpSpPr>
            <p:grpSp>
              <p:nvGrpSpPr>
                <p:cNvPr id="230" name="Group 229">
                  <a:extLst>
                    <a:ext uri="{FF2B5EF4-FFF2-40B4-BE49-F238E27FC236}">
                      <a16:creationId xmlns:a16="http://schemas.microsoft.com/office/drawing/2014/main" id="{E0B0968C-920B-48FE-84A4-0D4FCAD4B521}"/>
                    </a:ext>
                  </a:extLst>
                </p:cNvPr>
                <p:cNvGrpSpPr/>
                <p:nvPr/>
              </p:nvGrpSpPr>
              <p:grpSpPr>
                <a:xfrm>
                  <a:off x="1411398" y="5410411"/>
                  <a:ext cx="1190420" cy="1085850"/>
                  <a:chOff x="2564018" y="1041400"/>
                  <a:chExt cx="1190420" cy="1085850"/>
                </a:xfrm>
              </p:grpSpPr>
              <p:sp>
                <p:nvSpPr>
                  <p:cNvPr id="232" name="Freeform 9">
                    <a:extLst>
                      <a:ext uri="{FF2B5EF4-FFF2-40B4-BE49-F238E27FC236}">
                        <a16:creationId xmlns:a16="http://schemas.microsoft.com/office/drawing/2014/main" id="{E4B9D2BE-E91C-4AD3-9D18-CFB35316A3F7}"/>
                      </a:ext>
                    </a:extLst>
                  </p:cNvPr>
                  <p:cNvSpPr>
                    <a:spLocks/>
                  </p:cNvSpPr>
                  <p:nvPr/>
                </p:nvSpPr>
                <p:spPr bwMode="auto">
                  <a:xfrm>
                    <a:off x="2564018" y="1584325"/>
                    <a:ext cx="185738" cy="542925"/>
                  </a:xfrm>
                  <a:prstGeom prst="round1Rect">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
                    <a:extLst>
                      <a:ext uri="{FF2B5EF4-FFF2-40B4-BE49-F238E27FC236}">
                        <a16:creationId xmlns:a16="http://schemas.microsoft.com/office/drawing/2014/main" id="{8CDD7E6E-A194-4765-AE41-78B6C5C0365B}"/>
                      </a:ext>
                    </a:extLst>
                  </p:cNvPr>
                  <p:cNvSpPr>
                    <a:spLocks/>
                  </p:cNvSpPr>
                  <p:nvPr/>
                </p:nvSpPr>
                <p:spPr bwMode="auto">
                  <a:xfrm>
                    <a:off x="2898383" y="1403350"/>
                    <a:ext cx="187325" cy="723900"/>
                  </a:xfrm>
                  <a:prstGeom prst="round1Rect">
                    <a:avLst/>
                  </a:pr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1">
                    <a:extLst>
                      <a:ext uri="{FF2B5EF4-FFF2-40B4-BE49-F238E27FC236}">
                        <a16:creationId xmlns:a16="http://schemas.microsoft.com/office/drawing/2014/main" id="{D0E58310-2F6D-49E5-A889-F01FCF2BB461}"/>
                      </a:ext>
                    </a:extLst>
                  </p:cNvPr>
                  <p:cNvSpPr>
                    <a:spLocks/>
                  </p:cNvSpPr>
                  <p:nvPr/>
                </p:nvSpPr>
                <p:spPr bwMode="auto">
                  <a:xfrm>
                    <a:off x="3234335" y="1222375"/>
                    <a:ext cx="185738" cy="904875"/>
                  </a:xfrm>
                  <a:prstGeom prst="round1Rect">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2">
                    <a:extLst>
                      <a:ext uri="{FF2B5EF4-FFF2-40B4-BE49-F238E27FC236}">
                        <a16:creationId xmlns:a16="http://schemas.microsoft.com/office/drawing/2014/main" id="{5ECB3E22-2716-452E-8B89-1FE8BF2F324C}"/>
                      </a:ext>
                    </a:extLst>
                  </p:cNvPr>
                  <p:cNvSpPr>
                    <a:spLocks/>
                  </p:cNvSpPr>
                  <p:nvPr/>
                </p:nvSpPr>
                <p:spPr bwMode="auto">
                  <a:xfrm>
                    <a:off x="3568700" y="1041400"/>
                    <a:ext cx="185738" cy="1085850"/>
                  </a:xfrm>
                  <a:prstGeom prst="round1Rect">
                    <a:avLst/>
                  </a:pr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 name="Freeform: Shape 230">
                  <a:extLst>
                    <a:ext uri="{FF2B5EF4-FFF2-40B4-BE49-F238E27FC236}">
                      <a16:creationId xmlns:a16="http://schemas.microsoft.com/office/drawing/2014/main" id="{E67FA6CB-23DB-4A49-8A15-F30D1774EC70}"/>
                    </a:ext>
                  </a:extLst>
                </p:cNvPr>
                <p:cNvSpPr/>
                <p:nvPr/>
              </p:nvSpPr>
              <p:spPr>
                <a:xfrm>
                  <a:off x="1371600" y="5156200"/>
                  <a:ext cx="1097280" cy="518160"/>
                </a:xfrm>
                <a:custGeom>
                  <a:avLst/>
                  <a:gdLst>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 name="connsiteX0" fmla="*/ 0 w 1097280"/>
                    <a:gd name="connsiteY0" fmla="*/ 518160 h 518160"/>
                    <a:gd name="connsiteX1" fmla="*/ 1097280 w 1097280"/>
                    <a:gd name="connsiteY1" fmla="*/ 0 h 518160"/>
                  </a:gdLst>
                  <a:ahLst/>
                  <a:cxnLst>
                    <a:cxn ang="0">
                      <a:pos x="connsiteX0" y="connsiteY0"/>
                    </a:cxn>
                    <a:cxn ang="0">
                      <a:pos x="connsiteX1" y="connsiteY1"/>
                    </a:cxn>
                  </a:cxnLst>
                  <a:rect l="l" t="t" r="r" b="b"/>
                  <a:pathLst>
                    <a:path w="1097280" h="518160">
                      <a:moveTo>
                        <a:pt x="0" y="518160"/>
                      </a:moveTo>
                      <a:cubicBezTo>
                        <a:pt x="538480" y="462280"/>
                        <a:pt x="873760" y="279400"/>
                        <a:pt x="1097280" y="0"/>
                      </a:cubicBezTo>
                    </a:path>
                  </a:pathLst>
                </a:custGeom>
                <a:noFill/>
                <a:ln w="19050">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32981317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4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53" name="Rectangle 18">
            <a:extLst>
              <a:ext uri="{FF2B5EF4-FFF2-40B4-BE49-F238E27FC236}">
                <a16:creationId xmlns:a16="http://schemas.microsoft.com/office/drawing/2014/main" id="{227D52D4-2688-4A4D-9277-0AA150DFD938}"/>
              </a:ext>
            </a:extLst>
          </p:cNvPr>
          <p:cNvSpPr/>
          <p:nvPr userDrawn="1"/>
        </p:nvSpPr>
        <p:spPr>
          <a:xfrm>
            <a:off x="641866" y="3032018"/>
            <a:ext cx="2493099" cy="743853"/>
          </a:xfrm>
          <a:prstGeom prst="rect">
            <a:avLst/>
          </a:prstGeom>
          <a:solidFill>
            <a:srgbClr val="4701A7">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9E3DE42F-62EB-4C1E-91F3-C2E0DF930D19}"/>
              </a:ext>
            </a:extLst>
          </p:cNvPr>
          <p:cNvSpPr/>
          <p:nvPr userDrawn="1"/>
        </p:nvSpPr>
        <p:spPr>
          <a:xfrm>
            <a:off x="641866" y="3774411"/>
            <a:ext cx="2493099" cy="668051"/>
          </a:xfrm>
          <a:prstGeom prst="rect">
            <a:avLst/>
          </a:prstGeom>
          <a:solidFill>
            <a:srgbClr val="4701A7">
              <a:alpha val="69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1C7C294D-A75C-42EA-A120-EC2EC5AC4A1C}"/>
              </a:ext>
            </a:extLst>
          </p:cNvPr>
          <p:cNvSpPr/>
          <p:nvPr userDrawn="1"/>
        </p:nvSpPr>
        <p:spPr>
          <a:xfrm>
            <a:off x="641866" y="2274178"/>
            <a:ext cx="2493099" cy="768749"/>
          </a:xfrm>
          <a:prstGeom prst="rect">
            <a:avLst/>
          </a:prstGeom>
          <a:solidFill>
            <a:srgbClr val="4701A7">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D991D24A-F216-46A0-A2CE-0F89D7D18464}"/>
              </a:ext>
            </a:extLst>
          </p:cNvPr>
          <p:cNvSpPr/>
          <p:nvPr userDrawn="1"/>
        </p:nvSpPr>
        <p:spPr>
          <a:xfrm>
            <a:off x="641866" y="4442462"/>
            <a:ext cx="2493099" cy="668051"/>
          </a:xfrm>
          <a:prstGeom prst="rect">
            <a:avLst/>
          </a:prstGeom>
          <a:solidFill>
            <a:srgbClr val="4701A7"/>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942FACA2-8FCD-4118-B243-2C469E41FFAA}"/>
              </a:ext>
            </a:extLst>
          </p:cNvPr>
          <p:cNvSpPr>
            <a:spLocks noGrp="1"/>
          </p:cNvSpPr>
          <p:nvPr>
            <p:ph type="body" sz="quarter" idx="10"/>
          </p:nvPr>
        </p:nvSpPr>
        <p:spPr>
          <a:xfrm>
            <a:off x="685191" y="2328770"/>
            <a:ext cx="2394327" cy="573455"/>
          </a:xfrm>
        </p:spPr>
        <p:txBody>
          <a:bodyPr>
            <a:normAutofit/>
          </a:bodyPr>
          <a:lstStyle>
            <a:lvl1pPr>
              <a:defRPr kumimoji="0" lang="en-US" sz="1600" b="1" i="0" u="none" strike="noStrike" kern="0" cap="none" spc="0" normalizeH="0" baseline="0" dirty="0" smtClean="0">
                <a:ln>
                  <a:noFill/>
                </a:ln>
                <a:solidFill>
                  <a:srgbClr val="4701A7"/>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5" name="Text Placeholder 3">
            <a:extLst>
              <a:ext uri="{FF2B5EF4-FFF2-40B4-BE49-F238E27FC236}">
                <a16:creationId xmlns:a16="http://schemas.microsoft.com/office/drawing/2014/main" id="{91AA38E4-FE47-4A9A-B8F2-943FEEB4BD06}"/>
              </a:ext>
            </a:extLst>
          </p:cNvPr>
          <p:cNvSpPr>
            <a:spLocks noGrp="1"/>
          </p:cNvSpPr>
          <p:nvPr>
            <p:ph type="body" sz="quarter" idx="12"/>
          </p:nvPr>
        </p:nvSpPr>
        <p:spPr>
          <a:xfrm>
            <a:off x="685191" y="3080610"/>
            <a:ext cx="2394327" cy="573455"/>
          </a:xfrm>
        </p:spPr>
        <p:txBody>
          <a:bodyPr>
            <a:normAutofit/>
          </a:bodyPr>
          <a:lstStyle>
            <a:lvl1pPr>
              <a:defRPr kumimoji="0" lang="en-US" sz="1600" b="1" i="0" u="none" strike="noStrike" kern="0" cap="none" spc="0" normalizeH="0" baseline="0" dirty="0" smtClean="0">
                <a:ln>
                  <a:noFill/>
                </a:ln>
                <a:solidFill>
                  <a:srgbClr val="4701A7"/>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7" name="Text Placeholder 3">
            <a:extLst>
              <a:ext uri="{FF2B5EF4-FFF2-40B4-BE49-F238E27FC236}">
                <a16:creationId xmlns:a16="http://schemas.microsoft.com/office/drawing/2014/main" id="{97AC09C2-0BB4-45CA-9397-7B1B0E1D2A85}"/>
              </a:ext>
            </a:extLst>
          </p:cNvPr>
          <p:cNvSpPr>
            <a:spLocks noGrp="1"/>
          </p:cNvSpPr>
          <p:nvPr>
            <p:ph type="body" sz="quarter" idx="14"/>
          </p:nvPr>
        </p:nvSpPr>
        <p:spPr>
          <a:xfrm>
            <a:off x="685191"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8" name="Text Placeholder 3">
            <a:extLst>
              <a:ext uri="{FF2B5EF4-FFF2-40B4-BE49-F238E27FC236}">
                <a16:creationId xmlns:a16="http://schemas.microsoft.com/office/drawing/2014/main" id="{D3896FE5-52E3-4090-9821-E4BD8EE55BD3}"/>
              </a:ext>
            </a:extLst>
          </p:cNvPr>
          <p:cNvSpPr>
            <a:spLocks noGrp="1"/>
          </p:cNvSpPr>
          <p:nvPr>
            <p:ph type="body" sz="quarter" idx="15"/>
          </p:nvPr>
        </p:nvSpPr>
        <p:spPr>
          <a:xfrm>
            <a:off x="685191"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19" name="Rectangle 18">
            <a:extLst>
              <a:ext uri="{FF2B5EF4-FFF2-40B4-BE49-F238E27FC236}">
                <a16:creationId xmlns:a16="http://schemas.microsoft.com/office/drawing/2014/main" id="{01B2F182-ECAF-4548-8954-B77EECE4A186}"/>
              </a:ext>
            </a:extLst>
          </p:cNvPr>
          <p:cNvSpPr/>
          <p:nvPr userDrawn="1"/>
        </p:nvSpPr>
        <p:spPr>
          <a:xfrm>
            <a:off x="8932754" y="3032018"/>
            <a:ext cx="2493099" cy="743853"/>
          </a:xfrm>
          <a:prstGeom prst="rect">
            <a:avLst/>
          </a:prstGeom>
          <a:solidFill>
            <a:srgbClr val="4701A7">
              <a:alpha val="28000"/>
            </a:srgb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0" name="Rectangle 219">
            <a:extLst>
              <a:ext uri="{FF2B5EF4-FFF2-40B4-BE49-F238E27FC236}">
                <a16:creationId xmlns:a16="http://schemas.microsoft.com/office/drawing/2014/main" id="{24D7AD30-552F-4439-A956-2C314D85C7E7}"/>
              </a:ext>
            </a:extLst>
          </p:cNvPr>
          <p:cNvSpPr/>
          <p:nvPr userDrawn="1"/>
        </p:nvSpPr>
        <p:spPr>
          <a:xfrm>
            <a:off x="8932754" y="3774411"/>
            <a:ext cx="2493099" cy="668051"/>
          </a:xfrm>
          <a:prstGeom prst="rect">
            <a:avLst/>
          </a:prstGeom>
          <a:solidFill>
            <a:srgbClr val="4701A7">
              <a:alpha val="69000"/>
            </a:srgb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1" name="Rectangle 220">
            <a:extLst>
              <a:ext uri="{FF2B5EF4-FFF2-40B4-BE49-F238E27FC236}">
                <a16:creationId xmlns:a16="http://schemas.microsoft.com/office/drawing/2014/main" id="{E08EA81E-1106-4283-9B77-309C2BE1A0AF}"/>
              </a:ext>
            </a:extLst>
          </p:cNvPr>
          <p:cNvSpPr/>
          <p:nvPr userDrawn="1"/>
        </p:nvSpPr>
        <p:spPr>
          <a:xfrm>
            <a:off x="8932754" y="2274178"/>
            <a:ext cx="2493099" cy="768749"/>
          </a:xfrm>
          <a:prstGeom prst="rect">
            <a:avLst/>
          </a:prstGeom>
          <a:solidFill>
            <a:srgbClr val="4701A7">
              <a:alpha val="3000"/>
            </a:srgb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2" name="Rectangle 221">
            <a:extLst>
              <a:ext uri="{FF2B5EF4-FFF2-40B4-BE49-F238E27FC236}">
                <a16:creationId xmlns:a16="http://schemas.microsoft.com/office/drawing/2014/main" id="{3802C3C0-FA35-476D-8630-81C514884A73}"/>
              </a:ext>
            </a:extLst>
          </p:cNvPr>
          <p:cNvSpPr/>
          <p:nvPr userDrawn="1"/>
        </p:nvSpPr>
        <p:spPr>
          <a:xfrm>
            <a:off x="8932754" y="4442462"/>
            <a:ext cx="2493099" cy="668051"/>
          </a:xfrm>
          <a:prstGeom prst="rect">
            <a:avLst/>
          </a:prstGeom>
          <a:solidFill>
            <a:srgbClr val="4701A7"/>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3" name="Text Placeholder 3">
            <a:extLst>
              <a:ext uri="{FF2B5EF4-FFF2-40B4-BE49-F238E27FC236}">
                <a16:creationId xmlns:a16="http://schemas.microsoft.com/office/drawing/2014/main" id="{47CA184D-A059-49E1-A624-BB644698BF71}"/>
              </a:ext>
            </a:extLst>
          </p:cNvPr>
          <p:cNvSpPr>
            <a:spLocks noGrp="1"/>
          </p:cNvSpPr>
          <p:nvPr>
            <p:ph type="body" sz="quarter" idx="16"/>
          </p:nvPr>
        </p:nvSpPr>
        <p:spPr>
          <a:xfrm>
            <a:off x="8976079" y="2328770"/>
            <a:ext cx="2394327" cy="573455"/>
          </a:xfrm>
        </p:spPr>
        <p:txBody>
          <a:bodyPr>
            <a:normAutofit/>
          </a:bodyPr>
          <a:lstStyle>
            <a:lvl1pPr>
              <a:defRPr kumimoji="0" lang="en-US" sz="1600" b="1" i="0" u="none" strike="noStrike" kern="0" cap="none" spc="0" normalizeH="0" baseline="0" dirty="0" smtClean="0">
                <a:ln>
                  <a:noFill/>
                </a:ln>
                <a:solidFill>
                  <a:srgbClr val="4701A7"/>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4" name="Text Placeholder 3">
            <a:extLst>
              <a:ext uri="{FF2B5EF4-FFF2-40B4-BE49-F238E27FC236}">
                <a16:creationId xmlns:a16="http://schemas.microsoft.com/office/drawing/2014/main" id="{8BE97938-3628-4B52-9B77-3D3CA6DF1946}"/>
              </a:ext>
            </a:extLst>
          </p:cNvPr>
          <p:cNvSpPr>
            <a:spLocks noGrp="1"/>
          </p:cNvSpPr>
          <p:nvPr>
            <p:ph type="body" sz="quarter" idx="17"/>
          </p:nvPr>
        </p:nvSpPr>
        <p:spPr>
          <a:xfrm>
            <a:off x="8976079" y="3080610"/>
            <a:ext cx="2394327" cy="573455"/>
          </a:xfrm>
        </p:spPr>
        <p:txBody>
          <a:bodyPr>
            <a:normAutofit/>
          </a:bodyPr>
          <a:lstStyle>
            <a:lvl1pPr>
              <a:defRPr kumimoji="0" lang="en-US" sz="1600" b="1" i="0" u="none" strike="noStrike" kern="0" cap="none" spc="0" normalizeH="0" baseline="0" dirty="0" smtClean="0">
                <a:ln>
                  <a:noFill/>
                </a:ln>
                <a:solidFill>
                  <a:srgbClr val="4701A7"/>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5" name="Text Placeholder 3">
            <a:extLst>
              <a:ext uri="{FF2B5EF4-FFF2-40B4-BE49-F238E27FC236}">
                <a16:creationId xmlns:a16="http://schemas.microsoft.com/office/drawing/2014/main" id="{73C41618-E013-4000-B9AE-C892D1F4F6FB}"/>
              </a:ext>
            </a:extLst>
          </p:cNvPr>
          <p:cNvSpPr>
            <a:spLocks noGrp="1"/>
          </p:cNvSpPr>
          <p:nvPr>
            <p:ph type="body" sz="quarter" idx="18"/>
          </p:nvPr>
        </p:nvSpPr>
        <p:spPr>
          <a:xfrm>
            <a:off x="8976079"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6" name="Text Placeholder 3">
            <a:extLst>
              <a:ext uri="{FF2B5EF4-FFF2-40B4-BE49-F238E27FC236}">
                <a16:creationId xmlns:a16="http://schemas.microsoft.com/office/drawing/2014/main" id="{941D6A50-52B3-43E6-AD4F-C1BEB97692CD}"/>
              </a:ext>
            </a:extLst>
          </p:cNvPr>
          <p:cNvSpPr>
            <a:spLocks noGrp="1"/>
          </p:cNvSpPr>
          <p:nvPr>
            <p:ph type="body" sz="quarter" idx="19"/>
          </p:nvPr>
        </p:nvSpPr>
        <p:spPr>
          <a:xfrm>
            <a:off x="8976079"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grpSp>
        <p:nvGrpSpPr>
          <p:cNvPr id="44" name="Group 43">
            <a:extLst>
              <a:ext uri="{FF2B5EF4-FFF2-40B4-BE49-F238E27FC236}">
                <a16:creationId xmlns:a16="http://schemas.microsoft.com/office/drawing/2014/main" id="{951870BC-6A5D-4DA2-967E-6E88AD567FCF}"/>
              </a:ext>
            </a:extLst>
          </p:cNvPr>
          <p:cNvGrpSpPr/>
          <p:nvPr userDrawn="1"/>
        </p:nvGrpSpPr>
        <p:grpSpPr>
          <a:xfrm>
            <a:off x="3521705" y="1609344"/>
            <a:ext cx="5148591" cy="5148072"/>
            <a:chOff x="3521705" y="1745067"/>
            <a:chExt cx="5148591" cy="5148072"/>
          </a:xfrm>
        </p:grpSpPr>
        <p:grpSp>
          <p:nvGrpSpPr>
            <p:cNvPr id="45" name="Group 44">
              <a:extLst>
                <a:ext uri="{FF2B5EF4-FFF2-40B4-BE49-F238E27FC236}">
                  <a16:creationId xmlns:a16="http://schemas.microsoft.com/office/drawing/2014/main" id="{3EE3FCE0-2366-44EF-92DA-D4B205C5FAAA}"/>
                </a:ext>
              </a:extLst>
            </p:cNvPr>
            <p:cNvGrpSpPr/>
            <p:nvPr/>
          </p:nvGrpSpPr>
          <p:grpSpPr>
            <a:xfrm>
              <a:off x="3960863" y="2079752"/>
              <a:ext cx="4342729" cy="4342729"/>
              <a:chOff x="3714749" y="1415886"/>
              <a:chExt cx="4870613" cy="4870613"/>
            </a:xfrm>
          </p:grpSpPr>
          <p:sp>
            <p:nvSpPr>
              <p:cNvPr id="60" name="Block Arc 59">
                <a:extLst>
                  <a:ext uri="{FF2B5EF4-FFF2-40B4-BE49-F238E27FC236}">
                    <a16:creationId xmlns:a16="http://schemas.microsoft.com/office/drawing/2014/main" id="{40900E13-49C8-447E-9C30-3594E1E484CF}"/>
                  </a:ext>
                </a:extLst>
              </p:cNvPr>
              <p:cNvSpPr/>
              <p:nvPr/>
            </p:nvSpPr>
            <p:spPr>
              <a:xfrm rot="1314213">
                <a:off x="3714749" y="1415886"/>
                <a:ext cx="4870613" cy="4870613"/>
              </a:xfrm>
              <a:prstGeom prst="blockArc">
                <a:avLst>
                  <a:gd name="adj1" fmla="val 6704137"/>
                  <a:gd name="adj2" fmla="val 164332"/>
                  <a:gd name="adj3" fmla="val 7939"/>
                </a:avLst>
              </a:prstGeom>
              <a:solidFill>
                <a:srgbClr val="D4A1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61" name="Block Arc 60">
                <a:extLst>
                  <a:ext uri="{FF2B5EF4-FFF2-40B4-BE49-F238E27FC236}">
                    <a16:creationId xmlns:a16="http://schemas.microsoft.com/office/drawing/2014/main" id="{0EC318B5-4620-43E0-91C3-FF69E3331C77}"/>
                  </a:ext>
                </a:extLst>
              </p:cNvPr>
              <p:cNvSpPr/>
              <p:nvPr/>
            </p:nvSpPr>
            <p:spPr>
              <a:xfrm rot="18853342" flipV="1">
                <a:off x="4080407" y="1788419"/>
                <a:ext cx="4116662" cy="4116662"/>
              </a:xfrm>
              <a:prstGeom prst="blockArc">
                <a:avLst>
                  <a:gd name="adj1" fmla="val 7189031"/>
                  <a:gd name="adj2" fmla="val 148839"/>
                  <a:gd name="adj3" fmla="val 6914"/>
                </a:avLst>
              </a:prstGeom>
              <a:solidFill>
                <a:srgbClr val="A842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62" name="Block Arc 61">
                <a:extLst>
                  <a:ext uri="{FF2B5EF4-FFF2-40B4-BE49-F238E27FC236}">
                    <a16:creationId xmlns:a16="http://schemas.microsoft.com/office/drawing/2014/main" id="{8089EAA7-D2B5-45A4-9E53-E67F8A636E85}"/>
                  </a:ext>
                </a:extLst>
              </p:cNvPr>
              <p:cNvSpPr/>
              <p:nvPr/>
            </p:nvSpPr>
            <p:spPr>
              <a:xfrm rot="2264297">
                <a:off x="4350251" y="2041589"/>
                <a:ext cx="3567735" cy="3567735"/>
              </a:xfrm>
              <a:prstGeom prst="blockArc">
                <a:avLst>
                  <a:gd name="adj1" fmla="val 7433288"/>
                  <a:gd name="adj2" fmla="val 21413901"/>
                  <a:gd name="adj3" fmla="val 12549"/>
                </a:avLst>
              </a:prstGeom>
              <a:solidFill>
                <a:srgbClr val="D4A1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Ubuntu Bold" panose="020B0804030602030204" pitchFamily="34" charset="0"/>
                  <a:ea typeface="+mn-ea"/>
                  <a:cs typeface="+mn-cs"/>
                </a:endParaRPr>
              </a:p>
            </p:txBody>
          </p:sp>
          <p:sp>
            <p:nvSpPr>
              <p:cNvPr id="63" name="Oval 62">
                <a:extLst>
                  <a:ext uri="{FF2B5EF4-FFF2-40B4-BE49-F238E27FC236}">
                    <a16:creationId xmlns:a16="http://schemas.microsoft.com/office/drawing/2014/main" id="{FB0121CA-A043-46DB-B85C-9F325B0685EB}"/>
                  </a:ext>
                </a:extLst>
              </p:cNvPr>
              <p:cNvSpPr/>
              <p:nvPr/>
            </p:nvSpPr>
            <p:spPr>
              <a:xfrm>
                <a:off x="4993477" y="2694614"/>
                <a:ext cx="2313156" cy="2313156"/>
              </a:xfrm>
              <a:prstGeom prst="ellipse">
                <a:avLst/>
              </a:prstGeom>
              <a:solidFill>
                <a:srgbClr val="2B0A3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Ubuntu Bold" panose="020B0804030602030204" pitchFamily="34" charset="0"/>
                  <a:ea typeface="+mn-ea"/>
                  <a:cs typeface="+mn-cs"/>
                </a:endParaRPr>
              </a:p>
            </p:txBody>
          </p:sp>
        </p:grpSp>
        <p:sp>
          <p:nvSpPr>
            <p:cNvPr id="46" name="Rectangle 45">
              <a:extLst>
                <a:ext uri="{FF2B5EF4-FFF2-40B4-BE49-F238E27FC236}">
                  <a16:creationId xmlns:a16="http://schemas.microsoft.com/office/drawing/2014/main" id="{99A7DDEA-C939-46C1-B37E-7DE3FED5F542}"/>
                </a:ext>
              </a:extLst>
            </p:cNvPr>
            <p:cNvSpPr/>
            <p:nvPr/>
          </p:nvSpPr>
          <p:spPr>
            <a:xfrm rot="5400000">
              <a:off x="3521965" y="1744807"/>
              <a:ext cx="5148072" cy="5148591"/>
            </a:xfrm>
            <a:prstGeom prst="rect">
              <a:avLst/>
            </a:prstGeom>
            <a:noFill/>
          </p:spPr>
          <p:txBody>
            <a:bodyPr wrap="none" lIns="0" tIns="0" rIns="0" bIns="0" anchor="t" anchorCtr="0">
              <a:prstTxWarp prst="textCircle">
                <a:avLst>
                  <a:gd name="adj" fmla="val 567034"/>
                </a:avLst>
              </a:prstTxWarp>
              <a:spAutoFit/>
            </a:bodyPr>
            <a:lstStyle/>
            <a:p>
              <a:pPr algn="ctr"/>
              <a:r>
                <a:rPr lang="en-GB" sz="2800" b="1" dirty="0">
                  <a:solidFill>
                    <a:srgbClr val="4701A7"/>
                  </a:solidFill>
                  <a:latin typeface="+mj-lt"/>
                  <a:cs typeface="Ubuntu Bold"/>
                </a:rPr>
                <a:t>Your Platform Journey</a:t>
              </a:r>
            </a:p>
          </p:txBody>
        </p:sp>
        <p:grpSp>
          <p:nvGrpSpPr>
            <p:cNvPr id="47" name="Group 46">
              <a:extLst>
                <a:ext uri="{FF2B5EF4-FFF2-40B4-BE49-F238E27FC236}">
                  <a16:creationId xmlns:a16="http://schemas.microsoft.com/office/drawing/2014/main" id="{F4E2B3BC-6F69-4ACB-91D2-B623046D82B4}"/>
                </a:ext>
              </a:extLst>
            </p:cNvPr>
            <p:cNvGrpSpPr/>
            <p:nvPr/>
          </p:nvGrpSpPr>
          <p:grpSpPr>
            <a:xfrm>
              <a:off x="5456384" y="3426108"/>
              <a:ext cx="1415570" cy="1373606"/>
              <a:chOff x="5537407" y="3194051"/>
              <a:chExt cx="1225296" cy="1188973"/>
            </a:xfrm>
          </p:grpSpPr>
          <p:sp>
            <p:nvSpPr>
              <p:cNvPr id="48" name="Freeform 5">
                <a:extLst>
                  <a:ext uri="{FF2B5EF4-FFF2-40B4-BE49-F238E27FC236}">
                    <a16:creationId xmlns:a16="http://schemas.microsoft.com/office/drawing/2014/main" id="{09B6EFAE-C6D5-4DDE-A8B1-A08A0DFDBA79}"/>
                  </a:ext>
                </a:extLst>
              </p:cNvPr>
              <p:cNvSpPr>
                <a:spLocks/>
              </p:cNvSpPr>
              <p:nvPr/>
            </p:nvSpPr>
            <p:spPr bwMode="auto">
              <a:xfrm>
                <a:off x="5549822" y="3194051"/>
                <a:ext cx="1200467" cy="658220"/>
              </a:xfrm>
              <a:custGeom>
                <a:avLst/>
                <a:gdLst>
                  <a:gd name="T0" fmla="*/ 113 w 938"/>
                  <a:gd name="T1" fmla="*/ 226 h 527"/>
                  <a:gd name="T2" fmla="*/ 339 w 938"/>
                  <a:gd name="T3" fmla="*/ 0 h 527"/>
                  <a:gd name="T4" fmla="*/ 542 w 938"/>
                  <a:gd name="T5" fmla="*/ 124 h 527"/>
                  <a:gd name="T6" fmla="*/ 618 w 938"/>
                  <a:gd name="T7" fmla="*/ 105 h 527"/>
                  <a:gd name="T8" fmla="*/ 778 w 938"/>
                  <a:gd name="T9" fmla="*/ 254 h 527"/>
                  <a:gd name="T10" fmla="*/ 938 w 938"/>
                  <a:gd name="T11" fmla="*/ 390 h 527"/>
                  <a:gd name="T12" fmla="*/ 779 w 938"/>
                  <a:gd name="T13" fmla="*/ 527 h 527"/>
                  <a:gd name="T14" fmla="*/ 160 w 938"/>
                  <a:gd name="T15" fmla="*/ 527 h 527"/>
                  <a:gd name="T16" fmla="*/ 0 w 938"/>
                  <a:gd name="T17" fmla="*/ 390 h 527"/>
                  <a:gd name="T18" fmla="*/ 115 w 938"/>
                  <a:gd name="T19" fmla="*/ 260 h 527"/>
                  <a:gd name="T20" fmla="*/ 113 w 938"/>
                  <a:gd name="T21" fmla="*/ 226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8" h="527">
                    <a:moveTo>
                      <a:pt x="113" y="226"/>
                    </a:moveTo>
                    <a:cubicBezTo>
                      <a:pt x="113" y="101"/>
                      <a:pt x="214" y="0"/>
                      <a:pt x="339" y="0"/>
                    </a:cubicBezTo>
                    <a:cubicBezTo>
                      <a:pt x="428" y="0"/>
                      <a:pt x="504" y="50"/>
                      <a:pt x="542" y="124"/>
                    </a:cubicBezTo>
                    <a:cubicBezTo>
                      <a:pt x="564" y="112"/>
                      <a:pt x="590" y="105"/>
                      <a:pt x="618" y="105"/>
                    </a:cubicBezTo>
                    <a:cubicBezTo>
                      <a:pt x="703" y="105"/>
                      <a:pt x="772" y="171"/>
                      <a:pt x="778" y="254"/>
                    </a:cubicBezTo>
                    <a:cubicBezTo>
                      <a:pt x="867" y="254"/>
                      <a:pt x="938" y="315"/>
                      <a:pt x="938" y="390"/>
                    </a:cubicBezTo>
                    <a:cubicBezTo>
                      <a:pt x="938" y="466"/>
                      <a:pt x="867" y="527"/>
                      <a:pt x="779" y="527"/>
                    </a:cubicBezTo>
                    <a:cubicBezTo>
                      <a:pt x="160" y="527"/>
                      <a:pt x="160" y="527"/>
                      <a:pt x="160" y="527"/>
                    </a:cubicBezTo>
                    <a:cubicBezTo>
                      <a:pt x="72" y="527"/>
                      <a:pt x="0" y="466"/>
                      <a:pt x="0" y="390"/>
                    </a:cubicBezTo>
                    <a:cubicBezTo>
                      <a:pt x="0" y="328"/>
                      <a:pt x="49" y="276"/>
                      <a:pt x="115" y="260"/>
                    </a:cubicBezTo>
                    <a:cubicBezTo>
                      <a:pt x="114" y="249"/>
                      <a:pt x="113" y="238"/>
                      <a:pt x="113" y="226"/>
                    </a:cubicBezTo>
                    <a:close/>
                  </a:path>
                </a:pathLst>
              </a:custGeom>
              <a:solidFill>
                <a:schemeClr val="bg1"/>
              </a:solidFill>
              <a:ln w="63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49" name="Group 48">
                <a:extLst>
                  <a:ext uri="{FF2B5EF4-FFF2-40B4-BE49-F238E27FC236}">
                    <a16:creationId xmlns:a16="http://schemas.microsoft.com/office/drawing/2014/main" id="{71B0E5C9-79CC-4639-81C4-6577A5289747}"/>
                  </a:ext>
                </a:extLst>
              </p:cNvPr>
              <p:cNvGrpSpPr/>
              <p:nvPr/>
            </p:nvGrpSpPr>
            <p:grpSpPr>
              <a:xfrm>
                <a:off x="5537407" y="4120896"/>
                <a:ext cx="1225296" cy="262128"/>
                <a:chOff x="5547360" y="4194048"/>
                <a:chExt cx="1225296" cy="262128"/>
              </a:xfrm>
            </p:grpSpPr>
            <p:sp>
              <p:nvSpPr>
                <p:cNvPr id="54" name="Rectangle: Rounded Corners 53">
                  <a:extLst>
                    <a:ext uri="{FF2B5EF4-FFF2-40B4-BE49-F238E27FC236}">
                      <a16:creationId xmlns:a16="http://schemas.microsoft.com/office/drawing/2014/main" id="{15B75D9F-FC9B-4099-93B8-1BB35A19DC5D}"/>
                    </a:ext>
                  </a:extLst>
                </p:cNvPr>
                <p:cNvSpPr/>
                <p:nvPr/>
              </p:nvSpPr>
              <p:spPr>
                <a:xfrm>
                  <a:off x="5547360" y="4194048"/>
                  <a:ext cx="377952" cy="262128"/>
                </a:xfrm>
                <a:prstGeom prst="roundRect">
                  <a:avLst/>
                </a:prstGeom>
                <a:solidFill>
                  <a:srgbClr val="D4A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Rounded Corners 54">
                  <a:extLst>
                    <a:ext uri="{FF2B5EF4-FFF2-40B4-BE49-F238E27FC236}">
                      <a16:creationId xmlns:a16="http://schemas.microsoft.com/office/drawing/2014/main" id="{EE36AC67-13DE-43C9-B74A-C9AD799CDC76}"/>
                    </a:ext>
                  </a:extLst>
                </p:cNvPr>
                <p:cNvSpPr/>
                <p:nvPr/>
              </p:nvSpPr>
              <p:spPr>
                <a:xfrm>
                  <a:off x="5971032" y="4194048"/>
                  <a:ext cx="377952" cy="262128"/>
                </a:xfrm>
                <a:prstGeom prst="roundRect">
                  <a:avLst/>
                </a:prstGeom>
                <a:solidFill>
                  <a:srgbClr val="D4A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Rounded Corners 58">
                  <a:extLst>
                    <a:ext uri="{FF2B5EF4-FFF2-40B4-BE49-F238E27FC236}">
                      <a16:creationId xmlns:a16="http://schemas.microsoft.com/office/drawing/2014/main" id="{8EDE28F4-E1E4-4802-9B95-A8EEE199AC7A}"/>
                    </a:ext>
                  </a:extLst>
                </p:cNvPr>
                <p:cNvSpPr/>
                <p:nvPr/>
              </p:nvSpPr>
              <p:spPr>
                <a:xfrm>
                  <a:off x="6394704" y="4194048"/>
                  <a:ext cx="377952" cy="262128"/>
                </a:xfrm>
                <a:prstGeom prst="roundRect">
                  <a:avLst/>
                </a:prstGeom>
                <a:solidFill>
                  <a:srgbClr val="D4A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0" name="Straight Connector 9">
                <a:extLst>
                  <a:ext uri="{FF2B5EF4-FFF2-40B4-BE49-F238E27FC236}">
                    <a16:creationId xmlns:a16="http://schemas.microsoft.com/office/drawing/2014/main" id="{06986549-FFB3-48DF-B7DE-81B4B413183E}"/>
                  </a:ext>
                </a:extLst>
              </p:cNvPr>
              <p:cNvCxnSpPr>
                <a:cxnSpLocks/>
                <a:stCxn id="54" idx="0"/>
              </p:cNvCxnSpPr>
              <p:nvPr/>
            </p:nvCxnSpPr>
            <p:spPr>
              <a:xfrm rot="5400000" flipH="1" flipV="1">
                <a:off x="5803907" y="3774748"/>
                <a:ext cx="268625" cy="423672"/>
              </a:xfrm>
              <a:prstGeom prst="bentConnector3">
                <a:avLst>
                  <a:gd name="adj1" fmla="val 50000"/>
                </a:avLst>
              </a:prstGeom>
              <a:ln w="12700">
                <a:solidFill>
                  <a:srgbClr val="D4A1F0"/>
                </a:solidFill>
              </a:ln>
            </p:spPr>
            <p:style>
              <a:lnRef idx="1">
                <a:schemeClr val="accent1"/>
              </a:lnRef>
              <a:fillRef idx="0">
                <a:schemeClr val="accent1"/>
              </a:fillRef>
              <a:effectRef idx="0">
                <a:schemeClr val="accent1"/>
              </a:effectRef>
              <a:fontRef idx="minor">
                <a:schemeClr val="tx1"/>
              </a:fontRef>
            </p:style>
          </p:cxnSp>
          <p:cxnSp>
            <p:nvCxnSpPr>
              <p:cNvPr id="51" name="Straight Connector 9">
                <a:extLst>
                  <a:ext uri="{FF2B5EF4-FFF2-40B4-BE49-F238E27FC236}">
                    <a16:creationId xmlns:a16="http://schemas.microsoft.com/office/drawing/2014/main" id="{54A2F2B9-7D2F-4CE8-9F55-E14F01BCA565}"/>
                  </a:ext>
                </a:extLst>
              </p:cNvPr>
              <p:cNvCxnSpPr>
                <a:cxnSpLocks/>
                <a:stCxn id="59" idx="0"/>
              </p:cNvCxnSpPr>
              <p:nvPr/>
            </p:nvCxnSpPr>
            <p:spPr>
              <a:xfrm rot="16200000" flipV="1">
                <a:off x="6227579" y="3774748"/>
                <a:ext cx="268625" cy="423672"/>
              </a:xfrm>
              <a:prstGeom prst="bentConnector3">
                <a:avLst>
                  <a:gd name="adj1" fmla="val 50000"/>
                </a:avLst>
              </a:prstGeom>
              <a:ln w="12700">
                <a:solidFill>
                  <a:srgbClr val="D4A1F0"/>
                </a:solidFill>
              </a:ln>
            </p:spPr>
            <p:style>
              <a:lnRef idx="1">
                <a:schemeClr val="accent1"/>
              </a:lnRef>
              <a:fillRef idx="0">
                <a:schemeClr val="accent1"/>
              </a:fillRef>
              <a:effectRef idx="0">
                <a:schemeClr val="accent1"/>
              </a:effectRef>
              <a:fontRef idx="minor">
                <a:schemeClr val="tx1"/>
              </a:fontRef>
            </p:style>
          </p:cxnSp>
          <p:cxnSp>
            <p:nvCxnSpPr>
              <p:cNvPr id="52" name="Straight Connector 9">
                <a:extLst>
                  <a:ext uri="{FF2B5EF4-FFF2-40B4-BE49-F238E27FC236}">
                    <a16:creationId xmlns:a16="http://schemas.microsoft.com/office/drawing/2014/main" id="{7498712E-A3BB-4C6E-868D-4D3E3E978BAF}"/>
                  </a:ext>
                </a:extLst>
              </p:cNvPr>
              <p:cNvCxnSpPr>
                <a:cxnSpLocks/>
                <a:stCxn id="55" idx="0"/>
              </p:cNvCxnSpPr>
              <p:nvPr/>
            </p:nvCxnSpPr>
            <p:spPr>
              <a:xfrm flipV="1">
                <a:off x="6150055" y="3852271"/>
                <a:ext cx="0" cy="268625"/>
              </a:xfrm>
              <a:prstGeom prst="straightConnector1">
                <a:avLst/>
              </a:prstGeom>
              <a:ln w="12700">
                <a:solidFill>
                  <a:srgbClr val="D4A1F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094835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5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53" name="Rectangle 18">
            <a:extLst>
              <a:ext uri="{FF2B5EF4-FFF2-40B4-BE49-F238E27FC236}">
                <a16:creationId xmlns:a16="http://schemas.microsoft.com/office/drawing/2014/main" id="{227D52D4-2688-4A4D-9277-0AA150DFD938}"/>
              </a:ext>
            </a:extLst>
          </p:cNvPr>
          <p:cNvSpPr/>
          <p:nvPr userDrawn="1"/>
        </p:nvSpPr>
        <p:spPr>
          <a:xfrm>
            <a:off x="641866" y="3032018"/>
            <a:ext cx="2493099" cy="743853"/>
          </a:xfrm>
          <a:prstGeom prst="rect">
            <a:avLst/>
          </a:prstGeom>
          <a:solidFill>
            <a:schemeClr val="accent4">
              <a:alpha val="28000"/>
            </a:scheme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6" name="Rectangle 55">
            <a:extLst>
              <a:ext uri="{FF2B5EF4-FFF2-40B4-BE49-F238E27FC236}">
                <a16:creationId xmlns:a16="http://schemas.microsoft.com/office/drawing/2014/main" id="{9E3DE42F-62EB-4C1E-91F3-C2E0DF930D19}"/>
              </a:ext>
            </a:extLst>
          </p:cNvPr>
          <p:cNvSpPr/>
          <p:nvPr userDrawn="1"/>
        </p:nvSpPr>
        <p:spPr>
          <a:xfrm>
            <a:off x="641866" y="3774411"/>
            <a:ext cx="2493099" cy="668051"/>
          </a:xfrm>
          <a:prstGeom prst="rect">
            <a:avLst/>
          </a:prstGeom>
          <a:solidFill>
            <a:schemeClr val="accent4">
              <a:alpha val="69000"/>
            </a:scheme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1C7C294D-A75C-42EA-A120-EC2EC5AC4A1C}"/>
              </a:ext>
            </a:extLst>
          </p:cNvPr>
          <p:cNvSpPr/>
          <p:nvPr userDrawn="1"/>
        </p:nvSpPr>
        <p:spPr>
          <a:xfrm>
            <a:off x="641866" y="2274178"/>
            <a:ext cx="2493099" cy="768749"/>
          </a:xfrm>
          <a:prstGeom prst="rect">
            <a:avLst/>
          </a:prstGeom>
          <a:solidFill>
            <a:schemeClr val="accent4">
              <a:alpha val="3000"/>
            </a:scheme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D991D24A-F216-46A0-A2CE-0F89D7D18464}"/>
              </a:ext>
            </a:extLst>
          </p:cNvPr>
          <p:cNvSpPr/>
          <p:nvPr userDrawn="1"/>
        </p:nvSpPr>
        <p:spPr>
          <a:xfrm>
            <a:off x="641866" y="4442462"/>
            <a:ext cx="2493099" cy="668051"/>
          </a:xfrm>
          <a:prstGeom prst="rect">
            <a:avLst/>
          </a:prstGeom>
          <a:solidFill>
            <a:schemeClr val="accent4"/>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942FACA2-8FCD-4118-B243-2C469E41FFAA}"/>
              </a:ext>
            </a:extLst>
          </p:cNvPr>
          <p:cNvSpPr>
            <a:spLocks noGrp="1"/>
          </p:cNvSpPr>
          <p:nvPr>
            <p:ph type="body" sz="quarter" idx="10"/>
          </p:nvPr>
        </p:nvSpPr>
        <p:spPr>
          <a:xfrm>
            <a:off x="685191" y="2328770"/>
            <a:ext cx="2394327" cy="573455"/>
          </a:xfrm>
        </p:spPr>
        <p:txBody>
          <a:bodyPr>
            <a:normAutofit/>
          </a:bodyPr>
          <a:lstStyle>
            <a:lvl1pPr>
              <a:defRPr kumimoji="0" lang="en-US" sz="1600" b="1" i="0" u="none" strike="noStrike" kern="0" cap="none" spc="0" normalizeH="0" baseline="0" dirty="0" smtClean="0">
                <a:ln>
                  <a:noFill/>
                </a:ln>
                <a:solidFill>
                  <a:schemeClr val="accent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5" name="Text Placeholder 3">
            <a:extLst>
              <a:ext uri="{FF2B5EF4-FFF2-40B4-BE49-F238E27FC236}">
                <a16:creationId xmlns:a16="http://schemas.microsoft.com/office/drawing/2014/main" id="{91AA38E4-FE47-4A9A-B8F2-943FEEB4BD06}"/>
              </a:ext>
            </a:extLst>
          </p:cNvPr>
          <p:cNvSpPr>
            <a:spLocks noGrp="1"/>
          </p:cNvSpPr>
          <p:nvPr>
            <p:ph type="body" sz="quarter" idx="12"/>
          </p:nvPr>
        </p:nvSpPr>
        <p:spPr>
          <a:xfrm>
            <a:off x="685191" y="3080610"/>
            <a:ext cx="2394327" cy="573455"/>
          </a:xfrm>
        </p:spPr>
        <p:txBody>
          <a:bodyPr>
            <a:normAutofit/>
          </a:bodyPr>
          <a:lstStyle>
            <a:lvl1pPr>
              <a:defRPr kumimoji="0" lang="en-US" sz="1600" b="1" i="0" u="none" strike="noStrike" kern="0" cap="none" spc="0" normalizeH="0" baseline="0" dirty="0" smtClean="0">
                <a:ln>
                  <a:noFill/>
                </a:ln>
                <a:solidFill>
                  <a:schemeClr val="accent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7" name="Text Placeholder 3">
            <a:extLst>
              <a:ext uri="{FF2B5EF4-FFF2-40B4-BE49-F238E27FC236}">
                <a16:creationId xmlns:a16="http://schemas.microsoft.com/office/drawing/2014/main" id="{97AC09C2-0BB4-45CA-9397-7B1B0E1D2A85}"/>
              </a:ext>
            </a:extLst>
          </p:cNvPr>
          <p:cNvSpPr>
            <a:spLocks noGrp="1"/>
          </p:cNvSpPr>
          <p:nvPr>
            <p:ph type="body" sz="quarter" idx="14"/>
          </p:nvPr>
        </p:nvSpPr>
        <p:spPr>
          <a:xfrm>
            <a:off x="685191"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118" name="Text Placeholder 3">
            <a:extLst>
              <a:ext uri="{FF2B5EF4-FFF2-40B4-BE49-F238E27FC236}">
                <a16:creationId xmlns:a16="http://schemas.microsoft.com/office/drawing/2014/main" id="{D3896FE5-52E3-4090-9821-E4BD8EE55BD3}"/>
              </a:ext>
            </a:extLst>
          </p:cNvPr>
          <p:cNvSpPr>
            <a:spLocks noGrp="1"/>
          </p:cNvSpPr>
          <p:nvPr>
            <p:ph type="body" sz="quarter" idx="15"/>
          </p:nvPr>
        </p:nvSpPr>
        <p:spPr>
          <a:xfrm>
            <a:off x="685191"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19" name="Rectangle 18">
            <a:extLst>
              <a:ext uri="{FF2B5EF4-FFF2-40B4-BE49-F238E27FC236}">
                <a16:creationId xmlns:a16="http://schemas.microsoft.com/office/drawing/2014/main" id="{01B2F182-ECAF-4548-8954-B77EECE4A186}"/>
              </a:ext>
            </a:extLst>
          </p:cNvPr>
          <p:cNvSpPr/>
          <p:nvPr userDrawn="1"/>
        </p:nvSpPr>
        <p:spPr>
          <a:xfrm>
            <a:off x="8932754" y="3032018"/>
            <a:ext cx="2493099" cy="743853"/>
          </a:xfrm>
          <a:prstGeom prst="rect">
            <a:avLst/>
          </a:prstGeom>
          <a:solidFill>
            <a:schemeClr val="accent4">
              <a:alpha val="28000"/>
            </a:schemeClr>
          </a:solidFill>
          <a:ln w="12700" cap="flat" cmpd="sng" algn="ctr">
            <a:noFill/>
            <a:prstDash val="solid"/>
            <a:miter lim="800000"/>
          </a:ln>
          <a:effectLst/>
        </p:spPr>
        <p:txBody>
          <a:bodyPr wrap="square" lIns="144000" tIns="93600" rIns="144000" bIns="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0" name="Rectangle 219">
            <a:extLst>
              <a:ext uri="{FF2B5EF4-FFF2-40B4-BE49-F238E27FC236}">
                <a16:creationId xmlns:a16="http://schemas.microsoft.com/office/drawing/2014/main" id="{24D7AD30-552F-4439-A956-2C314D85C7E7}"/>
              </a:ext>
            </a:extLst>
          </p:cNvPr>
          <p:cNvSpPr/>
          <p:nvPr userDrawn="1"/>
        </p:nvSpPr>
        <p:spPr>
          <a:xfrm>
            <a:off x="8932754" y="3774411"/>
            <a:ext cx="2493099" cy="668051"/>
          </a:xfrm>
          <a:prstGeom prst="rect">
            <a:avLst/>
          </a:prstGeom>
          <a:solidFill>
            <a:schemeClr val="accent4">
              <a:alpha val="69000"/>
            </a:schemeClr>
          </a:solidFill>
          <a:ln w="12700" cap="flat" cmpd="sng" algn="ctr">
            <a:noFill/>
            <a:prstDash val="solid"/>
            <a:miter lim="800000"/>
          </a:ln>
          <a:effectLst/>
        </p:spPr>
        <p:txBody>
          <a:bodyPr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1" name="Rectangle 220">
            <a:extLst>
              <a:ext uri="{FF2B5EF4-FFF2-40B4-BE49-F238E27FC236}">
                <a16:creationId xmlns:a16="http://schemas.microsoft.com/office/drawing/2014/main" id="{E08EA81E-1106-4283-9B77-309C2BE1A0AF}"/>
              </a:ext>
            </a:extLst>
          </p:cNvPr>
          <p:cNvSpPr/>
          <p:nvPr userDrawn="1"/>
        </p:nvSpPr>
        <p:spPr>
          <a:xfrm>
            <a:off x="8932754" y="2274178"/>
            <a:ext cx="2493099" cy="768749"/>
          </a:xfrm>
          <a:prstGeom prst="rect">
            <a:avLst/>
          </a:prstGeom>
          <a:solidFill>
            <a:schemeClr val="accent4">
              <a:alpha val="3000"/>
            </a:schemeClr>
          </a:solidFill>
          <a:ln w="12700" cap="flat" cmpd="sng" algn="ctr">
            <a:noFill/>
            <a:prstDash val="solid"/>
            <a:miter lim="800000"/>
          </a:ln>
          <a:effectLst/>
        </p:spPr>
        <p:txBody>
          <a:bodyPr lIns="144000" tIns="93600" rIns="1440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15636B"/>
              </a:solidFill>
              <a:effectLst/>
              <a:uLnTx/>
              <a:uFillTx/>
              <a:latin typeface="Verdana"/>
              <a:ea typeface="+mn-ea"/>
              <a:cs typeface="+mn-cs"/>
            </a:endParaRPr>
          </a:p>
        </p:txBody>
      </p:sp>
      <p:sp>
        <p:nvSpPr>
          <p:cNvPr id="222" name="Rectangle 221">
            <a:extLst>
              <a:ext uri="{FF2B5EF4-FFF2-40B4-BE49-F238E27FC236}">
                <a16:creationId xmlns:a16="http://schemas.microsoft.com/office/drawing/2014/main" id="{3802C3C0-FA35-476D-8630-81C514884A73}"/>
              </a:ext>
            </a:extLst>
          </p:cNvPr>
          <p:cNvSpPr/>
          <p:nvPr userDrawn="1"/>
        </p:nvSpPr>
        <p:spPr>
          <a:xfrm>
            <a:off x="8932754" y="4442462"/>
            <a:ext cx="2493099" cy="668051"/>
          </a:xfrm>
          <a:prstGeom prst="rect">
            <a:avLst/>
          </a:prstGeom>
          <a:solidFill>
            <a:schemeClr val="accent4"/>
          </a:solidFill>
          <a:ln w="12700" cap="flat" cmpd="sng" algn="ctr">
            <a:noFill/>
            <a:prstDash val="solid"/>
            <a:miter lim="800000"/>
          </a:ln>
          <a:effectLst/>
        </p:spPr>
        <p:txBody>
          <a:bodyPr lIns="137160" tIns="93600" rtlCol="0" anchor="t"/>
          <a:lstStyle/>
          <a:p>
            <a:pPr marL="0" marR="0" lvl="0" indent="0" defTabSz="933823" eaLnBrk="1" fontAlgn="auto" latinLnBrk="0" hangingPunct="1">
              <a:lnSpc>
                <a:spcPct val="100000"/>
              </a:lnSpc>
              <a:spcBef>
                <a:spcPts val="0"/>
              </a:spcBef>
              <a:spcAft>
                <a:spcPts val="300"/>
              </a:spcAft>
              <a:buClr>
                <a:srgbClr val="0070AD"/>
              </a:buClr>
              <a:buSzTx/>
              <a:buFontTx/>
              <a:buNone/>
              <a:tabLst/>
              <a:defRPr/>
            </a:pPr>
            <a:endParaRPr kumimoji="0" lang="en-US" sz="1600" b="1" i="0" u="none" strike="noStrike" kern="0" cap="none" spc="0" normalizeH="0" baseline="0" noProof="0" dirty="0">
              <a:ln>
                <a:noFill/>
              </a:ln>
              <a:solidFill>
                <a:srgbClr val="FFFFFF"/>
              </a:solidFill>
              <a:effectLst/>
              <a:uLnTx/>
              <a:uFillTx/>
              <a:latin typeface="Verdana"/>
              <a:ea typeface="+mn-ea"/>
              <a:cs typeface="+mn-cs"/>
            </a:endParaRPr>
          </a:p>
        </p:txBody>
      </p:sp>
      <p:sp>
        <p:nvSpPr>
          <p:cNvPr id="223" name="Text Placeholder 3">
            <a:extLst>
              <a:ext uri="{FF2B5EF4-FFF2-40B4-BE49-F238E27FC236}">
                <a16:creationId xmlns:a16="http://schemas.microsoft.com/office/drawing/2014/main" id="{47CA184D-A059-49E1-A624-BB644698BF71}"/>
              </a:ext>
            </a:extLst>
          </p:cNvPr>
          <p:cNvSpPr>
            <a:spLocks noGrp="1"/>
          </p:cNvSpPr>
          <p:nvPr>
            <p:ph type="body" sz="quarter" idx="16"/>
          </p:nvPr>
        </p:nvSpPr>
        <p:spPr>
          <a:xfrm>
            <a:off x="8976079" y="2328770"/>
            <a:ext cx="2394327" cy="573455"/>
          </a:xfrm>
        </p:spPr>
        <p:txBody>
          <a:bodyPr>
            <a:normAutofit/>
          </a:bodyPr>
          <a:lstStyle>
            <a:lvl1pPr>
              <a:defRPr kumimoji="0" lang="en-US" sz="1600" b="1" i="0" u="none" strike="noStrike" kern="0" cap="none" spc="0" normalizeH="0" baseline="0" dirty="0" smtClean="0">
                <a:ln>
                  <a:noFill/>
                </a:ln>
                <a:solidFill>
                  <a:schemeClr val="accent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4" name="Text Placeholder 3">
            <a:extLst>
              <a:ext uri="{FF2B5EF4-FFF2-40B4-BE49-F238E27FC236}">
                <a16:creationId xmlns:a16="http://schemas.microsoft.com/office/drawing/2014/main" id="{8BE97938-3628-4B52-9B77-3D3CA6DF1946}"/>
              </a:ext>
            </a:extLst>
          </p:cNvPr>
          <p:cNvSpPr>
            <a:spLocks noGrp="1"/>
          </p:cNvSpPr>
          <p:nvPr>
            <p:ph type="body" sz="quarter" idx="17"/>
          </p:nvPr>
        </p:nvSpPr>
        <p:spPr>
          <a:xfrm>
            <a:off x="8976079" y="3080610"/>
            <a:ext cx="2394327" cy="573455"/>
          </a:xfrm>
        </p:spPr>
        <p:txBody>
          <a:bodyPr>
            <a:normAutofit/>
          </a:bodyPr>
          <a:lstStyle>
            <a:lvl1pPr>
              <a:defRPr kumimoji="0" lang="en-US" sz="1600" b="1" i="0" u="none" strike="noStrike" kern="0" cap="none" spc="0" normalizeH="0" baseline="0" dirty="0" smtClean="0">
                <a:ln>
                  <a:noFill/>
                </a:ln>
                <a:solidFill>
                  <a:schemeClr val="accent4"/>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5" name="Text Placeholder 3">
            <a:extLst>
              <a:ext uri="{FF2B5EF4-FFF2-40B4-BE49-F238E27FC236}">
                <a16:creationId xmlns:a16="http://schemas.microsoft.com/office/drawing/2014/main" id="{73C41618-E013-4000-B9AE-C892D1F4F6FB}"/>
              </a:ext>
            </a:extLst>
          </p:cNvPr>
          <p:cNvSpPr>
            <a:spLocks noGrp="1"/>
          </p:cNvSpPr>
          <p:nvPr>
            <p:ph type="body" sz="quarter" idx="18"/>
          </p:nvPr>
        </p:nvSpPr>
        <p:spPr>
          <a:xfrm>
            <a:off x="8976079" y="38121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sp>
        <p:nvSpPr>
          <p:cNvPr id="226" name="Text Placeholder 3">
            <a:extLst>
              <a:ext uri="{FF2B5EF4-FFF2-40B4-BE49-F238E27FC236}">
                <a16:creationId xmlns:a16="http://schemas.microsoft.com/office/drawing/2014/main" id="{941D6A50-52B3-43E6-AD4F-C1BEB97692CD}"/>
              </a:ext>
            </a:extLst>
          </p:cNvPr>
          <p:cNvSpPr>
            <a:spLocks noGrp="1"/>
          </p:cNvSpPr>
          <p:nvPr>
            <p:ph type="body" sz="quarter" idx="19"/>
          </p:nvPr>
        </p:nvSpPr>
        <p:spPr>
          <a:xfrm>
            <a:off x="8976079" y="4472530"/>
            <a:ext cx="2394327" cy="573455"/>
          </a:xfrm>
        </p:spPr>
        <p:txBody>
          <a:bodyPr>
            <a:normAutofit/>
          </a:bodyPr>
          <a:lstStyle>
            <a:lvl1pPr>
              <a:defRPr kumimoji="0" lang="en-US" sz="1600" b="1" i="0" u="none" strike="noStrike" kern="0" cap="none" spc="0" normalizeH="0" baseline="0" dirty="0" smtClean="0">
                <a:ln>
                  <a:noFill/>
                </a:ln>
                <a:solidFill>
                  <a:schemeClr val="bg1"/>
                </a:solidFill>
                <a:effectLst/>
                <a:uLnTx/>
                <a:uFillTx/>
                <a:latin typeface="Verdana"/>
                <a:ea typeface="+mn-ea"/>
                <a:cs typeface="+mn-cs"/>
              </a:defRPr>
            </a:lvl1pPr>
          </a:lstStyle>
          <a:p>
            <a:pPr marL="0" marR="0" lvl="0" indent="0" algn="l" defTabSz="933823" rtl="0" eaLnBrk="1" fontAlgn="auto" latinLnBrk="0" hangingPunct="1">
              <a:lnSpc>
                <a:spcPct val="100000"/>
              </a:lnSpc>
              <a:spcBef>
                <a:spcPts val="0"/>
              </a:spcBef>
              <a:spcAft>
                <a:spcPts val="300"/>
              </a:spcAft>
              <a:buClr>
                <a:srgbClr val="0070AD"/>
              </a:buClr>
              <a:buSzTx/>
              <a:buFontTx/>
              <a:buNone/>
              <a:tabLst/>
              <a:defRPr/>
            </a:pPr>
            <a:endParaRPr lang="en-US" dirty="0"/>
          </a:p>
        </p:txBody>
      </p:sp>
      <p:grpSp>
        <p:nvGrpSpPr>
          <p:cNvPr id="39" name="Group 38">
            <a:extLst>
              <a:ext uri="{FF2B5EF4-FFF2-40B4-BE49-F238E27FC236}">
                <a16:creationId xmlns:a16="http://schemas.microsoft.com/office/drawing/2014/main" id="{E2DC879D-0A9D-43AB-960F-16E2D0CAD371}"/>
              </a:ext>
            </a:extLst>
          </p:cNvPr>
          <p:cNvGrpSpPr/>
          <p:nvPr userDrawn="1"/>
        </p:nvGrpSpPr>
        <p:grpSpPr>
          <a:xfrm>
            <a:off x="3521705" y="1609344"/>
            <a:ext cx="5148591" cy="5148072"/>
            <a:chOff x="3521705" y="1745067"/>
            <a:chExt cx="5148591" cy="5148072"/>
          </a:xfrm>
        </p:grpSpPr>
        <p:grpSp>
          <p:nvGrpSpPr>
            <p:cNvPr id="40" name="Group 39">
              <a:extLst>
                <a:ext uri="{FF2B5EF4-FFF2-40B4-BE49-F238E27FC236}">
                  <a16:creationId xmlns:a16="http://schemas.microsoft.com/office/drawing/2014/main" id="{B1137631-5AD6-4DAB-BABC-2FDF8CD6C61B}"/>
                </a:ext>
              </a:extLst>
            </p:cNvPr>
            <p:cNvGrpSpPr/>
            <p:nvPr/>
          </p:nvGrpSpPr>
          <p:grpSpPr>
            <a:xfrm>
              <a:off x="3960863" y="2079752"/>
              <a:ext cx="4342729" cy="4342729"/>
              <a:chOff x="3714749" y="1415886"/>
              <a:chExt cx="4870613" cy="4870613"/>
            </a:xfrm>
          </p:grpSpPr>
          <p:sp>
            <p:nvSpPr>
              <p:cNvPr id="65" name="Block Arc 64">
                <a:extLst>
                  <a:ext uri="{FF2B5EF4-FFF2-40B4-BE49-F238E27FC236}">
                    <a16:creationId xmlns:a16="http://schemas.microsoft.com/office/drawing/2014/main" id="{97BD20A4-BAFC-40DF-B51D-A47601E38BE1}"/>
                  </a:ext>
                </a:extLst>
              </p:cNvPr>
              <p:cNvSpPr/>
              <p:nvPr/>
            </p:nvSpPr>
            <p:spPr>
              <a:xfrm rot="1314213">
                <a:off x="3714749" y="1415886"/>
                <a:ext cx="4870613" cy="4870613"/>
              </a:xfrm>
              <a:prstGeom prst="blockArc">
                <a:avLst>
                  <a:gd name="adj1" fmla="val 6704137"/>
                  <a:gd name="adj2" fmla="val 164332"/>
                  <a:gd name="adj3" fmla="val 7939"/>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Ubuntu Bold" panose="020B0804030602030204" pitchFamily="34" charset="0"/>
                  <a:ea typeface="+mn-ea"/>
                  <a:cs typeface="+mn-cs"/>
                </a:endParaRPr>
              </a:p>
            </p:txBody>
          </p:sp>
          <p:sp>
            <p:nvSpPr>
              <p:cNvPr id="66" name="Block Arc 65">
                <a:extLst>
                  <a:ext uri="{FF2B5EF4-FFF2-40B4-BE49-F238E27FC236}">
                    <a16:creationId xmlns:a16="http://schemas.microsoft.com/office/drawing/2014/main" id="{EF92BC7C-1041-4D46-ABDC-D4DE7375E3DC}"/>
                  </a:ext>
                </a:extLst>
              </p:cNvPr>
              <p:cNvSpPr/>
              <p:nvPr/>
            </p:nvSpPr>
            <p:spPr>
              <a:xfrm rot="18853342" flipV="1">
                <a:off x="4080407" y="1788419"/>
                <a:ext cx="4116662" cy="4116662"/>
              </a:xfrm>
              <a:prstGeom prst="blockArc">
                <a:avLst>
                  <a:gd name="adj1" fmla="val 7189031"/>
                  <a:gd name="adj2" fmla="val 148839"/>
                  <a:gd name="adj3" fmla="val 6914"/>
                </a:avLst>
              </a:prstGeom>
              <a:solidFill>
                <a:schemeClr val="accent4">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Bold" panose="020B0804030602030204" pitchFamily="34" charset="0"/>
                  <a:ea typeface="+mn-ea"/>
                  <a:cs typeface="+mn-cs"/>
                </a:endParaRPr>
              </a:p>
            </p:txBody>
          </p:sp>
          <p:sp>
            <p:nvSpPr>
              <p:cNvPr id="67" name="Block Arc 66">
                <a:extLst>
                  <a:ext uri="{FF2B5EF4-FFF2-40B4-BE49-F238E27FC236}">
                    <a16:creationId xmlns:a16="http://schemas.microsoft.com/office/drawing/2014/main" id="{29CA570D-80E3-40EE-805C-5074698BFDBE}"/>
                  </a:ext>
                </a:extLst>
              </p:cNvPr>
              <p:cNvSpPr/>
              <p:nvPr/>
            </p:nvSpPr>
            <p:spPr>
              <a:xfrm rot="2264297">
                <a:off x="4350251" y="2041589"/>
                <a:ext cx="3567735" cy="3567735"/>
              </a:xfrm>
              <a:prstGeom prst="blockArc">
                <a:avLst>
                  <a:gd name="adj1" fmla="val 7433288"/>
                  <a:gd name="adj2" fmla="val 21413901"/>
                  <a:gd name="adj3" fmla="val 12549"/>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Ubuntu Bold" panose="020B0804030602030204" pitchFamily="34" charset="0"/>
                  <a:ea typeface="+mn-ea"/>
                  <a:cs typeface="+mn-cs"/>
                </a:endParaRPr>
              </a:p>
            </p:txBody>
          </p:sp>
          <p:sp>
            <p:nvSpPr>
              <p:cNvPr id="68" name="Oval 67">
                <a:extLst>
                  <a:ext uri="{FF2B5EF4-FFF2-40B4-BE49-F238E27FC236}">
                    <a16:creationId xmlns:a16="http://schemas.microsoft.com/office/drawing/2014/main" id="{BDDE12A5-7BEA-4ED9-BCAF-BF852DD8E9A8}"/>
                  </a:ext>
                </a:extLst>
              </p:cNvPr>
              <p:cNvSpPr/>
              <p:nvPr/>
            </p:nvSpPr>
            <p:spPr>
              <a:xfrm>
                <a:off x="4993477" y="2694614"/>
                <a:ext cx="2313156" cy="2313156"/>
              </a:xfrm>
              <a:prstGeom prst="ellipse">
                <a:avLst/>
              </a:prstGeom>
              <a:solidFill>
                <a:srgbClr val="2B0A3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Ubuntu Bold" panose="020B0804030602030204" pitchFamily="34" charset="0"/>
                  <a:ea typeface="+mn-ea"/>
                  <a:cs typeface="+mn-cs"/>
                </a:endParaRPr>
              </a:p>
            </p:txBody>
          </p:sp>
        </p:grpSp>
        <p:sp>
          <p:nvSpPr>
            <p:cNvPr id="41" name="Rectangle 40">
              <a:extLst>
                <a:ext uri="{FF2B5EF4-FFF2-40B4-BE49-F238E27FC236}">
                  <a16:creationId xmlns:a16="http://schemas.microsoft.com/office/drawing/2014/main" id="{237B941F-5F2B-4C32-BA09-E90012AD0DA2}"/>
                </a:ext>
              </a:extLst>
            </p:cNvPr>
            <p:cNvSpPr/>
            <p:nvPr/>
          </p:nvSpPr>
          <p:spPr>
            <a:xfrm rot="5400000">
              <a:off x="3521965" y="1744807"/>
              <a:ext cx="5148072" cy="5148591"/>
            </a:xfrm>
            <a:prstGeom prst="rect">
              <a:avLst/>
            </a:prstGeom>
            <a:noFill/>
          </p:spPr>
          <p:txBody>
            <a:bodyPr wrap="none" lIns="0" tIns="0" rIns="0" bIns="0" anchor="t" anchorCtr="0">
              <a:prstTxWarp prst="textCircle">
                <a:avLst>
                  <a:gd name="adj" fmla="val 2899250"/>
                </a:avLst>
              </a:prstTxWarp>
              <a:spAutoFit/>
            </a:bodyPr>
            <a:lstStyle/>
            <a:p>
              <a:pPr algn="ctr"/>
              <a:r>
                <a:rPr lang="en-GB" sz="2800" b="1" dirty="0">
                  <a:solidFill>
                    <a:schemeClr val="accent4"/>
                  </a:solidFill>
                  <a:latin typeface="+mj-lt"/>
                  <a:cs typeface="Ubuntu Bold"/>
                </a:rPr>
                <a:t>Trust by Design</a:t>
              </a:r>
            </a:p>
          </p:txBody>
        </p:sp>
        <p:grpSp>
          <p:nvGrpSpPr>
            <p:cNvPr id="42" name="Group 41">
              <a:extLst>
                <a:ext uri="{FF2B5EF4-FFF2-40B4-BE49-F238E27FC236}">
                  <a16:creationId xmlns:a16="http://schemas.microsoft.com/office/drawing/2014/main" id="{6AE3B1FC-4F8B-47CD-B39E-91A1D5F8FBEA}"/>
                </a:ext>
              </a:extLst>
            </p:cNvPr>
            <p:cNvGrpSpPr/>
            <p:nvPr/>
          </p:nvGrpSpPr>
          <p:grpSpPr>
            <a:xfrm>
              <a:off x="5620820" y="3511087"/>
              <a:ext cx="1196975" cy="1379538"/>
              <a:chOff x="5600729" y="3161423"/>
              <a:chExt cx="1196975" cy="1379538"/>
            </a:xfrm>
          </p:grpSpPr>
          <p:sp>
            <p:nvSpPr>
              <p:cNvPr id="43" name="Freeform 5">
                <a:extLst>
                  <a:ext uri="{FF2B5EF4-FFF2-40B4-BE49-F238E27FC236}">
                    <a16:creationId xmlns:a16="http://schemas.microsoft.com/office/drawing/2014/main" id="{00D92AD1-2210-4730-8AB0-F6E28689AF3E}"/>
                  </a:ext>
                </a:extLst>
              </p:cNvPr>
              <p:cNvSpPr>
                <a:spLocks/>
              </p:cNvSpPr>
              <p:nvPr/>
            </p:nvSpPr>
            <p:spPr bwMode="auto">
              <a:xfrm>
                <a:off x="5600729" y="3161423"/>
                <a:ext cx="1196975" cy="1379538"/>
              </a:xfrm>
              <a:custGeom>
                <a:avLst/>
                <a:gdLst>
                  <a:gd name="T0" fmla="*/ 386 w 392"/>
                  <a:gd name="T1" fmla="*/ 302 h 464"/>
                  <a:gd name="T2" fmla="*/ 362 w 392"/>
                  <a:gd name="T3" fmla="*/ 289 h 464"/>
                  <a:gd name="T4" fmla="*/ 283 w 392"/>
                  <a:gd name="T5" fmla="*/ 336 h 464"/>
                  <a:gd name="T6" fmla="*/ 283 w 392"/>
                  <a:gd name="T7" fmla="*/ 336 h 464"/>
                  <a:gd name="T8" fmla="*/ 282 w 392"/>
                  <a:gd name="T9" fmla="*/ 337 h 464"/>
                  <a:gd name="T10" fmla="*/ 273 w 392"/>
                  <a:gd name="T11" fmla="*/ 331 h 464"/>
                  <a:gd name="T12" fmla="*/ 273 w 392"/>
                  <a:gd name="T13" fmla="*/ 246 h 464"/>
                  <a:gd name="T14" fmla="*/ 273 w 392"/>
                  <a:gd name="T15" fmla="*/ 61 h 464"/>
                  <a:gd name="T16" fmla="*/ 246 w 392"/>
                  <a:gd name="T17" fmla="*/ 33 h 464"/>
                  <a:gd name="T18" fmla="*/ 223 w 392"/>
                  <a:gd name="T19" fmla="*/ 41 h 464"/>
                  <a:gd name="T20" fmla="*/ 214 w 392"/>
                  <a:gd name="T21" fmla="*/ 161 h 464"/>
                  <a:gd name="T22" fmla="*/ 208 w 392"/>
                  <a:gd name="T23" fmla="*/ 252 h 464"/>
                  <a:gd name="T24" fmla="*/ 202 w 392"/>
                  <a:gd name="T25" fmla="*/ 246 h 464"/>
                  <a:gd name="T26" fmla="*/ 202 w 392"/>
                  <a:gd name="T27" fmla="*/ 27 h 464"/>
                  <a:gd name="T28" fmla="*/ 174 w 392"/>
                  <a:gd name="T29" fmla="*/ 0 h 464"/>
                  <a:gd name="T30" fmla="*/ 151 w 392"/>
                  <a:gd name="T31" fmla="*/ 8 h 464"/>
                  <a:gd name="T32" fmla="*/ 143 w 392"/>
                  <a:gd name="T33" fmla="*/ 195 h 464"/>
                  <a:gd name="T34" fmla="*/ 142 w 392"/>
                  <a:gd name="T35" fmla="*/ 249 h 464"/>
                  <a:gd name="T36" fmla="*/ 130 w 392"/>
                  <a:gd name="T37" fmla="*/ 246 h 464"/>
                  <a:gd name="T38" fmla="*/ 130 w 392"/>
                  <a:gd name="T39" fmla="*/ 55 h 464"/>
                  <a:gd name="T40" fmla="*/ 103 w 392"/>
                  <a:gd name="T41" fmla="*/ 27 h 464"/>
                  <a:gd name="T42" fmla="*/ 80 w 392"/>
                  <a:gd name="T43" fmla="*/ 35 h 464"/>
                  <a:gd name="T44" fmla="*/ 71 w 392"/>
                  <a:gd name="T45" fmla="*/ 92 h 464"/>
                  <a:gd name="T46" fmla="*/ 71 w 392"/>
                  <a:gd name="T47" fmla="*/ 246 h 464"/>
                  <a:gd name="T48" fmla="*/ 62 w 392"/>
                  <a:gd name="T49" fmla="*/ 251 h 464"/>
                  <a:gd name="T50" fmla="*/ 61 w 392"/>
                  <a:gd name="T51" fmla="*/ 250 h 464"/>
                  <a:gd name="T52" fmla="*/ 60 w 392"/>
                  <a:gd name="T53" fmla="*/ 249 h 464"/>
                  <a:gd name="T54" fmla="*/ 59 w 392"/>
                  <a:gd name="T55" fmla="*/ 248 h 464"/>
                  <a:gd name="T56" fmla="*/ 59 w 392"/>
                  <a:gd name="T57" fmla="*/ 246 h 464"/>
                  <a:gd name="T58" fmla="*/ 59 w 392"/>
                  <a:gd name="T59" fmla="*/ 92 h 464"/>
                  <a:gd name="T60" fmla="*/ 31 w 392"/>
                  <a:gd name="T61" fmla="*/ 65 h 464"/>
                  <a:gd name="T62" fmla="*/ 8 w 392"/>
                  <a:gd name="T63" fmla="*/ 73 h 464"/>
                  <a:gd name="T64" fmla="*/ 0 w 392"/>
                  <a:gd name="T65" fmla="*/ 246 h 464"/>
                  <a:gd name="T66" fmla="*/ 0 w 392"/>
                  <a:gd name="T67" fmla="*/ 357 h 464"/>
                  <a:gd name="T68" fmla="*/ 106 w 392"/>
                  <a:gd name="T69" fmla="*/ 464 h 464"/>
                  <a:gd name="T70" fmla="*/ 227 w 392"/>
                  <a:gd name="T71" fmla="*/ 445 h 464"/>
                  <a:gd name="T72" fmla="*/ 379 w 392"/>
                  <a:gd name="T73" fmla="*/ 342 h 464"/>
                  <a:gd name="T74" fmla="*/ 392 w 392"/>
                  <a:gd name="T75" fmla="*/ 319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2" h="464">
                    <a:moveTo>
                      <a:pt x="387" y="304"/>
                    </a:moveTo>
                    <a:cubicBezTo>
                      <a:pt x="386" y="302"/>
                      <a:pt x="386" y="302"/>
                      <a:pt x="386" y="302"/>
                    </a:cubicBezTo>
                    <a:cubicBezTo>
                      <a:pt x="382" y="296"/>
                      <a:pt x="376" y="291"/>
                      <a:pt x="368" y="290"/>
                    </a:cubicBezTo>
                    <a:cubicBezTo>
                      <a:pt x="366" y="289"/>
                      <a:pt x="364" y="289"/>
                      <a:pt x="362" y="289"/>
                    </a:cubicBezTo>
                    <a:cubicBezTo>
                      <a:pt x="356" y="289"/>
                      <a:pt x="351" y="291"/>
                      <a:pt x="346" y="293"/>
                    </a:cubicBezTo>
                    <a:cubicBezTo>
                      <a:pt x="283" y="336"/>
                      <a:pt x="283" y="336"/>
                      <a:pt x="283" y="336"/>
                    </a:cubicBezTo>
                    <a:cubicBezTo>
                      <a:pt x="283" y="336"/>
                      <a:pt x="283" y="336"/>
                      <a:pt x="283" y="336"/>
                    </a:cubicBezTo>
                    <a:cubicBezTo>
                      <a:pt x="283" y="336"/>
                      <a:pt x="283" y="336"/>
                      <a:pt x="283" y="336"/>
                    </a:cubicBezTo>
                    <a:cubicBezTo>
                      <a:pt x="283" y="336"/>
                      <a:pt x="283" y="336"/>
                      <a:pt x="283" y="336"/>
                    </a:cubicBezTo>
                    <a:cubicBezTo>
                      <a:pt x="283" y="337"/>
                      <a:pt x="282" y="337"/>
                      <a:pt x="282" y="337"/>
                    </a:cubicBezTo>
                    <a:cubicBezTo>
                      <a:pt x="279" y="338"/>
                      <a:pt x="274" y="336"/>
                      <a:pt x="274" y="332"/>
                    </a:cubicBezTo>
                    <a:cubicBezTo>
                      <a:pt x="273" y="332"/>
                      <a:pt x="273" y="331"/>
                      <a:pt x="273" y="331"/>
                    </a:cubicBezTo>
                    <a:cubicBezTo>
                      <a:pt x="273" y="331"/>
                      <a:pt x="273" y="331"/>
                      <a:pt x="273" y="331"/>
                    </a:cubicBezTo>
                    <a:cubicBezTo>
                      <a:pt x="273" y="246"/>
                      <a:pt x="273" y="246"/>
                      <a:pt x="273" y="246"/>
                    </a:cubicBezTo>
                    <a:cubicBezTo>
                      <a:pt x="273" y="246"/>
                      <a:pt x="273" y="246"/>
                      <a:pt x="273" y="246"/>
                    </a:cubicBezTo>
                    <a:cubicBezTo>
                      <a:pt x="273" y="61"/>
                      <a:pt x="273" y="61"/>
                      <a:pt x="273" y="61"/>
                    </a:cubicBezTo>
                    <a:cubicBezTo>
                      <a:pt x="273" y="54"/>
                      <a:pt x="271" y="46"/>
                      <a:pt x="265" y="41"/>
                    </a:cubicBezTo>
                    <a:cubicBezTo>
                      <a:pt x="260" y="36"/>
                      <a:pt x="253" y="33"/>
                      <a:pt x="246" y="33"/>
                    </a:cubicBezTo>
                    <a:cubicBezTo>
                      <a:pt x="243" y="33"/>
                      <a:pt x="243" y="33"/>
                      <a:pt x="243" y="33"/>
                    </a:cubicBezTo>
                    <a:cubicBezTo>
                      <a:pt x="236" y="33"/>
                      <a:pt x="229" y="36"/>
                      <a:pt x="223" y="41"/>
                    </a:cubicBezTo>
                    <a:cubicBezTo>
                      <a:pt x="217" y="47"/>
                      <a:pt x="214" y="54"/>
                      <a:pt x="214" y="62"/>
                    </a:cubicBezTo>
                    <a:cubicBezTo>
                      <a:pt x="214" y="161"/>
                      <a:pt x="214" y="161"/>
                      <a:pt x="214" y="161"/>
                    </a:cubicBezTo>
                    <a:cubicBezTo>
                      <a:pt x="214" y="246"/>
                      <a:pt x="214" y="246"/>
                      <a:pt x="214" y="246"/>
                    </a:cubicBezTo>
                    <a:cubicBezTo>
                      <a:pt x="214" y="249"/>
                      <a:pt x="212" y="252"/>
                      <a:pt x="208" y="252"/>
                    </a:cubicBezTo>
                    <a:cubicBezTo>
                      <a:pt x="206" y="252"/>
                      <a:pt x="205" y="251"/>
                      <a:pt x="204" y="250"/>
                    </a:cubicBezTo>
                    <a:cubicBezTo>
                      <a:pt x="203" y="249"/>
                      <a:pt x="202" y="247"/>
                      <a:pt x="202" y="246"/>
                    </a:cubicBezTo>
                    <a:cubicBezTo>
                      <a:pt x="202" y="62"/>
                      <a:pt x="202" y="62"/>
                      <a:pt x="202" y="62"/>
                    </a:cubicBezTo>
                    <a:cubicBezTo>
                      <a:pt x="202" y="27"/>
                      <a:pt x="202" y="27"/>
                      <a:pt x="202" y="27"/>
                    </a:cubicBezTo>
                    <a:cubicBezTo>
                      <a:pt x="202" y="20"/>
                      <a:pt x="199" y="13"/>
                      <a:pt x="194" y="8"/>
                    </a:cubicBezTo>
                    <a:cubicBezTo>
                      <a:pt x="188" y="2"/>
                      <a:pt x="181" y="0"/>
                      <a:pt x="174" y="0"/>
                    </a:cubicBezTo>
                    <a:cubicBezTo>
                      <a:pt x="172" y="0"/>
                      <a:pt x="172" y="0"/>
                      <a:pt x="172" y="0"/>
                    </a:cubicBezTo>
                    <a:cubicBezTo>
                      <a:pt x="164" y="0"/>
                      <a:pt x="157" y="2"/>
                      <a:pt x="151" y="8"/>
                    </a:cubicBezTo>
                    <a:cubicBezTo>
                      <a:pt x="146" y="14"/>
                      <a:pt x="143" y="21"/>
                      <a:pt x="143" y="29"/>
                    </a:cubicBezTo>
                    <a:cubicBezTo>
                      <a:pt x="143" y="195"/>
                      <a:pt x="143" y="195"/>
                      <a:pt x="143" y="195"/>
                    </a:cubicBezTo>
                    <a:cubicBezTo>
                      <a:pt x="143" y="246"/>
                      <a:pt x="143" y="246"/>
                      <a:pt x="143" y="246"/>
                    </a:cubicBezTo>
                    <a:cubicBezTo>
                      <a:pt x="143" y="247"/>
                      <a:pt x="143" y="248"/>
                      <a:pt x="142" y="249"/>
                    </a:cubicBezTo>
                    <a:cubicBezTo>
                      <a:pt x="141" y="251"/>
                      <a:pt x="139" y="252"/>
                      <a:pt x="137" y="252"/>
                    </a:cubicBezTo>
                    <a:cubicBezTo>
                      <a:pt x="133" y="252"/>
                      <a:pt x="130" y="249"/>
                      <a:pt x="130" y="246"/>
                    </a:cubicBezTo>
                    <a:cubicBezTo>
                      <a:pt x="130" y="93"/>
                      <a:pt x="130" y="93"/>
                      <a:pt x="130" y="93"/>
                    </a:cubicBezTo>
                    <a:cubicBezTo>
                      <a:pt x="130" y="55"/>
                      <a:pt x="130" y="55"/>
                      <a:pt x="130" y="55"/>
                    </a:cubicBezTo>
                    <a:cubicBezTo>
                      <a:pt x="130" y="47"/>
                      <a:pt x="128" y="40"/>
                      <a:pt x="122" y="35"/>
                    </a:cubicBezTo>
                    <a:cubicBezTo>
                      <a:pt x="117" y="29"/>
                      <a:pt x="110" y="27"/>
                      <a:pt x="103" y="27"/>
                    </a:cubicBezTo>
                    <a:cubicBezTo>
                      <a:pt x="100" y="27"/>
                      <a:pt x="100" y="27"/>
                      <a:pt x="100" y="27"/>
                    </a:cubicBezTo>
                    <a:cubicBezTo>
                      <a:pt x="93" y="27"/>
                      <a:pt x="86" y="30"/>
                      <a:pt x="80" y="35"/>
                    </a:cubicBezTo>
                    <a:cubicBezTo>
                      <a:pt x="74" y="41"/>
                      <a:pt x="71" y="48"/>
                      <a:pt x="71" y="56"/>
                    </a:cubicBezTo>
                    <a:cubicBezTo>
                      <a:pt x="71" y="92"/>
                      <a:pt x="71" y="92"/>
                      <a:pt x="71" y="92"/>
                    </a:cubicBezTo>
                    <a:cubicBezTo>
                      <a:pt x="71" y="92"/>
                      <a:pt x="71" y="92"/>
                      <a:pt x="71" y="92"/>
                    </a:cubicBezTo>
                    <a:cubicBezTo>
                      <a:pt x="71" y="246"/>
                      <a:pt x="71" y="246"/>
                      <a:pt x="71" y="246"/>
                    </a:cubicBezTo>
                    <a:cubicBezTo>
                      <a:pt x="71" y="249"/>
                      <a:pt x="69" y="252"/>
                      <a:pt x="65" y="252"/>
                    </a:cubicBezTo>
                    <a:cubicBezTo>
                      <a:pt x="64" y="252"/>
                      <a:pt x="63" y="252"/>
                      <a:pt x="62" y="251"/>
                    </a:cubicBezTo>
                    <a:cubicBezTo>
                      <a:pt x="62" y="251"/>
                      <a:pt x="61" y="251"/>
                      <a:pt x="61" y="251"/>
                    </a:cubicBezTo>
                    <a:cubicBezTo>
                      <a:pt x="61" y="250"/>
                      <a:pt x="61" y="250"/>
                      <a:pt x="61" y="250"/>
                    </a:cubicBezTo>
                    <a:cubicBezTo>
                      <a:pt x="61" y="250"/>
                      <a:pt x="61" y="250"/>
                      <a:pt x="60" y="250"/>
                    </a:cubicBezTo>
                    <a:cubicBezTo>
                      <a:pt x="60" y="250"/>
                      <a:pt x="60" y="249"/>
                      <a:pt x="60" y="249"/>
                    </a:cubicBezTo>
                    <a:cubicBezTo>
                      <a:pt x="60" y="249"/>
                      <a:pt x="60" y="249"/>
                      <a:pt x="60" y="249"/>
                    </a:cubicBezTo>
                    <a:cubicBezTo>
                      <a:pt x="60" y="249"/>
                      <a:pt x="60" y="248"/>
                      <a:pt x="59" y="248"/>
                    </a:cubicBezTo>
                    <a:cubicBezTo>
                      <a:pt x="59" y="248"/>
                      <a:pt x="59" y="248"/>
                      <a:pt x="59" y="248"/>
                    </a:cubicBezTo>
                    <a:cubicBezTo>
                      <a:pt x="59" y="247"/>
                      <a:pt x="59" y="247"/>
                      <a:pt x="59" y="246"/>
                    </a:cubicBezTo>
                    <a:cubicBezTo>
                      <a:pt x="59" y="246"/>
                      <a:pt x="59" y="246"/>
                      <a:pt x="59" y="246"/>
                    </a:cubicBezTo>
                    <a:cubicBezTo>
                      <a:pt x="59" y="92"/>
                      <a:pt x="59" y="92"/>
                      <a:pt x="59" y="92"/>
                    </a:cubicBezTo>
                    <a:cubicBezTo>
                      <a:pt x="59" y="85"/>
                      <a:pt x="56" y="78"/>
                      <a:pt x="51" y="73"/>
                    </a:cubicBezTo>
                    <a:cubicBezTo>
                      <a:pt x="45" y="67"/>
                      <a:pt x="38" y="65"/>
                      <a:pt x="31" y="65"/>
                    </a:cubicBezTo>
                    <a:cubicBezTo>
                      <a:pt x="29" y="65"/>
                      <a:pt x="29" y="65"/>
                      <a:pt x="29" y="65"/>
                    </a:cubicBezTo>
                    <a:cubicBezTo>
                      <a:pt x="22" y="65"/>
                      <a:pt x="14" y="67"/>
                      <a:pt x="8" y="73"/>
                    </a:cubicBezTo>
                    <a:cubicBezTo>
                      <a:pt x="3" y="79"/>
                      <a:pt x="0" y="86"/>
                      <a:pt x="0" y="94"/>
                    </a:cubicBezTo>
                    <a:cubicBezTo>
                      <a:pt x="0" y="246"/>
                      <a:pt x="0" y="246"/>
                      <a:pt x="0" y="246"/>
                    </a:cubicBezTo>
                    <a:cubicBezTo>
                      <a:pt x="0" y="246"/>
                      <a:pt x="0" y="246"/>
                      <a:pt x="0" y="246"/>
                    </a:cubicBezTo>
                    <a:cubicBezTo>
                      <a:pt x="0" y="357"/>
                      <a:pt x="0" y="357"/>
                      <a:pt x="0" y="357"/>
                    </a:cubicBezTo>
                    <a:cubicBezTo>
                      <a:pt x="0" y="385"/>
                      <a:pt x="10" y="412"/>
                      <a:pt x="31" y="432"/>
                    </a:cubicBezTo>
                    <a:cubicBezTo>
                      <a:pt x="52" y="453"/>
                      <a:pt x="79" y="464"/>
                      <a:pt x="106" y="464"/>
                    </a:cubicBezTo>
                    <a:cubicBezTo>
                      <a:pt x="167" y="464"/>
                      <a:pt x="167" y="464"/>
                      <a:pt x="167" y="464"/>
                    </a:cubicBezTo>
                    <a:cubicBezTo>
                      <a:pt x="188" y="464"/>
                      <a:pt x="209" y="457"/>
                      <a:pt x="227" y="445"/>
                    </a:cubicBezTo>
                    <a:cubicBezTo>
                      <a:pt x="227" y="445"/>
                      <a:pt x="227" y="445"/>
                      <a:pt x="227" y="445"/>
                    </a:cubicBezTo>
                    <a:cubicBezTo>
                      <a:pt x="379" y="342"/>
                      <a:pt x="379" y="342"/>
                      <a:pt x="379" y="342"/>
                    </a:cubicBezTo>
                    <a:cubicBezTo>
                      <a:pt x="385" y="339"/>
                      <a:pt x="390" y="332"/>
                      <a:pt x="391" y="325"/>
                    </a:cubicBezTo>
                    <a:cubicBezTo>
                      <a:pt x="392" y="323"/>
                      <a:pt x="392" y="321"/>
                      <a:pt x="392" y="319"/>
                    </a:cubicBezTo>
                    <a:cubicBezTo>
                      <a:pt x="392" y="314"/>
                      <a:pt x="390" y="308"/>
                      <a:pt x="387"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9">
                <a:extLst>
                  <a:ext uri="{FF2B5EF4-FFF2-40B4-BE49-F238E27FC236}">
                    <a16:creationId xmlns:a16="http://schemas.microsoft.com/office/drawing/2014/main" id="{E57DF3A7-F8A9-4CD4-8887-7FC9CA557F95}"/>
                  </a:ext>
                </a:extLst>
              </p:cNvPr>
              <p:cNvSpPr>
                <a:spLocks noEditPoints="1"/>
              </p:cNvSpPr>
              <p:nvPr/>
            </p:nvSpPr>
            <p:spPr bwMode="auto">
              <a:xfrm>
                <a:off x="5813724" y="3970597"/>
                <a:ext cx="468966" cy="457114"/>
              </a:xfrm>
              <a:custGeom>
                <a:avLst/>
                <a:gdLst>
                  <a:gd name="T0" fmla="*/ 2076 w 3030"/>
                  <a:gd name="T1" fmla="*/ 0 h 3030"/>
                  <a:gd name="T2" fmla="*/ 1122 w 3030"/>
                  <a:gd name="T3" fmla="*/ 954 h 3030"/>
                  <a:gd name="T4" fmla="*/ 1178 w 3030"/>
                  <a:gd name="T5" fmla="*/ 1290 h 3030"/>
                  <a:gd name="T6" fmla="*/ 0 w 3030"/>
                  <a:gd name="T7" fmla="*/ 2469 h 3030"/>
                  <a:gd name="T8" fmla="*/ 0 w 3030"/>
                  <a:gd name="T9" fmla="*/ 3030 h 3030"/>
                  <a:gd name="T10" fmla="*/ 561 w 3030"/>
                  <a:gd name="T11" fmla="*/ 3030 h 3030"/>
                  <a:gd name="T12" fmla="*/ 561 w 3030"/>
                  <a:gd name="T13" fmla="*/ 2693 h 3030"/>
                  <a:gd name="T14" fmla="*/ 897 w 3030"/>
                  <a:gd name="T15" fmla="*/ 2693 h 3030"/>
                  <a:gd name="T16" fmla="*/ 897 w 3030"/>
                  <a:gd name="T17" fmla="*/ 2357 h 3030"/>
                  <a:gd name="T18" fmla="*/ 1235 w 3030"/>
                  <a:gd name="T19" fmla="*/ 2357 h 3030"/>
                  <a:gd name="T20" fmla="*/ 1739 w 3030"/>
                  <a:gd name="T21" fmla="*/ 1851 h 3030"/>
                  <a:gd name="T22" fmla="*/ 2076 w 3030"/>
                  <a:gd name="T23" fmla="*/ 1908 h 3030"/>
                  <a:gd name="T24" fmla="*/ 3030 w 3030"/>
                  <a:gd name="T25" fmla="*/ 954 h 3030"/>
                  <a:gd name="T26" fmla="*/ 2076 w 3030"/>
                  <a:gd name="T27" fmla="*/ 0 h 3030"/>
                  <a:gd name="T28" fmla="*/ 2357 w 3030"/>
                  <a:gd name="T29" fmla="*/ 1010 h 3030"/>
                  <a:gd name="T30" fmla="*/ 2020 w 3030"/>
                  <a:gd name="T31" fmla="*/ 674 h 3030"/>
                  <a:gd name="T32" fmla="*/ 2357 w 3030"/>
                  <a:gd name="T33" fmla="*/ 337 h 3030"/>
                  <a:gd name="T34" fmla="*/ 2693 w 3030"/>
                  <a:gd name="T35" fmla="*/ 674 h 3030"/>
                  <a:gd name="T36" fmla="*/ 2357 w 3030"/>
                  <a:gd name="T37" fmla="*/ 1010 h 3030"/>
                  <a:gd name="T38" fmla="*/ 2357 w 3030"/>
                  <a:gd name="T39" fmla="*/ 1010 h 3030"/>
                  <a:gd name="T40" fmla="*/ 2357 w 3030"/>
                  <a:gd name="T41" fmla="*/ 1010 h 3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0" h="3030">
                    <a:moveTo>
                      <a:pt x="2076" y="0"/>
                    </a:moveTo>
                    <a:cubicBezTo>
                      <a:pt x="1548" y="0"/>
                      <a:pt x="1122" y="426"/>
                      <a:pt x="1122" y="954"/>
                    </a:cubicBezTo>
                    <a:cubicBezTo>
                      <a:pt x="1122" y="1066"/>
                      <a:pt x="1145" y="1178"/>
                      <a:pt x="1178" y="1290"/>
                    </a:cubicBezTo>
                    <a:cubicBezTo>
                      <a:pt x="0" y="2469"/>
                      <a:pt x="0" y="2469"/>
                      <a:pt x="0" y="2469"/>
                    </a:cubicBezTo>
                    <a:cubicBezTo>
                      <a:pt x="0" y="3030"/>
                      <a:pt x="0" y="3030"/>
                      <a:pt x="0" y="3030"/>
                    </a:cubicBezTo>
                    <a:cubicBezTo>
                      <a:pt x="561" y="3030"/>
                      <a:pt x="561" y="3030"/>
                      <a:pt x="561" y="3030"/>
                    </a:cubicBezTo>
                    <a:cubicBezTo>
                      <a:pt x="561" y="2693"/>
                      <a:pt x="561" y="2693"/>
                      <a:pt x="561" y="2693"/>
                    </a:cubicBezTo>
                    <a:cubicBezTo>
                      <a:pt x="897" y="2693"/>
                      <a:pt x="897" y="2693"/>
                      <a:pt x="897" y="2693"/>
                    </a:cubicBezTo>
                    <a:cubicBezTo>
                      <a:pt x="897" y="2357"/>
                      <a:pt x="897" y="2357"/>
                      <a:pt x="897" y="2357"/>
                    </a:cubicBezTo>
                    <a:cubicBezTo>
                      <a:pt x="1235" y="2357"/>
                      <a:pt x="1235" y="2357"/>
                      <a:pt x="1235" y="2357"/>
                    </a:cubicBezTo>
                    <a:cubicBezTo>
                      <a:pt x="1739" y="1851"/>
                      <a:pt x="1739" y="1851"/>
                      <a:pt x="1739" y="1851"/>
                    </a:cubicBezTo>
                    <a:cubicBezTo>
                      <a:pt x="1840" y="1885"/>
                      <a:pt x="1953" y="1908"/>
                      <a:pt x="2076" y="1908"/>
                    </a:cubicBezTo>
                    <a:cubicBezTo>
                      <a:pt x="2603" y="1908"/>
                      <a:pt x="3030" y="1481"/>
                      <a:pt x="3030" y="954"/>
                    </a:cubicBezTo>
                    <a:cubicBezTo>
                      <a:pt x="3030" y="426"/>
                      <a:pt x="2603" y="0"/>
                      <a:pt x="2076" y="0"/>
                    </a:cubicBezTo>
                    <a:close/>
                    <a:moveTo>
                      <a:pt x="2357" y="1010"/>
                    </a:moveTo>
                    <a:cubicBezTo>
                      <a:pt x="2166" y="1010"/>
                      <a:pt x="2020" y="864"/>
                      <a:pt x="2020" y="674"/>
                    </a:cubicBezTo>
                    <a:cubicBezTo>
                      <a:pt x="2020" y="483"/>
                      <a:pt x="2166" y="337"/>
                      <a:pt x="2357" y="337"/>
                    </a:cubicBezTo>
                    <a:cubicBezTo>
                      <a:pt x="2547" y="337"/>
                      <a:pt x="2693" y="483"/>
                      <a:pt x="2693" y="674"/>
                    </a:cubicBezTo>
                    <a:cubicBezTo>
                      <a:pt x="2693" y="864"/>
                      <a:pt x="2547" y="1010"/>
                      <a:pt x="2357" y="1010"/>
                    </a:cubicBezTo>
                    <a:close/>
                    <a:moveTo>
                      <a:pt x="2357" y="1010"/>
                    </a:moveTo>
                    <a:cubicBezTo>
                      <a:pt x="2357" y="1010"/>
                      <a:pt x="2357" y="1010"/>
                      <a:pt x="2357" y="10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0692401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46" name="Conector reto 49">
            <a:extLst>
              <a:ext uri="{FF2B5EF4-FFF2-40B4-BE49-F238E27FC236}">
                <a16:creationId xmlns:a16="http://schemas.microsoft.com/office/drawing/2014/main" id="{53B132BD-11B6-4035-B31F-4BF0EFBE2BA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7" name="Rectangle 27">
            <a:extLst>
              <a:ext uri="{FF2B5EF4-FFF2-40B4-BE49-F238E27FC236}">
                <a16:creationId xmlns:a16="http://schemas.microsoft.com/office/drawing/2014/main" id="{B94218B0-A5A7-48CC-8522-EC272BE024D8}"/>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8" name="Retângulo 43">
            <a:extLst>
              <a:ext uri="{FF2B5EF4-FFF2-40B4-BE49-F238E27FC236}">
                <a16:creationId xmlns:a16="http://schemas.microsoft.com/office/drawing/2014/main" id="{DEE77485-7156-47D6-A810-FD12E8A11EA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8" name="Text Placeholder 7">
            <a:extLst>
              <a:ext uri="{FF2B5EF4-FFF2-40B4-BE49-F238E27FC236}">
                <a16:creationId xmlns:a16="http://schemas.microsoft.com/office/drawing/2014/main" id="{FA9A38A4-D277-435D-A262-005F5AF4ABF4}"/>
              </a:ext>
            </a:extLst>
          </p:cNvPr>
          <p:cNvSpPr>
            <a:spLocks noGrp="1"/>
          </p:cNvSpPr>
          <p:nvPr>
            <p:ph type="body" sz="quarter" idx="10"/>
          </p:nvPr>
        </p:nvSpPr>
        <p:spPr>
          <a:xfrm>
            <a:off x="407988" y="1179642"/>
            <a:ext cx="2716212" cy="574380"/>
          </a:xfrm>
        </p:spPr>
        <p:txBody>
          <a:bodyPr>
            <a:normAutofit/>
          </a:bodyPr>
          <a:lstStyle>
            <a:lvl1pPr>
              <a:defRPr lang="en-US" sz="1800" b="1" kern="1200" dirty="0" smtClean="0">
                <a:solidFill>
                  <a:srgbClr val="12ABDB"/>
                </a:solidFill>
                <a:latin typeface="+mn-lt"/>
                <a:ea typeface="+mn-ea"/>
                <a:cs typeface="Ubuntu Bold"/>
              </a:defRPr>
            </a:lvl1pPr>
          </a:lstStyle>
          <a:p>
            <a:pPr marL="0" lvl="0" algn="l" defTabSz="914400" rtl="0" eaLnBrk="1" latinLnBrk="0" hangingPunct="1"/>
            <a:endParaRPr lang="en-US" dirty="0"/>
          </a:p>
        </p:txBody>
      </p:sp>
      <p:sp>
        <p:nvSpPr>
          <p:cNvPr id="103" name="Text Placeholder 7">
            <a:extLst>
              <a:ext uri="{FF2B5EF4-FFF2-40B4-BE49-F238E27FC236}">
                <a16:creationId xmlns:a16="http://schemas.microsoft.com/office/drawing/2014/main" id="{9EC04B20-B8DD-4F7E-888D-0F1023A34D69}"/>
              </a:ext>
            </a:extLst>
          </p:cNvPr>
          <p:cNvSpPr>
            <a:spLocks noGrp="1"/>
          </p:cNvSpPr>
          <p:nvPr>
            <p:ph type="body" sz="quarter" idx="11"/>
          </p:nvPr>
        </p:nvSpPr>
        <p:spPr>
          <a:xfrm>
            <a:off x="407988" y="1820664"/>
            <a:ext cx="2716212" cy="574380"/>
          </a:xfrm>
        </p:spPr>
        <p:txBody>
          <a:bodyPr>
            <a:normAutofit/>
          </a:bodyPr>
          <a:lstStyle>
            <a:lvl1pPr>
              <a:defRPr lang="en-US" sz="1200" kern="1200" dirty="0" smtClean="0">
                <a:solidFill>
                  <a:schemeClr val="accent3"/>
                </a:solidFill>
                <a:latin typeface="+mn-lt"/>
                <a:ea typeface="+mn-ea"/>
                <a:cs typeface="Ubuntu Light"/>
              </a:defRPr>
            </a:lvl1pPr>
          </a:lstStyle>
          <a:p>
            <a:pPr marL="0" lvl="0" algn="l" defTabSz="914400" rtl="0" eaLnBrk="1" latinLnBrk="0" hangingPunct="1">
              <a:lnSpc>
                <a:spcPct val="110000"/>
              </a:lnSpc>
            </a:pPr>
            <a:endParaRPr lang="en-US" dirty="0"/>
          </a:p>
        </p:txBody>
      </p:sp>
      <p:sp>
        <p:nvSpPr>
          <p:cNvPr id="104" name="Text Placeholder 7">
            <a:extLst>
              <a:ext uri="{FF2B5EF4-FFF2-40B4-BE49-F238E27FC236}">
                <a16:creationId xmlns:a16="http://schemas.microsoft.com/office/drawing/2014/main" id="{BFBD255A-17FE-4841-A7A1-4D2CFDCEB999}"/>
              </a:ext>
            </a:extLst>
          </p:cNvPr>
          <p:cNvSpPr>
            <a:spLocks noGrp="1"/>
          </p:cNvSpPr>
          <p:nvPr>
            <p:ph type="body" sz="quarter" idx="12"/>
          </p:nvPr>
        </p:nvSpPr>
        <p:spPr>
          <a:xfrm>
            <a:off x="407988" y="2649587"/>
            <a:ext cx="2716212" cy="574380"/>
          </a:xfrm>
        </p:spPr>
        <p:txBody>
          <a:bodyPr>
            <a:normAutofit/>
          </a:bodyPr>
          <a:lstStyle>
            <a:lvl1pPr>
              <a:defRPr lang="en-US" sz="1800" b="1" kern="1200" dirty="0" smtClean="0">
                <a:solidFill>
                  <a:srgbClr val="00C37B"/>
                </a:solidFill>
                <a:latin typeface="+mn-lt"/>
                <a:ea typeface="+mn-ea"/>
                <a:cs typeface="Ubuntu Bold"/>
              </a:defRPr>
            </a:lvl1pPr>
          </a:lstStyle>
          <a:p>
            <a:pPr marL="0" lvl="0" algn="l" defTabSz="914400" rtl="0" eaLnBrk="1" latinLnBrk="0" hangingPunct="1"/>
            <a:endParaRPr lang="en-US" dirty="0"/>
          </a:p>
        </p:txBody>
      </p:sp>
      <p:sp>
        <p:nvSpPr>
          <p:cNvPr id="105" name="Text Placeholder 7">
            <a:extLst>
              <a:ext uri="{FF2B5EF4-FFF2-40B4-BE49-F238E27FC236}">
                <a16:creationId xmlns:a16="http://schemas.microsoft.com/office/drawing/2014/main" id="{C8E0E1A2-1052-435F-81D7-30A67F00C099}"/>
              </a:ext>
            </a:extLst>
          </p:cNvPr>
          <p:cNvSpPr>
            <a:spLocks noGrp="1"/>
          </p:cNvSpPr>
          <p:nvPr>
            <p:ph type="body" sz="quarter" idx="13"/>
          </p:nvPr>
        </p:nvSpPr>
        <p:spPr>
          <a:xfrm>
            <a:off x="407988" y="3290609"/>
            <a:ext cx="2716212" cy="574380"/>
          </a:xfrm>
        </p:spPr>
        <p:txBody>
          <a:bodyPr>
            <a:normAutofit/>
          </a:bodyPr>
          <a:lstStyle>
            <a:lvl1pPr>
              <a:defRPr lang="en-US" sz="1200" kern="1200" dirty="0" smtClean="0">
                <a:solidFill>
                  <a:schemeClr val="accent3"/>
                </a:solidFill>
                <a:latin typeface="+mn-lt"/>
                <a:ea typeface="+mn-ea"/>
                <a:cs typeface="Ubuntu Light"/>
              </a:defRPr>
            </a:lvl1pPr>
          </a:lstStyle>
          <a:p>
            <a:pPr marL="0" lvl="0" algn="l" defTabSz="914400" rtl="0" eaLnBrk="1" latinLnBrk="0" hangingPunct="1">
              <a:lnSpc>
                <a:spcPct val="110000"/>
              </a:lnSpc>
            </a:pPr>
            <a:endParaRPr lang="en-US" dirty="0"/>
          </a:p>
        </p:txBody>
      </p:sp>
      <p:sp>
        <p:nvSpPr>
          <p:cNvPr id="106" name="Text Placeholder 7">
            <a:extLst>
              <a:ext uri="{FF2B5EF4-FFF2-40B4-BE49-F238E27FC236}">
                <a16:creationId xmlns:a16="http://schemas.microsoft.com/office/drawing/2014/main" id="{42C44955-6031-48B9-91EE-789F6127DE22}"/>
              </a:ext>
            </a:extLst>
          </p:cNvPr>
          <p:cNvSpPr>
            <a:spLocks noGrp="1"/>
          </p:cNvSpPr>
          <p:nvPr>
            <p:ph type="body" sz="quarter" idx="14"/>
          </p:nvPr>
        </p:nvSpPr>
        <p:spPr>
          <a:xfrm>
            <a:off x="407988" y="4092265"/>
            <a:ext cx="2716212" cy="574380"/>
          </a:xfrm>
        </p:spPr>
        <p:txBody>
          <a:bodyPr>
            <a:normAutofit/>
          </a:bodyPr>
          <a:lstStyle>
            <a:lvl1pPr>
              <a:defRPr lang="en-US" sz="1800" b="1" kern="1200" dirty="0" smtClean="0">
                <a:solidFill>
                  <a:srgbClr val="95E616"/>
                </a:solidFill>
                <a:latin typeface="+mn-lt"/>
                <a:ea typeface="+mn-ea"/>
                <a:cs typeface="Ubuntu Bold"/>
              </a:defRPr>
            </a:lvl1pPr>
          </a:lstStyle>
          <a:p>
            <a:pPr marL="0" lvl="0" algn="l" defTabSz="914400" rtl="0" eaLnBrk="1" latinLnBrk="0" hangingPunct="1"/>
            <a:endParaRPr lang="en-US" dirty="0"/>
          </a:p>
        </p:txBody>
      </p:sp>
      <p:sp>
        <p:nvSpPr>
          <p:cNvPr id="107" name="Text Placeholder 7">
            <a:extLst>
              <a:ext uri="{FF2B5EF4-FFF2-40B4-BE49-F238E27FC236}">
                <a16:creationId xmlns:a16="http://schemas.microsoft.com/office/drawing/2014/main" id="{FA3EBA3B-79BB-47EA-8F66-96860FE16A81}"/>
              </a:ext>
            </a:extLst>
          </p:cNvPr>
          <p:cNvSpPr>
            <a:spLocks noGrp="1"/>
          </p:cNvSpPr>
          <p:nvPr>
            <p:ph type="body" sz="quarter" idx="15"/>
          </p:nvPr>
        </p:nvSpPr>
        <p:spPr>
          <a:xfrm>
            <a:off x="407988" y="4733287"/>
            <a:ext cx="2716212" cy="574380"/>
          </a:xfrm>
        </p:spPr>
        <p:txBody>
          <a:bodyPr>
            <a:normAutofit/>
          </a:bodyPr>
          <a:lstStyle>
            <a:lvl1pPr>
              <a:defRPr lang="en-US" sz="1200" kern="1200" dirty="0" smtClean="0">
                <a:solidFill>
                  <a:schemeClr val="accent3"/>
                </a:solidFill>
                <a:latin typeface="+mn-lt"/>
                <a:ea typeface="+mn-ea"/>
                <a:cs typeface="Ubuntu Light"/>
              </a:defRPr>
            </a:lvl1pPr>
          </a:lstStyle>
          <a:p>
            <a:pPr marL="0" lvl="0" algn="l" defTabSz="914400" rtl="0" eaLnBrk="1" latinLnBrk="0" hangingPunct="1">
              <a:lnSpc>
                <a:spcPct val="110000"/>
              </a:lnSpc>
            </a:pPr>
            <a:endParaRPr lang="en-US" dirty="0"/>
          </a:p>
        </p:txBody>
      </p:sp>
      <p:sp>
        <p:nvSpPr>
          <p:cNvPr id="108" name="Text Placeholder 7">
            <a:extLst>
              <a:ext uri="{FF2B5EF4-FFF2-40B4-BE49-F238E27FC236}">
                <a16:creationId xmlns:a16="http://schemas.microsoft.com/office/drawing/2014/main" id="{A6EA7D7D-9DC5-4D10-A82C-3EEB055EF781}"/>
              </a:ext>
            </a:extLst>
          </p:cNvPr>
          <p:cNvSpPr>
            <a:spLocks noGrp="1"/>
          </p:cNvSpPr>
          <p:nvPr>
            <p:ph type="body" sz="quarter" idx="16"/>
          </p:nvPr>
        </p:nvSpPr>
        <p:spPr>
          <a:xfrm>
            <a:off x="3883566" y="1179642"/>
            <a:ext cx="2716212" cy="574380"/>
          </a:xfrm>
        </p:spPr>
        <p:txBody>
          <a:bodyPr>
            <a:normAutofit/>
          </a:bodyPr>
          <a:lstStyle>
            <a:lvl1pPr>
              <a:defRPr lang="en-US" sz="1800" b="1" kern="1200" dirty="0" smtClean="0">
                <a:solidFill>
                  <a:schemeClr val="accent4"/>
                </a:solidFill>
                <a:latin typeface="+mn-lt"/>
                <a:ea typeface="+mn-ea"/>
                <a:cs typeface="Ubuntu Bold"/>
              </a:defRPr>
            </a:lvl1pPr>
          </a:lstStyle>
          <a:p>
            <a:pPr marL="0" lvl="0" algn="l" defTabSz="914400" rtl="0" eaLnBrk="1" latinLnBrk="0" hangingPunct="1"/>
            <a:endParaRPr lang="en-US" dirty="0"/>
          </a:p>
        </p:txBody>
      </p:sp>
      <p:sp>
        <p:nvSpPr>
          <p:cNvPr id="109" name="Text Placeholder 7">
            <a:extLst>
              <a:ext uri="{FF2B5EF4-FFF2-40B4-BE49-F238E27FC236}">
                <a16:creationId xmlns:a16="http://schemas.microsoft.com/office/drawing/2014/main" id="{03A7CD54-1903-4A1F-9383-B540EFDE3A94}"/>
              </a:ext>
            </a:extLst>
          </p:cNvPr>
          <p:cNvSpPr>
            <a:spLocks noGrp="1"/>
          </p:cNvSpPr>
          <p:nvPr>
            <p:ph type="body" sz="quarter" idx="17"/>
          </p:nvPr>
        </p:nvSpPr>
        <p:spPr>
          <a:xfrm>
            <a:off x="3883566" y="1820664"/>
            <a:ext cx="2716212" cy="574380"/>
          </a:xfrm>
        </p:spPr>
        <p:txBody>
          <a:bodyPr>
            <a:normAutofit/>
          </a:bodyPr>
          <a:lstStyle>
            <a:lvl1pPr>
              <a:defRPr lang="en-US" sz="1200" kern="1200" dirty="0" smtClean="0">
                <a:solidFill>
                  <a:schemeClr val="accent3"/>
                </a:solidFill>
                <a:latin typeface="+mn-lt"/>
                <a:ea typeface="+mn-ea"/>
                <a:cs typeface="Ubuntu Light"/>
              </a:defRPr>
            </a:lvl1pPr>
          </a:lstStyle>
          <a:p>
            <a:pPr marL="0" lvl="0" algn="l" defTabSz="914400" rtl="0" eaLnBrk="1" latinLnBrk="0" hangingPunct="1">
              <a:lnSpc>
                <a:spcPct val="110000"/>
              </a:lnSpc>
            </a:pPr>
            <a:endParaRPr lang="en-US" dirty="0"/>
          </a:p>
        </p:txBody>
      </p:sp>
      <p:sp>
        <p:nvSpPr>
          <p:cNvPr id="110" name="Text Placeholder 7">
            <a:extLst>
              <a:ext uri="{FF2B5EF4-FFF2-40B4-BE49-F238E27FC236}">
                <a16:creationId xmlns:a16="http://schemas.microsoft.com/office/drawing/2014/main" id="{40B1914D-90E9-4DB5-A5B7-696AAC461875}"/>
              </a:ext>
            </a:extLst>
          </p:cNvPr>
          <p:cNvSpPr>
            <a:spLocks noGrp="1"/>
          </p:cNvSpPr>
          <p:nvPr>
            <p:ph type="body" sz="quarter" idx="18"/>
          </p:nvPr>
        </p:nvSpPr>
        <p:spPr>
          <a:xfrm>
            <a:off x="3883566" y="2649587"/>
            <a:ext cx="2716212" cy="574380"/>
          </a:xfrm>
        </p:spPr>
        <p:txBody>
          <a:bodyPr>
            <a:normAutofit/>
          </a:bodyPr>
          <a:lstStyle>
            <a:lvl1pPr>
              <a:defRPr lang="en-US" sz="1800" b="1" kern="1200" dirty="0" smtClean="0">
                <a:solidFill>
                  <a:srgbClr val="4701A7"/>
                </a:solidFill>
                <a:latin typeface="+mn-lt"/>
                <a:ea typeface="+mn-ea"/>
                <a:cs typeface="Ubuntu Bold"/>
              </a:defRPr>
            </a:lvl1pPr>
          </a:lstStyle>
          <a:p>
            <a:pPr marL="0" lvl="0" algn="l" defTabSz="914400" rtl="0" eaLnBrk="1" latinLnBrk="0" hangingPunct="1"/>
            <a:endParaRPr lang="en-US" dirty="0"/>
          </a:p>
        </p:txBody>
      </p:sp>
      <p:sp>
        <p:nvSpPr>
          <p:cNvPr id="111" name="Text Placeholder 7">
            <a:extLst>
              <a:ext uri="{FF2B5EF4-FFF2-40B4-BE49-F238E27FC236}">
                <a16:creationId xmlns:a16="http://schemas.microsoft.com/office/drawing/2014/main" id="{1280120F-B16C-4B55-ACF0-7C283D496853}"/>
              </a:ext>
            </a:extLst>
          </p:cNvPr>
          <p:cNvSpPr>
            <a:spLocks noGrp="1"/>
          </p:cNvSpPr>
          <p:nvPr>
            <p:ph type="body" sz="quarter" idx="19"/>
          </p:nvPr>
        </p:nvSpPr>
        <p:spPr>
          <a:xfrm>
            <a:off x="3883566" y="3290609"/>
            <a:ext cx="2716212" cy="574380"/>
          </a:xfrm>
        </p:spPr>
        <p:txBody>
          <a:bodyPr>
            <a:normAutofit/>
          </a:bodyPr>
          <a:lstStyle>
            <a:lvl1pPr>
              <a:defRPr lang="en-US" sz="1200" kern="1200" dirty="0" smtClean="0">
                <a:solidFill>
                  <a:schemeClr val="accent3"/>
                </a:solidFill>
                <a:latin typeface="+mn-lt"/>
                <a:ea typeface="+mn-ea"/>
                <a:cs typeface="Ubuntu Light"/>
              </a:defRPr>
            </a:lvl1pPr>
          </a:lstStyle>
          <a:p>
            <a:pPr marL="0" lvl="0" algn="l" defTabSz="914400" rtl="0" eaLnBrk="1" latinLnBrk="0" hangingPunct="1">
              <a:lnSpc>
                <a:spcPct val="110000"/>
              </a:lnSpc>
            </a:pPr>
            <a:endParaRPr lang="en-US" dirty="0"/>
          </a:p>
        </p:txBody>
      </p:sp>
      <p:sp>
        <p:nvSpPr>
          <p:cNvPr id="112" name="Text Placeholder 7">
            <a:extLst>
              <a:ext uri="{FF2B5EF4-FFF2-40B4-BE49-F238E27FC236}">
                <a16:creationId xmlns:a16="http://schemas.microsoft.com/office/drawing/2014/main" id="{83D3F6E0-2530-45AD-AE05-A88834AA8E79}"/>
              </a:ext>
            </a:extLst>
          </p:cNvPr>
          <p:cNvSpPr>
            <a:spLocks noGrp="1"/>
          </p:cNvSpPr>
          <p:nvPr>
            <p:ph type="body" sz="quarter" idx="20"/>
          </p:nvPr>
        </p:nvSpPr>
        <p:spPr>
          <a:xfrm>
            <a:off x="3883566" y="4092265"/>
            <a:ext cx="2716212" cy="574380"/>
          </a:xfrm>
        </p:spPr>
        <p:txBody>
          <a:bodyPr>
            <a:normAutofit/>
          </a:bodyPr>
          <a:lstStyle>
            <a:lvl1pPr>
              <a:defRPr lang="en-US" sz="1800" b="1" kern="1200" dirty="0" smtClean="0">
                <a:solidFill>
                  <a:srgbClr val="FF7E83"/>
                </a:solidFill>
                <a:latin typeface="+mn-lt"/>
                <a:ea typeface="+mn-ea"/>
                <a:cs typeface="Ubuntu Bold"/>
              </a:defRPr>
            </a:lvl1pPr>
          </a:lstStyle>
          <a:p>
            <a:pPr marL="0" lvl="0" algn="l" defTabSz="914400" rtl="0" eaLnBrk="1" latinLnBrk="0" hangingPunct="1"/>
            <a:endParaRPr lang="en-US" dirty="0"/>
          </a:p>
        </p:txBody>
      </p:sp>
      <p:sp>
        <p:nvSpPr>
          <p:cNvPr id="113" name="Text Placeholder 7">
            <a:extLst>
              <a:ext uri="{FF2B5EF4-FFF2-40B4-BE49-F238E27FC236}">
                <a16:creationId xmlns:a16="http://schemas.microsoft.com/office/drawing/2014/main" id="{069BAD8A-CBFD-4952-92DE-A0D5BD333ED2}"/>
              </a:ext>
            </a:extLst>
          </p:cNvPr>
          <p:cNvSpPr>
            <a:spLocks noGrp="1"/>
          </p:cNvSpPr>
          <p:nvPr>
            <p:ph type="body" sz="quarter" idx="21"/>
          </p:nvPr>
        </p:nvSpPr>
        <p:spPr>
          <a:xfrm>
            <a:off x="3883566" y="4733287"/>
            <a:ext cx="2716212" cy="574380"/>
          </a:xfrm>
        </p:spPr>
        <p:txBody>
          <a:bodyPr>
            <a:normAutofit/>
          </a:bodyPr>
          <a:lstStyle>
            <a:lvl1pPr>
              <a:defRPr lang="en-US" sz="1200" kern="1200" dirty="0" smtClean="0">
                <a:solidFill>
                  <a:schemeClr val="accent3"/>
                </a:solidFill>
                <a:latin typeface="+mn-lt"/>
                <a:ea typeface="+mn-ea"/>
                <a:cs typeface="Ubuntu Light"/>
              </a:defRPr>
            </a:lvl1pPr>
          </a:lstStyle>
          <a:p>
            <a:pPr marL="0" lvl="0" algn="l" defTabSz="914400" rtl="0" eaLnBrk="1" latinLnBrk="0" hangingPunct="1">
              <a:lnSpc>
                <a:spcPct val="110000"/>
              </a:lnSpc>
            </a:pPr>
            <a:endParaRPr lang="en-US" dirty="0"/>
          </a:p>
        </p:txBody>
      </p:sp>
      <p:sp>
        <p:nvSpPr>
          <p:cNvPr id="114" name="Text Placeholder 7">
            <a:extLst>
              <a:ext uri="{FF2B5EF4-FFF2-40B4-BE49-F238E27FC236}">
                <a16:creationId xmlns:a16="http://schemas.microsoft.com/office/drawing/2014/main" id="{A34FA587-0199-40AF-A43C-E140A34B2FA1}"/>
              </a:ext>
            </a:extLst>
          </p:cNvPr>
          <p:cNvSpPr>
            <a:spLocks noGrp="1"/>
          </p:cNvSpPr>
          <p:nvPr>
            <p:ph type="body" sz="quarter" idx="22"/>
          </p:nvPr>
        </p:nvSpPr>
        <p:spPr>
          <a:xfrm>
            <a:off x="407987" y="5538722"/>
            <a:ext cx="6191781" cy="334554"/>
          </a:xfrm>
        </p:spPr>
        <p:txBody>
          <a:bodyPr>
            <a:normAutofit/>
          </a:bodyPr>
          <a:lstStyle>
            <a:lvl1pPr>
              <a:defRPr lang="en-US" sz="1800" b="1" kern="1200" dirty="0" smtClean="0">
                <a:solidFill>
                  <a:srgbClr val="FF6327"/>
                </a:solidFill>
                <a:latin typeface="+mn-lt"/>
                <a:ea typeface="+mn-ea"/>
                <a:cs typeface="Ubuntu Bold"/>
              </a:defRPr>
            </a:lvl1pPr>
          </a:lstStyle>
          <a:p>
            <a:pPr marL="0" lvl="0" algn="l" defTabSz="914400" rtl="0" eaLnBrk="1" latinLnBrk="0" hangingPunct="1"/>
            <a:endParaRPr lang="en-US" dirty="0"/>
          </a:p>
        </p:txBody>
      </p:sp>
      <p:sp>
        <p:nvSpPr>
          <p:cNvPr id="115" name="Text Placeholder 7">
            <a:extLst>
              <a:ext uri="{FF2B5EF4-FFF2-40B4-BE49-F238E27FC236}">
                <a16:creationId xmlns:a16="http://schemas.microsoft.com/office/drawing/2014/main" id="{A7A5A1F7-5E2F-4DE8-B340-8462B0C00EC4}"/>
              </a:ext>
            </a:extLst>
          </p:cNvPr>
          <p:cNvSpPr>
            <a:spLocks noGrp="1"/>
          </p:cNvSpPr>
          <p:nvPr>
            <p:ph type="body" sz="quarter" idx="23"/>
          </p:nvPr>
        </p:nvSpPr>
        <p:spPr>
          <a:xfrm>
            <a:off x="407987" y="5939918"/>
            <a:ext cx="6191781" cy="498590"/>
          </a:xfrm>
        </p:spPr>
        <p:txBody>
          <a:bodyPr>
            <a:normAutofit/>
          </a:bodyPr>
          <a:lstStyle>
            <a:lvl1pPr>
              <a:defRPr lang="en-US" sz="1200" kern="1200" dirty="0" smtClean="0">
                <a:solidFill>
                  <a:schemeClr val="accent3"/>
                </a:solidFill>
                <a:latin typeface="+mn-lt"/>
                <a:ea typeface="+mn-ea"/>
                <a:cs typeface="Ubuntu Light"/>
              </a:defRPr>
            </a:lvl1pPr>
          </a:lstStyle>
          <a:p>
            <a:pPr marL="0" lvl="0" algn="l" defTabSz="914400" rtl="0" eaLnBrk="1" latinLnBrk="0" hangingPunct="1">
              <a:lnSpc>
                <a:spcPct val="110000"/>
              </a:lnSpc>
            </a:pPr>
            <a:endParaRPr lang="en-US" dirty="0"/>
          </a:p>
        </p:txBody>
      </p:sp>
      <p:grpSp>
        <p:nvGrpSpPr>
          <p:cNvPr id="4" name="Group 3">
            <a:extLst>
              <a:ext uri="{FF2B5EF4-FFF2-40B4-BE49-F238E27FC236}">
                <a16:creationId xmlns:a16="http://schemas.microsoft.com/office/drawing/2014/main" id="{24C55A1A-3361-45A1-BF37-1BF0D11FE319}"/>
              </a:ext>
            </a:extLst>
          </p:cNvPr>
          <p:cNvGrpSpPr/>
          <p:nvPr userDrawn="1"/>
        </p:nvGrpSpPr>
        <p:grpSpPr>
          <a:xfrm>
            <a:off x="7069311" y="1395167"/>
            <a:ext cx="4729906" cy="5260740"/>
            <a:chOff x="7069311" y="1395167"/>
            <a:chExt cx="4729906" cy="5260740"/>
          </a:xfrm>
        </p:grpSpPr>
        <p:pic>
          <p:nvPicPr>
            <p:cNvPr id="102" name="Picture 101">
              <a:extLst>
                <a:ext uri="{FF2B5EF4-FFF2-40B4-BE49-F238E27FC236}">
                  <a16:creationId xmlns:a16="http://schemas.microsoft.com/office/drawing/2014/main" id="{C48EEFC7-6100-4FF6-8FC3-A2184AC3D382}"/>
                </a:ext>
              </a:extLst>
            </p:cNvPr>
            <p:cNvPicPr>
              <a:picLocks noChangeAspect="1"/>
            </p:cNvPicPr>
            <p:nvPr userDrawn="1"/>
          </p:nvPicPr>
          <p:blipFill>
            <a:blip r:embed="rId2"/>
            <a:stretch>
              <a:fillRect/>
            </a:stretch>
          </p:blipFill>
          <p:spPr>
            <a:xfrm>
              <a:off x="7069311" y="1395167"/>
              <a:ext cx="4729906" cy="4788817"/>
            </a:xfrm>
            <a:prstGeom prst="rect">
              <a:avLst/>
            </a:prstGeom>
          </p:spPr>
        </p:pic>
        <p:sp>
          <p:nvSpPr>
            <p:cNvPr id="22" name="Freeform: Shape 21">
              <a:extLst>
                <a:ext uri="{FF2B5EF4-FFF2-40B4-BE49-F238E27FC236}">
                  <a16:creationId xmlns:a16="http://schemas.microsoft.com/office/drawing/2014/main" id="{AB495A3E-5FE9-48CC-A587-E41642D0425A}"/>
                </a:ext>
              </a:extLst>
            </p:cNvPr>
            <p:cNvSpPr/>
            <p:nvPr userDrawn="1"/>
          </p:nvSpPr>
          <p:spPr>
            <a:xfrm rot="4409161">
              <a:off x="7483067" y="4032846"/>
              <a:ext cx="2575625" cy="2670498"/>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610295"/>
                <a:gd name="connsiteY0" fmla="*/ 1731713 h 2237681"/>
                <a:gd name="connsiteX1" fmla="*/ 1490967 w 2610295"/>
                <a:gd name="connsiteY1" fmla="*/ 100392 h 2237681"/>
                <a:gd name="connsiteX2" fmla="*/ 1856817 w 2610295"/>
                <a:gd name="connsiteY2" fmla="*/ 0 h 2237681"/>
                <a:gd name="connsiteX3" fmla="*/ 2610295 w 2610295"/>
                <a:gd name="connsiteY3" fmla="*/ 610899 h 2237681"/>
                <a:gd name="connsiteX4" fmla="*/ 256032 w 2610295"/>
                <a:gd name="connsiteY4" fmla="*/ 2237681 h 2237681"/>
                <a:gd name="connsiteX5" fmla="*/ 0 w 2610295"/>
                <a:gd name="connsiteY5" fmla="*/ 1731713 h 2237681"/>
                <a:gd name="connsiteX0" fmla="*/ 0 w 2610295"/>
                <a:gd name="connsiteY0" fmla="*/ 1838658 h 2344626"/>
                <a:gd name="connsiteX1" fmla="*/ 1490967 w 2610295"/>
                <a:gd name="connsiteY1" fmla="*/ 207337 h 2344626"/>
                <a:gd name="connsiteX2" fmla="*/ 2447427 w 2610295"/>
                <a:gd name="connsiteY2" fmla="*/ 0 h 2344626"/>
                <a:gd name="connsiteX3" fmla="*/ 2610295 w 2610295"/>
                <a:gd name="connsiteY3" fmla="*/ 717844 h 2344626"/>
                <a:gd name="connsiteX4" fmla="*/ 256032 w 2610295"/>
                <a:gd name="connsiteY4" fmla="*/ 2344626 h 2344626"/>
                <a:gd name="connsiteX5" fmla="*/ 0 w 2610295"/>
                <a:gd name="connsiteY5" fmla="*/ 1838658 h 2344626"/>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2178883 h 2684851"/>
                <a:gd name="connsiteX1" fmla="*/ 1623622 w 2610295"/>
                <a:gd name="connsiteY1" fmla="*/ 0 h 2684851"/>
                <a:gd name="connsiteX2" fmla="*/ 2447427 w 2610295"/>
                <a:gd name="connsiteY2" fmla="*/ 340225 h 2684851"/>
                <a:gd name="connsiteX3" fmla="*/ 2610295 w 2610295"/>
                <a:gd name="connsiteY3" fmla="*/ 1058069 h 2684851"/>
                <a:gd name="connsiteX4" fmla="*/ 256032 w 2610295"/>
                <a:gd name="connsiteY4" fmla="*/ 2684851 h 2684851"/>
                <a:gd name="connsiteX5" fmla="*/ 0 w 2610295"/>
                <a:gd name="connsiteY5" fmla="*/ 2178883 h 2684851"/>
                <a:gd name="connsiteX0" fmla="*/ 0 w 2610295"/>
                <a:gd name="connsiteY0" fmla="*/ 2178883 h 2684851"/>
                <a:gd name="connsiteX1" fmla="*/ 1623622 w 2610295"/>
                <a:gd name="connsiteY1" fmla="*/ 0 h 2684851"/>
                <a:gd name="connsiteX2" fmla="*/ 2447427 w 2610295"/>
                <a:gd name="connsiteY2" fmla="*/ 340225 h 2684851"/>
                <a:gd name="connsiteX3" fmla="*/ 2610295 w 2610295"/>
                <a:gd name="connsiteY3" fmla="*/ 1058069 h 2684851"/>
                <a:gd name="connsiteX4" fmla="*/ 256032 w 2610295"/>
                <a:gd name="connsiteY4" fmla="*/ 2684851 h 2684851"/>
                <a:gd name="connsiteX5" fmla="*/ 0 w 2610295"/>
                <a:gd name="connsiteY5" fmla="*/ 2178883 h 2684851"/>
                <a:gd name="connsiteX0" fmla="*/ 0 w 2558945"/>
                <a:gd name="connsiteY0" fmla="*/ 2040277 h 2684851"/>
                <a:gd name="connsiteX1" fmla="*/ 1572272 w 2558945"/>
                <a:gd name="connsiteY1" fmla="*/ 0 h 2684851"/>
                <a:gd name="connsiteX2" fmla="*/ 2396077 w 2558945"/>
                <a:gd name="connsiteY2" fmla="*/ 340225 h 2684851"/>
                <a:gd name="connsiteX3" fmla="*/ 2558945 w 2558945"/>
                <a:gd name="connsiteY3" fmla="*/ 1058069 h 2684851"/>
                <a:gd name="connsiteX4" fmla="*/ 204682 w 2558945"/>
                <a:gd name="connsiteY4" fmla="*/ 2684851 h 2684851"/>
                <a:gd name="connsiteX5" fmla="*/ 0 w 2558945"/>
                <a:gd name="connsiteY5" fmla="*/ 2040277 h 2684851"/>
                <a:gd name="connsiteX0" fmla="*/ 0 w 2558945"/>
                <a:gd name="connsiteY0" fmla="*/ 2040277 h 2684851"/>
                <a:gd name="connsiteX1" fmla="*/ 1572272 w 2558945"/>
                <a:gd name="connsiteY1" fmla="*/ 0 h 2684851"/>
                <a:gd name="connsiteX2" fmla="*/ 2396077 w 2558945"/>
                <a:gd name="connsiteY2" fmla="*/ 340225 h 2684851"/>
                <a:gd name="connsiteX3" fmla="*/ 2558945 w 2558945"/>
                <a:gd name="connsiteY3" fmla="*/ 1058069 h 2684851"/>
                <a:gd name="connsiteX4" fmla="*/ 204682 w 2558945"/>
                <a:gd name="connsiteY4" fmla="*/ 2684851 h 2684851"/>
                <a:gd name="connsiteX5" fmla="*/ 0 w 2558945"/>
                <a:gd name="connsiteY5" fmla="*/ 2040277 h 2684851"/>
                <a:gd name="connsiteX0" fmla="*/ 0 w 2558945"/>
                <a:gd name="connsiteY0" fmla="*/ 2040277 h 2684851"/>
                <a:gd name="connsiteX1" fmla="*/ 1572272 w 2558945"/>
                <a:gd name="connsiteY1" fmla="*/ 0 h 2684851"/>
                <a:gd name="connsiteX2" fmla="*/ 2396077 w 2558945"/>
                <a:gd name="connsiteY2" fmla="*/ 340225 h 2684851"/>
                <a:gd name="connsiteX3" fmla="*/ 2558945 w 2558945"/>
                <a:gd name="connsiteY3" fmla="*/ 1058069 h 2684851"/>
                <a:gd name="connsiteX4" fmla="*/ 204682 w 2558945"/>
                <a:gd name="connsiteY4" fmla="*/ 2684851 h 2684851"/>
                <a:gd name="connsiteX5" fmla="*/ 0 w 2558945"/>
                <a:gd name="connsiteY5" fmla="*/ 2040277 h 2684851"/>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 name="connsiteX0" fmla="*/ 16680 w 2575625"/>
                <a:gd name="connsiteY0" fmla="*/ 2040277 h 2670498"/>
                <a:gd name="connsiteX1" fmla="*/ 1588952 w 2575625"/>
                <a:gd name="connsiteY1" fmla="*/ 0 h 2670498"/>
                <a:gd name="connsiteX2" fmla="*/ 2412757 w 2575625"/>
                <a:gd name="connsiteY2" fmla="*/ 340225 h 2670498"/>
                <a:gd name="connsiteX3" fmla="*/ 2575625 w 2575625"/>
                <a:gd name="connsiteY3" fmla="*/ 1058069 h 2670498"/>
                <a:gd name="connsiteX4" fmla="*/ 0 w 2575625"/>
                <a:gd name="connsiteY4" fmla="*/ 2670498 h 2670498"/>
                <a:gd name="connsiteX5" fmla="*/ 16680 w 2575625"/>
                <a:gd name="connsiteY5" fmla="*/ 2040277 h 267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5625" h="2670498">
                  <a:moveTo>
                    <a:pt x="16680" y="2040277"/>
                  </a:moveTo>
                  <a:cubicBezTo>
                    <a:pt x="848775" y="1883309"/>
                    <a:pt x="1628146" y="558983"/>
                    <a:pt x="1588952" y="0"/>
                  </a:cubicBezTo>
                  <a:cubicBezTo>
                    <a:pt x="1863554" y="113408"/>
                    <a:pt x="2107126" y="-49020"/>
                    <a:pt x="2412757" y="340225"/>
                  </a:cubicBezTo>
                  <a:lnTo>
                    <a:pt x="2575625" y="1058069"/>
                  </a:lnTo>
                  <a:cubicBezTo>
                    <a:pt x="1766301" y="1671668"/>
                    <a:pt x="1179002" y="2504924"/>
                    <a:pt x="0" y="2670498"/>
                  </a:cubicBezTo>
                  <a:lnTo>
                    <a:pt x="16680" y="204027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27E5DBD-46A8-491D-BE25-EA173602DBAD}"/>
                </a:ext>
              </a:extLst>
            </p:cNvPr>
            <p:cNvSpPr/>
            <p:nvPr userDrawn="1"/>
          </p:nvSpPr>
          <p:spPr>
            <a:xfrm rot="1388834">
              <a:off x="7415155" y="2981221"/>
              <a:ext cx="3351333" cy="2821805"/>
            </a:xfrm>
            <a:prstGeom prst="rect">
              <a:avLst/>
            </a:prstGeom>
          </p:spPr>
          <p:txBody>
            <a:bodyPr wrap="none" lIns="0" tIns="0" rIns="0" bIns="0" anchor="t" anchorCtr="1">
              <a:prstTxWarp prst="textArchDown">
                <a:avLst>
                  <a:gd name="adj" fmla="val 1322338"/>
                </a:avLst>
              </a:prstTxWarp>
              <a:noAutofit/>
            </a:bodyPr>
            <a:lstStyle/>
            <a:p>
              <a:pPr algn="ctr"/>
              <a:r>
                <a:rPr lang="en-US" sz="2600" b="1" dirty="0">
                  <a:solidFill>
                    <a:schemeClr val="accent3"/>
                  </a:solidFill>
                  <a:effectLst/>
                  <a:latin typeface="+mj-lt"/>
                  <a:ea typeface="Calibri" panose="020F0502020204030204" pitchFamily="34" charset="0"/>
                </a:rPr>
                <a:t>INSIGHTS &amp; DATA</a:t>
              </a:r>
              <a:endParaRPr lang="en-US" sz="2600" b="1" dirty="0">
                <a:solidFill>
                  <a:schemeClr val="accent3"/>
                </a:solidFill>
                <a:latin typeface="+mj-lt"/>
              </a:endParaRPr>
            </a:p>
          </p:txBody>
        </p:sp>
      </p:grpSp>
    </p:spTree>
    <p:extLst>
      <p:ext uri="{BB962C8B-B14F-4D97-AF65-F5344CB8AC3E}">
        <p14:creationId xmlns:p14="http://schemas.microsoft.com/office/powerpoint/2010/main" val="18402033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555065"/>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242" name="Straight Connector 241">
            <a:extLst>
              <a:ext uri="{FF2B5EF4-FFF2-40B4-BE49-F238E27FC236}">
                <a16:creationId xmlns:a16="http://schemas.microsoft.com/office/drawing/2014/main" id="{0BF8683F-1C16-44A6-85BA-4CFCAE09D781}"/>
              </a:ext>
            </a:extLst>
          </p:cNvPr>
          <p:cNvCxnSpPr/>
          <p:nvPr userDrawn="1"/>
        </p:nvCxnSpPr>
        <p:spPr>
          <a:xfrm>
            <a:off x="1910573" y="1135999"/>
            <a:ext cx="0" cy="1097280"/>
          </a:xfrm>
          <a:prstGeom prst="line">
            <a:avLst/>
          </a:prstGeom>
          <a:noFill/>
          <a:ln w="28575" cap="rnd" cmpd="sng" algn="ctr">
            <a:solidFill>
              <a:srgbClr val="0070AD"/>
            </a:solidFill>
            <a:prstDash val="solid"/>
            <a:round/>
          </a:ln>
          <a:effectLst/>
        </p:spPr>
      </p:cxnSp>
      <p:cxnSp>
        <p:nvCxnSpPr>
          <p:cNvPr id="243" name="Straight Connector 242">
            <a:extLst>
              <a:ext uri="{FF2B5EF4-FFF2-40B4-BE49-F238E27FC236}">
                <a16:creationId xmlns:a16="http://schemas.microsoft.com/office/drawing/2014/main" id="{91108C79-A0EE-47B0-963B-E1B70F2563CE}"/>
              </a:ext>
            </a:extLst>
          </p:cNvPr>
          <p:cNvCxnSpPr/>
          <p:nvPr userDrawn="1"/>
        </p:nvCxnSpPr>
        <p:spPr>
          <a:xfrm>
            <a:off x="1910573" y="2527142"/>
            <a:ext cx="0" cy="1097280"/>
          </a:xfrm>
          <a:prstGeom prst="line">
            <a:avLst/>
          </a:prstGeom>
          <a:noFill/>
          <a:ln w="28575" cap="rnd" cmpd="sng" algn="ctr">
            <a:solidFill>
              <a:srgbClr val="FF304C"/>
            </a:solidFill>
            <a:prstDash val="solid"/>
            <a:round/>
          </a:ln>
          <a:effectLst/>
        </p:spPr>
      </p:cxnSp>
      <p:cxnSp>
        <p:nvCxnSpPr>
          <p:cNvPr id="244" name="Straight Connector 243">
            <a:extLst>
              <a:ext uri="{FF2B5EF4-FFF2-40B4-BE49-F238E27FC236}">
                <a16:creationId xmlns:a16="http://schemas.microsoft.com/office/drawing/2014/main" id="{F16494FF-6E9A-4918-A60A-3F55F722AE89}"/>
              </a:ext>
            </a:extLst>
          </p:cNvPr>
          <p:cNvCxnSpPr/>
          <p:nvPr userDrawn="1"/>
        </p:nvCxnSpPr>
        <p:spPr>
          <a:xfrm>
            <a:off x="1910573" y="3928445"/>
            <a:ext cx="0" cy="1097280"/>
          </a:xfrm>
          <a:prstGeom prst="line">
            <a:avLst/>
          </a:prstGeom>
          <a:noFill/>
          <a:ln w="28575" cap="rnd" cmpd="sng" algn="ctr">
            <a:solidFill>
              <a:srgbClr val="00C37B"/>
            </a:solidFill>
            <a:prstDash val="solid"/>
            <a:round/>
          </a:ln>
          <a:effectLst/>
        </p:spPr>
      </p:cxnSp>
      <p:cxnSp>
        <p:nvCxnSpPr>
          <p:cNvPr id="245" name="Straight Connector 244">
            <a:extLst>
              <a:ext uri="{FF2B5EF4-FFF2-40B4-BE49-F238E27FC236}">
                <a16:creationId xmlns:a16="http://schemas.microsoft.com/office/drawing/2014/main" id="{7424AC32-A164-4262-B66E-11B7EEB78DBF}"/>
              </a:ext>
            </a:extLst>
          </p:cNvPr>
          <p:cNvCxnSpPr/>
          <p:nvPr userDrawn="1"/>
        </p:nvCxnSpPr>
        <p:spPr>
          <a:xfrm>
            <a:off x="1910573" y="5400869"/>
            <a:ext cx="0" cy="1097280"/>
          </a:xfrm>
          <a:prstGeom prst="line">
            <a:avLst/>
          </a:prstGeom>
          <a:noFill/>
          <a:ln w="28575" cap="rnd" cmpd="sng" algn="ctr">
            <a:solidFill>
              <a:srgbClr val="2B143D"/>
            </a:solidFill>
            <a:prstDash val="solid"/>
            <a:round/>
          </a:ln>
          <a:effectLst/>
        </p:spPr>
      </p:cxnSp>
      <p:cxnSp>
        <p:nvCxnSpPr>
          <p:cNvPr id="249" name="Straight Connector 248">
            <a:extLst>
              <a:ext uri="{FF2B5EF4-FFF2-40B4-BE49-F238E27FC236}">
                <a16:creationId xmlns:a16="http://schemas.microsoft.com/office/drawing/2014/main" id="{02977D23-1A46-4A1F-BC90-1ACF4279807C}"/>
              </a:ext>
            </a:extLst>
          </p:cNvPr>
          <p:cNvCxnSpPr/>
          <p:nvPr userDrawn="1"/>
        </p:nvCxnSpPr>
        <p:spPr>
          <a:xfrm>
            <a:off x="7925293" y="1641394"/>
            <a:ext cx="0" cy="1097280"/>
          </a:xfrm>
          <a:prstGeom prst="line">
            <a:avLst/>
          </a:prstGeom>
          <a:noFill/>
          <a:ln w="28575" cap="rnd" cmpd="sng" algn="ctr">
            <a:solidFill>
              <a:srgbClr val="0F999C"/>
            </a:solidFill>
            <a:prstDash val="solid"/>
            <a:round/>
          </a:ln>
          <a:effectLst/>
        </p:spPr>
      </p:cxnSp>
      <p:cxnSp>
        <p:nvCxnSpPr>
          <p:cNvPr id="250" name="Straight Connector 249">
            <a:extLst>
              <a:ext uri="{FF2B5EF4-FFF2-40B4-BE49-F238E27FC236}">
                <a16:creationId xmlns:a16="http://schemas.microsoft.com/office/drawing/2014/main" id="{1C9EB02C-B78F-44F1-8F98-5455B3B4F974}"/>
              </a:ext>
            </a:extLst>
          </p:cNvPr>
          <p:cNvCxnSpPr/>
          <p:nvPr userDrawn="1"/>
        </p:nvCxnSpPr>
        <p:spPr>
          <a:xfrm>
            <a:off x="7925293" y="3240058"/>
            <a:ext cx="0" cy="1097280"/>
          </a:xfrm>
          <a:prstGeom prst="line">
            <a:avLst/>
          </a:prstGeom>
          <a:noFill/>
          <a:ln w="28575" cap="rnd" cmpd="sng" algn="ctr">
            <a:solidFill>
              <a:srgbClr val="7E39BA"/>
            </a:solidFill>
            <a:prstDash val="solid"/>
            <a:round/>
          </a:ln>
          <a:effectLst/>
        </p:spPr>
      </p:cxnSp>
      <p:cxnSp>
        <p:nvCxnSpPr>
          <p:cNvPr id="251" name="Straight Connector 250">
            <a:extLst>
              <a:ext uri="{FF2B5EF4-FFF2-40B4-BE49-F238E27FC236}">
                <a16:creationId xmlns:a16="http://schemas.microsoft.com/office/drawing/2014/main" id="{5DC8213E-5825-4E05-9568-BDC92388E176}"/>
              </a:ext>
            </a:extLst>
          </p:cNvPr>
          <p:cNvCxnSpPr/>
          <p:nvPr userDrawn="1"/>
        </p:nvCxnSpPr>
        <p:spPr>
          <a:xfrm>
            <a:off x="7925293" y="4847891"/>
            <a:ext cx="0" cy="1097280"/>
          </a:xfrm>
          <a:prstGeom prst="line">
            <a:avLst/>
          </a:prstGeom>
          <a:noFill/>
          <a:ln w="28575" cap="rnd" cmpd="sng" algn="ctr">
            <a:solidFill>
              <a:srgbClr val="CB2980"/>
            </a:solidFill>
            <a:prstDash val="solid"/>
            <a:round/>
          </a:ln>
          <a:effectLst/>
        </p:spPr>
      </p:cxnSp>
      <p:cxnSp>
        <p:nvCxnSpPr>
          <p:cNvPr id="252" name="Straight Connector 251">
            <a:extLst>
              <a:ext uri="{FF2B5EF4-FFF2-40B4-BE49-F238E27FC236}">
                <a16:creationId xmlns:a16="http://schemas.microsoft.com/office/drawing/2014/main" id="{9D558168-3D54-4339-8EFB-C7D3F1F19DBF}"/>
              </a:ext>
            </a:extLst>
          </p:cNvPr>
          <p:cNvCxnSpPr/>
          <p:nvPr userDrawn="1"/>
        </p:nvCxnSpPr>
        <p:spPr>
          <a:xfrm>
            <a:off x="6073659" y="1078124"/>
            <a:ext cx="0" cy="5453590"/>
          </a:xfrm>
          <a:prstGeom prst="line">
            <a:avLst/>
          </a:prstGeom>
          <a:noFill/>
          <a:ln w="6350" cap="flat" cmpd="sng" algn="ctr">
            <a:solidFill>
              <a:srgbClr val="2B143D"/>
            </a:solidFill>
            <a:prstDash val="dash"/>
            <a:miter lim="800000"/>
          </a:ln>
          <a:effectLst/>
        </p:spPr>
      </p:cxnSp>
      <p:grpSp>
        <p:nvGrpSpPr>
          <p:cNvPr id="253" name="Group 252">
            <a:extLst>
              <a:ext uri="{FF2B5EF4-FFF2-40B4-BE49-F238E27FC236}">
                <a16:creationId xmlns:a16="http://schemas.microsoft.com/office/drawing/2014/main" id="{C1BD23EE-2100-4A8D-B4E5-EB0BA37C3EA1}"/>
              </a:ext>
            </a:extLst>
          </p:cNvPr>
          <p:cNvGrpSpPr/>
          <p:nvPr userDrawn="1"/>
        </p:nvGrpSpPr>
        <p:grpSpPr>
          <a:xfrm>
            <a:off x="407988" y="1155115"/>
            <a:ext cx="1369484" cy="1245641"/>
            <a:chOff x="6681006" y="212435"/>
            <a:chExt cx="1369484" cy="1245641"/>
          </a:xfrm>
        </p:grpSpPr>
        <p:grpSp>
          <p:nvGrpSpPr>
            <p:cNvPr id="254" name="Group 253">
              <a:extLst>
                <a:ext uri="{FF2B5EF4-FFF2-40B4-BE49-F238E27FC236}">
                  <a16:creationId xmlns:a16="http://schemas.microsoft.com/office/drawing/2014/main" id="{E90F5BE5-D846-47BE-BB14-05AD7DD30F4F}"/>
                </a:ext>
              </a:extLst>
            </p:cNvPr>
            <p:cNvGrpSpPr/>
            <p:nvPr userDrawn="1"/>
          </p:nvGrpSpPr>
          <p:grpSpPr>
            <a:xfrm>
              <a:off x="6858795" y="350425"/>
              <a:ext cx="1012586" cy="949131"/>
              <a:chOff x="1143742" y="1261298"/>
              <a:chExt cx="1242926" cy="1165037"/>
            </a:xfrm>
          </p:grpSpPr>
          <p:sp>
            <p:nvSpPr>
              <p:cNvPr id="256" name="Freeform 26">
                <a:extLst>
                  <a:ext uri="{FF2B5EF4-FFF2-40B4-BE49-F238E27FC236}">
                    <a16:creationId xmlns:a16="http://schemas.microsoft.com/office/drawing/2014/main" id="{39813E4D-5FA5-4AFC-BEC2-888274C669FB}"/>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257" name="Group 256">
                <a:extLst>
                  <a:ext uri="{FF2B5EF4-FFF2-40B4-BE49-F238E27FC236}">
                    <a16:creationId xmlns:a16="http://schemas.microsoft.com/office/drawing/2014/main" id="{7A6A78F5-B305-44D8-874E-20E6BE41A5AA}"/>
                  </a:ext>
                </a:extLst>
              </p:cNvPr>
              <p:cNvGrpSpPr/>
              <p:nvPr/>
            </p:nvGrpSpPr>
            <p:grpSpPr>
              <a:xfrm>
                <a:off x="1346053" y="1470010"/>
                <a:ext cx="838305" cy="838305"/>
                <a:chOff x="1353715" y="1637650"/>
                <a:chExt cx="838305" cy="838305"/>
              </a:xfrm>
            </p:grpSpPr>
            <p:sp>
              <p:nvSpPr>
                <p:cNvPr id="258" name="Block Arc 257">
                  <a:extLst>
                    <a:ext uri="{FF2B5EF4-FFF2-40B4-BE49-F238E27FC236}">
                      <a16:creationId xmlns:a16="http://schemas.microsoft.com/office/drawing/2014/main" id="{7C2FDEAD-BED6-4D5D-B4F2-330E5A58C5F9}"/>
                    </a:ext>
                  </a:extLst>
                </p:cNvPr>
                <p:cNvSpPr/>
                <p:nvPr userDrawn="1"/>
              </p:nvSpPr>
              <p:spPr>
                <a:xfrm>
                  <a:off x="1353715" y="1637650"/>
                  <a:ext cx="838305" cy="838305"/>
                </a:xfrm>
                <a:prstGeom prst="blockArc">
                  <a:avLst>
                    <a:gd name="adj1" fmla="val 9931431"/>
                    <a:gd name="adj2" fmla="val 19501890"/>
                    <a:gd name="adj3" fmla="val 14225"/>
                  </a:avLst>
                </a:prstGeom>
                <a:solidFill>
                  <a:srgbClr val="12ABD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59" name="Block Arc 258">
                  <a:extLst>
                    <a:ext uri="{FF2B5EF4-FFF2-40B4-BE49-F238E27FC236}">
                      <a16:creationId xmlns:a16="http://schemas.microsoft.com/office/drawing/2014/main" id="{A307A2AF-D9F2-44C6-8896-FFD3FA406503}"/>
                    </a:ext>
                  </a:extLst>
                </p:cNvPr>
                <p:cNvSpPr/>
                <p:nvPr userDrawn="1"/>
              </p:nvSpPr>
              <p:spPr>
                <a:xfrm>
                  <a:off x="1469308" y="1755254"/>
                  <a:ext cx="607118" cy="607118"/>
                </a:xfrm>
                <a:prstGeom prst="blockArc">
                  <a:avLst>
                    <a:gd name="adj1" fmla="val 12441539"/>
                    <a:gd name="adj2" fmla="val 3168047"/>
                    <a:gd name="adj3" fmla="val 15873"/>
                  </a:avLst>
                </a:prstGeom>
                <a:solidFill>
                  <a:srgbClr val="88D5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260" name="Group 259">
                  <a:extLst>
                    <a:ext uri="{FF2B5EF4-FFF2-40B4-BE49-F238E27FC236}">
                      <a16:creationId xmlns:a16="http://schemas.microsoft.com/office/drawing/2014/main" id="{7180C744-826B-4978-9403-3735AC1D0DE6}"/>
                    </a:ext>
                  </a:extLst>
                </p:cNvPr>
                <p:cNvGrpSpPr/>
                <p:nvPr/>
              </p:nvGrpSpPr>
              <p:grpSpPr>
                <a:xfrm>
                  <a:off x="1590844" y="1912600"/>
                  <a:ext cx="364046" cy="320059"/>
                  <a:chOff x="43216" y="1556297"/>
                  <a:chExt cx="1384776" cy="1217459"/>
                </a:xfrm>
              </p:grpSpPr>
              <p:sp>
                <p:nvSpPr>
                  <p:cNvPr id="261" name="Freeform: Shape 260">
                    <a:extLst>
                      <a:ext uri="{FF2B5EF4-FFF2-40B4-BE49-F238E27FC236}">
                        <a16:creationId xmlns:a16="http://schemas.microsoft.com/office/drawing/2014/main" id="{98A726CF-AACC-4137-882E-54AE4CC7B57D}"/>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62" name="Freeform: Shape 261">
                    <a:extLst>
                      <a:ext uri="{FF2B5EF4-FFF2-40B4-BE49-F238E27FC236}">
                        <a16:creationId xmlns:a16="http://schemas.microsoft.com/office/drawing/2014/main" id="{7254AAD4-B036-497B-915B-EFAB5B0E6E3E}"/>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63" name="Freeform: Shape 262">
                    <a:extLst>
                      <a:ext uri="{FF2B5EF4-FFF2-40B4-BE49-F238E27FC236}">
                        <a16:creationId xmlns:a16="http://schemas.microsoft.com/office/drawing/2014/main" id="{0F728F40-45E8-4A8C-A893-8EC1A15E4D93}"/>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sp>
          <p:nvSpPr>
            <p:cNvPr id="255" name="Rectangle 254">
              <a:extLst>
                <a:ext uri="{FF2B5EF4-FFF2-40B4-BE49-F238E27FC236}">
                  <a16:creationId xmlns:a16="http://schemas.microsoft.com/office/drawing/2014/main" id="{21EE83A8-6208-4120-8E59-CD950CEFDE13}"/>
                </a:ext>
              </a:extLst>
            </p:cNvPr>
            <p:cNvSpPr/>
            <p:nvPr userDrawn="1"/>
          </p:nvSpPr>
          <p:spPr>
            <a:xfrm>
              <a:off x="6681006" y="212435"/>
              <a:ext cx="1369484" cy="1245641"/>
            </a:xfrm>
            <a:prstGeom prst="rect">
              <a:avLst/>
            </a:prstGeom>
            <a:noFill/>
          </p:spPr>
          <p:txBody>
            <a:bodyPr wrap="none" lIns="0" tIns="0" rIns="0" bIns="0">
              <a:prstTxWarp prst="textArchUp">
                <a:avLst>
                  <a:gd name="adj" fmla="val 7216448"/>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70AD"/>
                  </a:solidFill>
                  <a:effectLst/>
                  <a:uLnTx/>
                  <a:uFillTx/>
                  <a:cs typeface="Ubuntu Bold"/>
                </a:rPr>
                <a:t>Applied BI &amp; content management</a:t>
              </a:r>
            </a:p>
          </p:txBody>
        </p:sp>
      </p:grpSp>
      <p:grpSp>
        <p:nvGrpSpPr>
          <p:cNvPr id="264" name="Group 263">
            <a:extLst>
              <a:ext uri="{FF2B5EF4-FFF2-40B4-BE49-F238E27FC236}">
                <a16:creationId xmlns:a16="http://schemas.microsoft.com/office/drawing/2014/main" id="{26F1BCDA-D0FA-4E11-9821-AB7B7CE24805}"/>
              </a:ext>
            </a:extLst>
          </p:cNvPr>
          <p:cNvGrpSpPr/>
          <p:nvPr userDrawn="1"/>
        </p:nvGrpSpPr>
        <p:grpSpPr>
          <a:xfrm>
            <a:off x="407988" y="2536456"/>
            <a:ext cx="1369484" cy="1245641"/>
            <a:chOff x="6681006" y="212435"/>
            <a:chExt cx="1369484" cy="1245641"/>
          </a:xfrm>
        </p:grpSpPr>
        <p:grpSp>
          <p:nvGrpSpPr>
            <p:cNvPr id="265" name="Group 264">
              <a:extLst>
                <a:ext uri="{FF2B5EF4-FFF2-40B4-BE49-F238E27FC236}">
                  <a16:creationId xmlns:a16="http://schemas.microsoft.com/office/drawing/2014/main" id="{028F83FF-ED2E-49FA-9284-C568BDB2BB70}"/>
                </a:ext>
              </a:extLst>
            </p:cNvPr>
            <p:cNvGrpSpPr/>
            <p:nvPr userDrawn="1"/>
          </p:nvGrpSpPr>
          <p:grpSpPr>
            <a:xfrm>
              <a:off x="6858795" y="350425"/>
              <a:ext cx="1012586" cy="949131"/>
              <a:chOff x="1143742" y="1261298"/>
              <a:chExt cx="1242926" cy="1165037"/>
            </a:xfrm>
          </p:grpSpPr>
          <p:sp>
            <p:nvSpPr>
              <p:cNvPr id="267" name="Freeform 26">
                <a:extLst>
                  <a:ext uri="{FF2B5EF4-FFF2-40B4-BE49-F238E27FC236}">
                    <a16:creationId xmlns:a16="http://schemas.microsoft.com/office/drawing/2014/main" id="{A8937972-9D21-49E3-956B-CE816F5BD4C9}"/>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268" name="Group 267">
                <a:extLst>
                  <a:ext uri="{FF2B5EF4-FFF2-40B4-BE49-F238E27FC236}">
                    <a16:creationId xmlns:a16="http://schemas.microsoft.com/office/drawing/2014/main" id="{3094C400-C70E-4CC0-8674-5D340E5B7FD4}"/>
                  </a:ext>
                </a:extLst>
              </p:cNvPr>
              <p:cNvGrpSpPr/>
              <p:nvPr/>
            </p:nvGrpSpPr>
            <p:grpSpPr>
              <a:xfrm>
                <a:off x="1346053" y="1470010"/>
                <a:ext cx="838305" cy="838305"/>
                <a:chOff x="1353715" y="1637650"/>
                <a:chExt cx="838305" cy="838305"/>
              </a:xfrm>
            </p:grpSpPr>
            <p:sp>
              <p:nvSpPr>
                <p:cNvPr id="269" name="Block Arc 268">
                  <a:extLst>
                    <a:ext uri="{FF2B5EF4-FFF2-40B4-BE49-F238E27FC236}">
                      <a16:creationId xmlns:a16="http://schemas.microsoft.com/office/drawing/2014/main" id="{99B366A7-90E1-4638-A98C-98722CD637C2}"/>
                    </a:ext>
                  </a:extLst>
                </p:cNvPr>
                <p:cNvSpPr/>
                <p:nvPr userDrawn="1"/>
              </p:nvSpPr>
              <p:spPr>
                <a:xfrm>
                  <a:off x="1353715" y="1637650"/>
                  <a:ext cx="838305" cy="838305"/>
                </a:xfrm>
                <a:prstGeom prst="blockArc">
                  <a:avLst>
                    <a:gd name="adj1" fmla="val 9931431"/>
                    <a:gd name="adj2" fmla="val 19501890"/>
                    <a:gd name="adj3" fmla="val 14225"/>
                  </a:avLst>
                </a:prstGeom>
                <a:solidFill>
                  <a:srgbClr val="FF304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70" name="Block Arc 269">
                  <a:extLst>
                    <a:ext uri="{FF2B5EF4-FFF2-40B4-BE49-F238E27FC236}">
                      <a16:creationId xmlns:a16="http://schemas.microsoft.com/office/drawing/2014/main" id="{0696016D-2636-4C7B-813E-ABB8A3C0205B}"/>
                    </a:ext>
                  </a:extLst>
                </p:cNvPr>
                <p:cNvSpPr/>
                <p:nvPr userDrawn="1"/>
              </p:nvSpPr>
              <p:spPr>
                <a:xfrm>
                  <a:off x="1469308" y="1755254"/>
                  <a:ext cx="607118" cy="607118"/>
                </a:xfrm>
                <a:prstGeom prst="blockArc">
                  <a:avLst>
                    <a:gd name="adj1" fmla="val 12441539"/>
                    <a:gd name="adj2" fmla="val 3168047"/>
                    <a:gd name="adj3" fmla="val 15873"/>
                  </a:avLst>
                </a:prstGeom>
                <a:solidFill>
                  <a:srgbClr val="FF304C">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271" name="Group 270">
                  <a:extLst>
                    <a:ext uri="{FF2B5EF4-FFF2-40B4-BE49-F238E27FC236}">
                      <a16:creationId xmlns:a16="http://schemas.microsoft.com/office/drawing/2014/main" id="{5C82CCA3-BC22-4D6B-B72A-626220394A0D}"/>
                    </a:ext>
                  </a:extLst>
                </p:cNvPr>
                <p:cNvGrpSpPr/>
                <p:nvPr/>
              </p:nvGrpSpPr>
              <p:grpSpPr>
                <a:xfrm>
                  <a:off x="1590844" y="1912600"/>
                  <a:ext cx="364046" cy="320059"/>
                  <a:chOff x="43216" y="1556297"/>
                  <a:chExt cx="1384776" cy="1217459"/>
                </a:xfrm>
              </p:grpSpPr>
              <p:sp>
                <p:nvSpPr>
                  <p:cNvPr id="272" name="Freeform: Shape 271">
                    <a:extLst>
                      <a:ext uri="{FF2B5EF4-FFF2-40B4-BE49-F238E27FC236}">
                        <a16:creationId xmlns:a16="http://schemas.microsoft.com/office/drawing/2014/main" id="{443C3338-5DC9-4BBD-84C9-0AF63EF47275}"/>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FF304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73" name="Freeform: Shape 272">
                    <a:extLst>
                      <a:ext uri="{FF2B5EF4-FFF2-40B4-BE49-F238E27FC236}">
                        <a16:creationId xmlns:a16="http://schemas.microsoft.com/office/drawing/2014/main" id="{3780D190-5B74-471D-8614-0DC358469D38}"/>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74" name="Freeform: Shape 273">
                    <a:extLst>
                      <a:ext uri="{FF2B5EF4-FFF2-40B4-BE49-F238E27FC236}">
                        <a16:creationId xmlns:a16="http://schemas.microsoft.com/office/drawing/2014/main" id="{73ED4840-6220-4B84-BB76-C389B5BC60E3}"/>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sp>
          <p:nvSpPr>
            <p:cNvPr id="266" name="Rectangle 265">
              <a:extLst>
                <a:ext uri="{FF2B5EF4-FFF2-40B4-BE49-F238E27FC236}">
                  <a16:creationId xmlns:a16="http://schemas.microsoft.com/office/drawing/2014/main" id="{6276A97D-2345-46BE-AE89-234787BCB996}"/>
                </a:ext>
              </a:extLst>
            </p:cNvPr>
            <p:cNvSpPr/>
            <p:nvPr userDrawn="1"/>
          </p:nvSpPr>
          <p:spPr>
            <a:xfrm>
              <a:off x="6681006" y="212435"/>
              <a:ext cx="1369484" cy="1245641"/>
            </a:xfrm>
            <a:prstGeom prst="rect">
              <a:avLst/>
            </a:prstGeom>
            <a:noFill/>
          </p:spPr>
          <p:txBody>
            <a:bodyPr wrap="none" lIns="0" tIns="0" rIns="0" bIns="0">
              <a:prstTxWarp prst="textArchUp">
                <a:avLst>
                  <a:gd name="adj" fmla="val 7216448"/>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304C"/>
                  </a:solidFill>
                  <a:effectLst/>
                  <a:uLnTx/>
                  <a:uFillTx/>
                  <a:cs typeface="Ubuntu Bold"/>
                </a:rPr>
                <a:t>Data Science &amp; Analytics</a:t>
              </a:r>
            </a:p>
          </p:txBody>
        </p:sp>
      </p:grpSp>
      <p:grpSp>
        <p:nvGrpSpPr>
          <p:cNvPr id="275" name="Group 274">
            <a:extLst>
              <a:ext uri="{FF2B5EF4-FFF2-40B4-BE49-F238E27FC236}">
                <a16:creationId xmlns:a16="http://schemas.microsoft.com/office/drawing/2014/main" id="{66736C48-C6F2-4B97-BA60-AC71C9CBB5C0}"/>
              </a:ext>
            </a:extLst>
          </p:cNvPr>
          <p:cNvGrpSpPr/>
          <p:nvPr userDrawn="1"/>
        </p:nvGrpSpPr>
        <p:grpSpPr>
          <a:xfrm>
            <a:off x="407988" y="3836628"/>
            <a:ext cx="1369484" cy="1245641"/>
            <a:chOff x="6681006" y="212435"/>
            <a:chExt cx="1369484" cy="1245641"/>
          </a:xfrm>
        </p:grpSpPr>
        <p:grpSp>
          <p:nvGrpSpPr>
            <p:cNvPr id="276" name="Group 275">
              <a:extLst>
                <a:ext uri="{FF2B5EF4-FFF2-40B4-BE49-F238E27FC236}">
                  <a16:creationId xmlns:a16="http://schemas.microsoft.com/office/drawing/2014/main" id="{48BB9AC5-45E2-4BA0-A786-996B60B459D5}"/>
                </a:ext>
              </a:extLst>
            </p:cNvPr>
            <p:cNvGrpSpPr/>
            <p:nvPr userDrawn="1"/>
          </p:nvGrpSpPr>
          <p:grpSpPr>
            <a:xfrm>
              <a:off x="6858795" y="350425"/>
              <a:ext cx="1012586" cy="949131"/>
              <a:chOff x="1143742" y="1261298"/>
              <a:chExt cx="1242926" cy="1165037"/>
            </a:xfrm>
          </p:grpSpPr>
          <p:sp>
            <p:nvSpPr>
              <p:cNvPr id="278" name="Freeform 26">
                <a:extLst>
                  <a:ext uri="{FF2B5EF4-FFF2-40B4-BE49-F238E27FC236}">
                    <a16:creationId xmlns:a16="http://schemas.microsoft.com/office/drawing/2014/main" id="{0A5E1E8B-35E1-41CD-B9A9-36A2FCBD8D52}"/>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279" name="Group 278">
                <a:extLst>
                  <a:ext uri="{FF2B5EF4-FFF2-40B4-BE49-F238E27FC236}">
                    <a16:creationId xmlns:a16="http://schemas.microsoft.com/office/drawing/2014/main" id="{4A43D05B-3426-4E7F-A911-22E2C6671E78}"/>
                  </a:ext>
                </a:extLst>
              </p:cNvPr>
              <p:cNvGrpSpPr/>
              <p:nvPr/>
            </p:nvGrpSpPr>
            <p:grpSpPr>
              <a:xfrm>
                <a:off x="1346053" y="1470010"/>
                <a:ext cx="838305" cy="838305"/>
                <a:chOff x="1353715" y="1637650"/>
                <a:chExt cx="838305" cy="838305"/>
              </a:xfrm>
            </p:grpSpPr>
            <p:sp>
              <p:nvSpPr>
                <p:cNvPr id="280" name="Block Arc 279">
                  <a:extLst>
                    <a:ext uri="{FF2B5EF4-FFF2-40B4-BE49-F238E27FC236}">
                      <a16:creationId xmlns:a16="http://schemas.microsoft.com/office/drawing/2014/main" id="{0CC7684D-B994-45E7-985A-B4E758807FD1}"/>
                    </a:ext>
                  </a:extLst>
                </p:cNvPr>
                <p:cNvSpPr/>
                <p:nvPr userDrawn="1"/>
              </p:nvSpPr>
              <p:spPr>
                <a:xfrm>
                  <a:off x="1353715" y="1637650"/>
                  <a:ext cx="838305" cy="838305"/>
                </a:xfrm>
                <a:prstGeom prst="blockArc">
                  <a:avLst>
                    <a:gd name="adj1" fmla="val 9931431"/>
                    <a:gd name="adj2" fmla="val 19501890"/>
                    <a:gd name="adj3" fmla="val 14225"/>
                  </a:avLst>
                </a:prstGeom>
                <a:solidFill>
                  <a:srgbClr val="95E61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81" name="Block Arc 280">
                  <a:extLst>
                    <a:ext uri="{FF2B5EF4-FFF2-40B4-BE49-F238E27FC236}">
                      <a16:creationId xmlns:a16="http://schemas.microsoft.com/office/drawing/2014/main" id="{55B642FF-FDD4-4F66-9660-2AFF8874EF49}"/>
                    </a:ext>
                  </a:extLst>
                </p:cNvPr>
                <p:cNvSpPr/>
                <p:nvPr userDrawn="1"/>
              </p:nvSpPr>
              <p:spPr>
                <a:xfrm>
                  <a:off x="1469308" y="1755254"/>
                  <a:ext cx="607118" cy="607118"/>
                </a:xfrm>
                <a:prstGeom prst="blockArc">
                  <a:avLst>
                    <a:gd name="adj1" fmla="val 12441539"/>
                    <a:gd name="adj2" fmla="val 3168047"/>
                    <a:gd name="adj3" fmla="val 15873"/>
                  </a:avLst>
                </a:prstGeom>
                <a:solidFill>
                  <a:srgbClr val="00C37B">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282" name="Group 281">
                  <a:extLst>
                    <a:ext uri="{FF2B5EF4-FFF2-40B4-BE49-F238E27FC236}">
                      <a16:creationId xmlns:a16="http://schemas.microsoft.com/office/drawing/2014/main" id="{33492608-78F5-412B-8FA4-F3B8B581803F}"/>
                    </a:ext>
                  </a:extLst>
                </p:cNvPr>
                <p:cNvGrpSpPr/>
                <p:nvPr/>
              </p:nvGrpSpPr>
              <p:grpSpPr>
                <a:xfrm>
                  <a:off x="1590844" y="1912600"/>
                  <a:ext cx="364046" cy="320059"/>
                  <a:chOff x="43216" y="1556297"/>
                  <a:chExt cx="1384776" cy="1217459"/>
                </a:xfrm>
              </p:grpSpPr>
              <p:sp>
                <p:nvSpPr>
                  <p:cNvPr id="283" name="Freeform: Shape 282">
                    <a:extLst>
                      <a:ext uri="{FF2B5EF4-FFF2-40B4-BE49-F238E27FC236}">
                        <a16:creationId xmlns:a16="http://schemas.microsoft.com/office/drawing/2014/main" id="{C63C6F4E-EAAB-4714-8906-34B7DD484EFC}"/>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00C3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84" name="Freeform: Shape 283">
                    <a:extLst>
                      <a:ext uri="{FF2B5EF4-FFF2-40B4-BE49-F238E27FC236}">
                        <a16:creationId xmlns:a16="http://schemas.microsoft.com/office/drawing/2014/main" id="{959096BF-2041-4A0F-A8F1-D9EACD817CBD}"/>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85" name="Freeform: Shape 284">
                    <a:extLst>
                      <a:ext uri="{FF2B5EF4-FFF2-40B4-BE49-F238E27FC236}">
                        <a16:creationId xmlns:a16="http://schemas.microsoft.com/office/drawing/2014/main" id="{0A896101-AEF8-4485-A505-38FD87649D7A}"/>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sp>
          <p:nvSpPr>
            <p:cNvPr id="277" name="Rectangle 276">
              <a:extLst>
                <a:ext uri="{FF2B5EF4-FFF2-40B4-BE49-F238E27FC236}">
                  <a16:creationId xmlns:a16="http://schemas.microsoft.com/office/drawing/2014/main" id="{2F854B04-9B32-469D-871D-C01069B41B96}"/>
                </a:ext>
              </a:extLst>
            </p:cNvPr>
            <p:cNvSpPr/>
            <p:nvPr userDrawn="1"/>
          </p:nvSpPr>
          <p:spPr>
            <a:xfrm>
              <a:off x="6681006" y="212435"/>
              <a:ext cx="1369484" cy="1245641"/>
            </a:xfrm>
            <a:prstGeom prst="rect">
              <a:avLst/>
            </a:prstGeom>
            <a:noFill/>
          </p:spPr>
          <p:txBody>
            <a:bodyPr wrap="none" lIns="0" tIns="0" rIns="0" bIns="0">
              <a:prstTxWarp prst="textArchUp">
                <a:avLst>
                  <a:gd name="adj" fmla="val 7216448"/>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C37B"/>
                  </a:solidFill>
                  <a:effectLst/>
                  <a:uLnTx/>
                  <a:uFillTx/>
                  <a:cs typeface="Ubuntu Bold"/>
                </a:rPr>
                <a:t>Data Engineering, Integration &amp; Automation</a:t>
              </a:r>
            </a:p>
          </p:txBody>
        </p:sp>
      </p:grpSp>
      <p:grpSp>
        <p:nvGrpSpPr>
          <p:cNvPr id="286" name="Group 285">
            <a:extLst>
              <a:ext uri="{FF2B5EF4-FFF2-40B4-BE49-F238E27FC236}">
                <a16:creationId xmlns:a16="http://schemas.microsoft.com/office/drawing/2014/main" id="{10C26CBE-AA51-4E6D-B855-77C62B3F3750}"/>
              </a:ext>
            </a:extLst>
          </p:cNvPr>
          <p:cNvGrpSpPr/>
          <p:nvPr userDrawn="1"/>
        </p:nvGrpSpPr>
        <p:grpSpPr>
          <a:xfrm>
            <a:off x="407988" y="5335647"/>
            <a:ext cx="1369484" cy="1245641"/>
            <a:chOff x="6681006" y="212435"/>
            <a:chExt cx="1369484" cy="1245641"/>
          </a:xfrm>
        </p:grpSpPr>
        <p:grpSp>
          <p:nvGrpSpPr>
            <p:cNvPr id="287" name="Group 286">
              <a:extLst>
                <a:ext uri="{FF2B5EF4-FFF2-40B4-BE49-F238E27FC236}">
                  <a16:creationId xmlns:a16="http://schemas.microsoft.com/office/drawing/2014/main" id="{CC60C6BF-FF96-4566-8709-382AA1F4D571}"/>
                </a:ext>
              </a:extLst>
            </p:cNvPr>
            <p:cNvGrpSpPr/>
            <p:nvPr userDrawn="1"/>
          </p:nvGrpSpPr>
          <p:grpSpPr>
            <a:xfrm>
              <a:off x="6858795" y="350425"/>
              <a:ext cx="1012586" cy="949131"/>
              <a:chOff x="1143742" y="1261298"/>
              <a:chExt cx="1242926" cy="1165037"/>
            </a:xfrm>
          </p:grpSpPr>
          <p:sp>
            <p:nvSpPr>
              <p:cNvPr id="289" name="Freeform 26">
                <a:extLst>
                  <a:ext uri="{FF2B5EF4-FFF2-40B4-BE49-F238E27FC236}">
                    <a16:creationId xmlns:a16="http://schemas.microsoft.com/office/drawing/2014/main" id="{DB6AE9F2-20F2-458E-9AFA-B2412B42EBB3}"/>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2B14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290" name="Group 289">
                <a:extLst>
                  <a:ext uri="{FF2B5EF4-FFF2-40B4-BE49-F238E27FC236}">
                    <a16:creationId xmlns:a16="http://schemas.microsoft.com/office/drawing/2014/main" id="{C0005492-7DA4-4E21-8D71-4B6570E53705}"/>
                  </a:ext>
                </a:extLst>
              </p:cNvPr>
              <p:cNvGrpSpPr/>
              <p:nvPr/>
            </p:nvGrpSpPr>
            <p:grpSpPr>
              <a:xfrm>
                <a:off x="1346053" y="1470010"/>
                <a:ext cx="838305" cy="838305"/>
                <a:chOff x="1353715" y="1637650"/>
                <a:chExt cx="838305" cy="838305"/>
              </a:xfrm>
            </p:grpSpPr>
            <p:sp>
              <p:nvSpPr>
                <p:cNvPr id="291" name="Block Arc 290">
                  <a:extLst>
                    <a:ext uri="{FF2B5EF4-FFF2-40B4-BE49-F238E27FC236}">
                      <a16:creationId xmlns:a16="http://schemas.microsoft.com/office/drawing/2014/main" id="{353DAB0F-13B6-44AC-8FC4-C5CFD25AF955}"/>
                    </a:ext>
                  </a:extLst>
                </p:cNvPr>
                <p:cNvSpPr/>
                <p:nvPr userDrawn="1"/>
              </p:nvSpPr>
              <p:spPr>
                <a:xfrm>
                  <a:off x="1353715" y="1637650"/>
                  <a:ext cx="838305" cy="838305"/>
                </a:xfrm>
                <a:prstGeom prst="blockArc">
                  <a:avLst>
                    <a:gd name="adj1" fmla="val 9931431"/>
                    <a:gd name="adj2" fmla="val 19501890"/>
                    <a:gd name="adj3" fmla="val 14225"/>
                  </a:avLst>
                </a:prstGeom>
                <a:solidFill>
                  <a:srgbClr val="2B143D">
                    <a:lumMod val="50000"/>
                    <a:lumOff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92" name="Block Arc 291">
                  <a:extLst>
                    <a:ext uri="{FF2B5EF4-FFF2-40B4-BE49-F238E27FC236}">
                      <a16:creationId xmlns:a16="http://schemas.microsoft.com/office/drawing/2014/main" id="{2F228018-1CAA-4329-9356-7AAAA9E33869}"/>
                    </a:ext>
                  </a:extLst>
                </p:cNvPr>
                <p:cNvSpPr/>
                <p:nvPr userDrawn="1"/>
              </p:nvSpPr>
              <p:spPr>
                <a:xfrm>
                  <a:off x="1469308" y="1755254"/>
                  <a:ext cx="607118" cy="607118"/>
                </a:xfrm>
                <a:prstGeom prst="blockArc">
                  <a:avLst>
                    <a:gd name="adj1" fmla="val 12441539"/>
                    <a:gd name="adj2" fmla="val 3168047"/>
                    <a:gd name="adj3" fmla="val 15873"/>
                  </a:avLst>
                </a:prstGeom>
                <a:solidFill>
                  <a:srgbClr val="2B143D">
                    <a:lumMod val="10000"/>
                    <a:lumOff val="9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293" name="Group 292">
                  <a:extLst>
                    <a:ext uri="{FF2B5EF4-FFF2-40B4-BE49-F238E27FC236}">
                      <a16:creationId xmlns:a16="http://schemas.microsoft.com/office/drawing/2014/main" id="{87AA4541-9B6D-48BF-8D55-C6D34528E4F1}"/>
                    </a:ext>
                  </a:extLst>
                </p:cNvPr>
                <p:cNvGrpSpPr/>
                <p:nvPr/>
              </p:nvGrpSpPr>
              <p:grpSpPr>
                <a:xfrm>
                  <a:off x="1590844" y="1912600"/>
                  <a:ext cx="364046" cy="320059"/>
                  <a:chOff x="43216" y="1556297"/>
                  <a:chExt cx="1384776" cy="1217459"/>
                </a:xfrm>
              </p:grpSpPr>
              <p:sp>
                <p:nvSpPr>
                  <p:cNvPr id="294" name="Freeform: Shape 293">
                    <a:extLst>
                      <a:ext uri="{FF2B5EF4-FFF2-40B4-BE49-F238E27FC236}">
                        <a16:creationId xmlns:a16="http://schemas.microsoft.com/office/drawing/2014/main" id="{0FC20883-DF4F-4AB5-8665-BC191DF62641}"/>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2B143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95" name="Freeform: Shape 294">
                    <a:extLst>
                      <a:ext uri="{FF2B5EF4-FFF2-40B4-BE49-F238E27FC236}">
                        <a16:creationId xmlns:a16="http://schemas.microsoft.com/office/drawing/2014/main" id="{EDC72F64-3956-440D-984A-5214BF7E9D52}"/>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296" name="Freeform: Shape 295">
                    <a:extLst>
                      <a:ext uri="{FF2B5EF4-FFF2-40B4-BE49-F238E27FC236}">
                        <a16:creationId xmlns:a16="http://schemas.microsoft.com/office/drawing/2014/main" id="{1E637369-7988-4B46-93BD-F2C045151197}"/>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sp>
          <p:nvSpPr>
            <p:cNvPr id="288" name="Rectangle 287">
              <a:extLst>
                <a:ext uri="{FF2B5EF4-FFF2-40B4-BE49-F238E27FC236}">
                  <a16:creationId xmlns:a16="http://schemas.microsoft.com/office/drawing/2014/main" id="{058A3A47-7F01-4179-A14C-3182EDFBF197}"/>
                </a:ext>
              </a:extLst>
            </p:cNvPr>
            <p:cNvSpPr/>
            <p:nvPr userDrawn="1"/>
          </p:nvSpPr>
          <p:spPr>
            <a:xfrm>
              <a:off x="6681006" y="212435"/>
              <a:ext cx="1369484" cy="1245641"/>
            </a:xfrm>
            <a:prstGeom prst="rect">
              <a:avLst/>
            </a:prstGeom>
            <a:noFill/>
          </p:spPr>
          <p:txBody>
            <a:bodyPr wrap="none" lIns="0" tIns="0" rIns="0" bIns="0">
              <a:prstTxWarp prst="textArchUp">
                <a:avLst>
                  <a:gd name="adj" fmla="val 7216448"/>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2B143D"/>
                  </a:solidFill>
                  <a:effectLst/>
                  <a:uLnTx/>
                  <a:uFillTx/>
                  <a:cs typeface="Ubuntu Bold"/>
                </a:rPr>
                <a:t>Applied Insights </a:t>
              </a:r>
              <a:r>
                <a:rPr kumimoji="0" lang="en-GB" sz="1100" b="1" i="0" u="none" strike="noStrike" kern="0" cap="none" spc="0" normalizeH="0" baseline="0" noProof="0" dirty="0" err="1">
                  <a:ln>
                    <a:noFill/>
                  </a:ln>
                  <a:solidFill>
                    <a:srgbClr val="2B143D"/>
                  </a:solidFill>
                  <a:effectLst/>
                  <a:uLnTx/>
                  <a:uFillTx/>
                  <a:cs typeface="Ubuntu Bold"/>
                </a:rPr>
                <a:t>Center</a:t>
              </a:r>
              <a:endParaRPr kumimoji="0" lang="en-GB" sz="1100" b="1" i="0" u="none" strike="noStrike" kern="0" cap="none" spc="0" normalizeH="0" baseline="0" noProof="0" dirty="0">
                <a:ln>
                  <a:noFill/>
                </a:ln>
                <a:solidFill>
                  <a:srgbClr val="2B143D"/>
                </a:solidFill>
                <a:effectLst/>
                <a:uLnTx/>
                <a:uFillTx/>
                <a:cs typeface="Ubuntu Bold"/>
              </a:endParaRPr>
            </a:p>
          </p:txBody>
        </p:sp>
      </p:grpSp>
      <p:grpSp>
        <p:nvGrpSpPr>
          <p:cNvPr id="297" name="Group 296">
            <a:extLst>
              <a:ext uri="{FF2B5EF4-FFF2-40B4-BE49-F238E27FC236}">
                <a16:creationId xmlns:a16="http://schemas.microsoft.com/office/drawing/2014/main" id="{9D144E40-B570-44CF-9748-E9E92D65F83E}"/>
              </a:ext>
            </a:extLst>
          </p:cNvPr>
          <p:cNvGrpSpPr/>
          <p:nvPr userDrawn="1"/>
        </p:nvGrpSpPr>
        <p:grpSpPr>
          <a:xfrm>
            <a:off x="6404116" y="1642330"/>
            <a:ext cx="1369484" cy="1245641"/>
            <a:chOff x="6681006" y="212435"/>
            <a:chExt cx="1369484" cy="1245641"/>
          </a:xfrm>
        </p:grpSpPr>
        <p:grpSp>
          <p:nvGrpSpPr>
            <p:cNvPr id="298" name="Group 297">
              <a:extLst>
                <a:ext uri="{FF2B5EF4-FFF2-40B4-BE49-F238E27FC236}">
                  <a16:creationId xmlns:a16="http://schemas.microsoft.com/office/drawing/2014/main" id="{D7B12E3B-C115-46B3-BCC1-D3AA12F82ECB}"/>
                </a:ext>
              </a:extLst>
            </p:cNvPr>
            <p:cNvGrpSpPr/>
            <p:nvPr userDrawn="1"/>
          </p:nvGrpSpPr>
          <p:grpSpPr>
            <a:xfrm>
              <a:off x="6858795" y="350425"/>
              <a:ext cx="1012586" cy="949131"/>
              <a:chOff x="1143742" y="1261298"/>
              <a:chExt cx="1242926" cy="1165037"/>
            </a:xfrm>
          </p:grpSpPr>
          <p:sp>
            <p:nvSpPr>
              <p:cNvPr id="300" name="Freeform 26">
                <a:extLst>
                  <a:ext uri="{FF2B5EF4-FFF2-40B4-BE49-F238E27FC236}">
                    <a16:creationId xmlns:a16="http://schemas.microsoft.com/office/drawing/2014/main" id="{B06C95CA-938B-41A6-BB8C-2E33902DD6F1}"/>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0F999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301" name="Group 300">
                <a:extLst>
                  <a:ext uri="{FF2B5EF4-FFF2-40B4-BE49-F238E27FC236}">
                    <a16:creationId xmlns:a16="http://schemas.microsoft.com/office/drawing/2014/main" id="{ADDBCD94-B44F-477A-84A7-456459034B50}"/>
                  </a:ext>
                </a:extLst>
              </p:cNvPr>
              <p:cNvGrpSpPr/>
              <p:nvPr/>
            </p:nvGrpSpPr>
            <p:grpSpPr>
              <a:xfrm>
                <a:off x="1346053" y="1470010"/>
                <a:ext cx="838305" cy="838305"/>
                <a:chOff x="1353715" y="1637650"/>
                <a:chExt cx="838305" cy="838305"/>
              </a:xfrm>
            </p:grpSpPr>
            <p:sp>
              <p:nvSpPr>
                <p:cNvPr id="302" name="Block Arc 301">
                  <a:extLst>
                    <a:ext uri="{FF2B5EF4-FFF2-40B4-BE49-F238E27FC236}">
                      <a16:creationId xmlns:a16="http://schemas.microsoft.com/office/drawing/2014/main" id="{9ABC218A-AD2E-4A03-9272-FC06EE45DD4D}"/>
                    </a:ext>
                  </a:extLst>
                </p:cNvPr>
                <p:cNvSpPr/>
                <p:nvPr userDrawn="1"/>
              </p:nvSpPr>
              <p:spPr>
                <a:xfrm>
                  <a:off x="1353715" y="1637650"/>
                  <a:ext cx="838305" cy="838305"/>
                </a:xfrm>
                <a:prstGeom prst="blockArc">
                  <a:avLst>
                    <a:gd name="adj1" fmla="val 9931431"/>
                    <a:gd name="adj2" fmla="val 19501890"/>
                    <a:gd name="adj3" fmla="val 14225"/>
                  </a:avLst>
                </a:prstGeom>
                <a:solidFill>
                  <a:srgbClr val="01D1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303" name="Block Arc 302">
                  <a:extLst>
                    <a:ext uri="{FF2B5EF4-FFF2-40B4-BE49-F238E27FC236}">
                      <a16:creationId xmlns:a16="http://schemas.microsoft.com/office/drawing/2014/main" id="{DE720DAD-0504-4805-B49E-A4B4B18D2FBA}"/>
                    </a:ext>
                  </a:extLst>
                </p:cNvPr>
                <p:cNvSpPr/>
                <p:nvPr userDrawn="1"/>
              </p:nvSpPr>
              <p:spPr>
                <a:xfrm>
                  <a:off x="1469308" y="1755254"/>
                  <a:ext cx="607118" cy="607118"/>
                </a:xfrm>
                <a:prstGeom prst="blockArc">
                  <a:avLst>
                    <a:gd name="adj1" fmla="val 12441539"/>
                    <a:gd name="adj2" fmla="val 3168047"/>
                    <a:gd name="adj3" fmla="val 15873"/>
                  </a:avLst>
                </a:prstGeom>
                <a:solidFill>
                  <a:srgbClr val="00C37B">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304" name="Group 303">
                  <a:extLst>
                    <a:ext uri="{FF2B5EF4-FFF2-40B4-BE49-F238E27FC236}">
                      <a16:creationId xmlns:a16="http://schemas.microsoft.com/office/drawing/2014/main" id="{D71C505F-FCCF-45DA-B177-0878B1B4F754}"/>
                    </a:ext>
                  </a:extLst>
                </p:cNvPr>
                <p:cNvGrpSpPr/>
                <p:nvPr/>
              </p:nvGrpSpPr>
              <p:grpSpPr>
                <a:xfrm>
                  <a:off x="1590844" y="1912600"/>
                  <a:ext cx="364046" cy="320059"/>
                  <a:chOff x="43216" y="1556297"/>
                  <a:chExt cx="1384776" cy="1217459"/>
                </a:xfrm>
              </p:grpSpPr>
              <p:sp>
                <p:nvSpPr>
                  <p:cNvPr id="305" name="Freeform: Shape 304">
                    <a:extLst>
                      <a:ext uri="{FF2B5EF4-FFF2-40B4-BE49-F238E27FC236}">
                        <a16:creationId xmlns:a16="http://schemas.microsoft.com/office/drawing/2014/main" id="{0AB6DFC1-36E1-4F5C-808C-65476113AAD2}"/>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0F999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306" name="Freeform: Shape 305">
                    <a:extLst>
                      <a:ext uri="{FF2B5EF4-FFF2-40B4-BE49-F238E27FC236}">
                        <a16:creationId xmlns:a16="http://schemas.microsoft.com/office/drawing/2014/main" id="{50C49D96-856A-42C0-B05D-4A72FB55D2CB}"/>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307" name="Freeform: Shape 306">
                    <a:extLst>
                      <a:ext uri="{FF2B5EF4-FFF2-40B4-BE49-F238E27FC236}">
                        <a16:creationId xmlns:a16="http://schemas.microsoft.com/office/drawing/2014/main" id="{08CC4DE4-43E4-44FA-AAD0-428EB8A60739}"/>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sp>
          <p:nvSpPr>
            <p:cNvPr id="299" name="Rectangle 298">
              <a:extLst>
                <a:ext uri="{FF2B5EF4-FFF2-40B4-BE49-F238E27FC236}">
                  <a16:creationId xmlns:a16="http://schemas.microsoft.com/office/drawing/2014/main" id="{7DC14B9E-FB27-4275-AE32-DB851D76D25F}"/>
                </a:ext>
              </a:extLst>
            </p:cNvPr>
            <p:cNvSpPr/>
            <p:nvPr userDrawn="1"/>
          </p:nvSpPr>
          <p:spPr>
            <a:xfrm>
              <a:off x="6681006" y="212435"/>
              <a:ext cx="1369484" cy="1245641"/>
            </a:xfrm>
            <a:prstGeom prst="rect">
              <a:avLst/>
            </a:prstGeom>
            <a:noFill/>
          </p:spPr>
          <p:txBody>
            <a:bodyPr wrap="none" lIns="0" tIns="0" rIns="0" bIns="0">
              <a:prstTxWarp prst="textArchUp">
                <a:avLst>
                  <a:gd name="adj" fmla="val 7216448"/>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F999C"/>
                  </a:solidFill>
                  <a:effectLst/>
                  <a:uLnTx/>
                  <a:uFillTx/>
                  <a:cs typeface="Ubuntu Bold"/>
                </a:rPr>
                <a:t>Information Governance</a:t>
              </a:r>
            </a:p>
          </p:txBody>
        </p:sp>
      </p:grpSp>
      <p:grpSp>
        <p:nvGrpSpPr>
          <p:cNvPr id="308" name="Group 307">
            <a:extLst>
              <a:ext uri="{FF2B5EF4-FFF2-40B4-BE49-F238E27FC236}">
                <a16:creationId xmlns:a16="http://schemas.microsoft.com/office/drawing/2014/main" id="{9955599D-780D-4C6D-B34D-3B13C48F4EDD}"/>
              </a:ext>
            </a:extLst>
          </p:cNvPr>
          <p:cNvGrpSpPr/>
          <p:nvPr userDrawn="1"/>
        </p:nvGrpSpPr>
        <p:grpSpPr>
          <a:xfrm>
            <a:off x="6404116" y="3234459"/>
            <a:ext cx="1369484" cy="1245641"/>
            <a:chOff x="6681006" y="212435"/>
            <a:chExt cx="1369484" cy="1245641"/>
          </a:xfrm>
        </p:grpSpPr>
        <p:grpSp>
          <p:nvGrpSpPr>
            <p:cNvPr id="309" name="Group 308">
              <a:extLst>
                <a:ext uri="{FF2B5EF4-FFF2-40B4-BE49-F238E27FC236}">
                  <a16:creationId xmlns:a16="http://schemas.microsoft.com/office/drawing/2014/main" id="{0EF1BF37-CEFB-45C2-9E6C-437719A37B20}"/>
                </a:ext>
              </a:extLst>
            </p:cNvPr>
            <p:cNvGrpSpPr/>
            <p:nvPr userDrawn="1"/>
          </p:nvGrpSpPr>
          <p:grpSpPr>
            <a:xfrm>
              <a:off x="6858795" y="350425"/>
              <a:ext cx="1012586" cy="949131"/>
              <a:chOff x="1143742" y="1261298"/>
              <a:chExt cx="1242926" cy="1165037"/>
            </a:xfrm>
          </p:grpSpPr>
          <p:sp>
            <p:nvSpPr>
              <p:cNvPr id="311" name="Freeform 26">
                <a:extLst>
                  <a:ext uri="{FF2B5EF4-FFF2-40B4-BE49-F238E27FC236}">
                    <a16:creationId xmlns:a16="http://schemas.microsoft.com/office/drawing/2014/main" id="{4C33AE10-F16B-4179-900E-69033FF105B1}"/>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4701A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312" name="Group 311">
                <a:extLst>
                  <a:ext uri="{FF2B5EF4-FFF2-40B4-BE49-F238E27FC236}">
                    <a16:creationId xmlns:a16="http://schemas.microsoft.com/office/drawing/2014/main" id="{5828CEAD-4F07-4423-9F69-EE9D8711E520}"/>
                  </a:ext>
                </a:extLst>
              </p:cNvPr>
              <p:cNvGrpSpPr/>
              <p:nvPr/>
            </p:nvGrpSpPr>
            <p:grpSpPr>
              <a:xfrm>
                <a:off x="1346053" y="1470010"/>
                <a:ext cx="838305" cy="838305"/>
                <a:chOff x="1353715" y="1637650"/>
                <a:chExt cx="838305" cy="838305"/>
              </a:xfrm>
            </p:grpSpPr>
            <p:sp>
              <p:nvSpPr>
                <p:cNvPr id="313" name="Block Arc 312">
                  <a:extLst>
                    <a:ext uri="{FF2B5EF4-FFF2-40B4-BE49-F238E27FC236}">
                      <a16:creationId xmlns:a16="http://schemas.microsoft.com/office/drawing/2014/main" id="{7824C235-8221-436E-BE43-EE2F6B729281}"/>
                    </a:ext>
                  </a:extLst>
                </p:cNvPr>
                <p:cNvSpPr/>
                <p:nvPr userDrawn="1"/>
              </p:nvSpPr>
              <p:spPr>
                <a:xfrm>
                  <a:off x="1353715" y="1637650"/>
                  <a:ext cx="838305" cy="838305"/>
                </a:xfrm>
                <a:prstGeom prst="blockArc">
                  <a:avLst>
                    <a:gd name="adj1" fmla="val 9931431"/>
                    <a:gd name="adj2" fmla="val 19501890"/>
                    <a:gd name="adj3" fmla="val 14225"/>
                  </a:avLst>
                </a:prstGeom>
                <a:solidFill>
                  <a:srgbClr val="7E39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314" name="Block Arc 313">
                  <a:extLst>
                    <a:ext uri="{FF2B5EF4-FFF2-40B4-BE49-F238E27FC236}">
                      <a16:creationId xmlns:a16="http://schemas.microsoft.com/office/drawing/2014/main" id="{BF233D95-B2F7-4C37-81C8-0E7ADCB55680}"/>
                    </a:ext>
                  </a:extLst>
                </p:cNvPr>
                <p:cNvSpPr/>
                <p:nvPr userDrawn="1"/>
              </p:nvSpPr>
              <p:spPr>
                <a:xfrm>
                  <a:off x="1469308" y="1755254"/>
                  <a:ext cx="607118" cy="607118"/>
                </a:xfrm>
                <a:prstGeom prst="blockArc">
                  <a:avLst>
                    <a:gd name="adj1" fmla="val 12441539"/>
                    <a:gd name="adj2" fmla="val 3168047"/>
                    <a:gd name="adj3" fmla="val 15873"/>
                  </a:avLst>
                </a:prstGeom>
                <a:solidFill>
                  <a:srgbClr val="6D64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315" name="Group 314">
                  <a:extLst>
                    <a:ext uri="{FF2B5EF4-FFF2-40B4-BE49-F238E27FC236}">
                      <a16:creationId xmlns:a16="http://schemas.microsoft.com/office/drawing/2014/main" id="{E87AE1EA-DAFE-4FFF-87CE-8E15DB4F399B}"/>
                    </a:ext>
                  </a:extLst>
                </p:cNvPr>
                <p:cNvGrpSpPr/>
                <p:nvPr/>
              </p:nvGrpSpPr>
              <p:grpSpPr>
                <a:xfrm>
                  <a:off x="1590844" y="1912600"/>
                  <a:ext cx="364046" cy="320059"/>
                  <a:chOff x="43216" y="1556297"/>
                  <a:chExt cx="1384776" cy="1217459"/>
                </a:xfrm>
              </p:grpSpPr>
              <p:sp>
                <p:nvSpPr>
                  <p:cNvPr id="316" name="Freeform: Shape 315">
                    <a:extLst>
                      <a:ext uri="{FF2B5EF4-FFF2-40B4-BE49-F238E27FC236}">
                        <a16:creationId xmlns:a16="http://schemas.microsoft.com/office/drawing/2014/main" id="{697AAAC5-2AE2-48F0-BCE5-C4E4D55732D1}"/>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4701A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317" name="Freeform: Shape 316">
                    <a:extLst>
                      <a:ext uri="{FF2B5EF4-FFF2-40B4-BE49-F238E27FC236}">
                        <a16:creationId xmlns:a16="http://schemas.microsoft.com/office/drawing/2014/main" id="{A47728FD-3D72-4833-9BD3-45EC1CDE5F49}"/>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318" name="Freeform: Shape 317">
                    <a:extLst>
                      <a:ext uri="{FF2B5EF4-FFF2-40B4-BE49-F238E27FC236}">
                        <a16:creationId xmlns:a16="http://schemas.microsoft.com/office/drawing/2014/main" id="{187A4959-89FE-4149-99CB-7293E974A63B}"/>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sp>
          <p:nvSpPr>
            <p:cNvPr id="310" name="Rectangle 309">
              <a:extLst>
                <a:ext uri="{FF2B5EF4-FFF2-40B4-BE49-F238E27FC236}">
                  <a16:creationId xmlns:a16="http://schemas.microsoft.com/office/drawing/2014/main" id="{3C539C11-020D-4A12-A6DF-99B2662553CD}"/>
                </a:ext>
              </a:extLst>
            </p:cNvPr>
            <p:cNvSpPr/>
            <p:nvPr userDrawn="1"/>
          </p:nvSpPr>
          <p:spPr>
            <a:xfrm>
              <a:off x="6681006" y="212435"/>
              <a:ext cx="1369484" cy="1245641"/>
            </a:xfrm>
            <a:prstGeom prst="rect">
              <a:avLst/>
            </a:prstGeom>
            <a:noFill/>
          </p:spPr>
          <p:txBody>
            <a:bodyPr wrap="none" lIns="0" tIns="0" rIns="0" bIns="0">
              <a:prstTxWarp prst="textArchUp">
                <a:avLst>
                  <a:gd name="adj" fmla="val 7216448"/>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4701A7"/>
                  </a:solidFill>
                  <a:effectLst/>
                  <a:uLnTx/>
                  <a:uFillTx/>
                  <a:cs typeface="Ubuntu Bold"/>
                </a:rPr>
                <a:t>Insight-driven transformation</a:t>
              </a:r>
            </a:p>
          </p:txBody>
        </p:sp>
      </p:grpSp>
      <p:grpSp>
        <p:nvGrpSpPr>
          <p:cNvPr id="319" name="Group 318">
            <a:extLst>
              <a:ext uri="{FF2B5EF4-FFF2-40B4-BE49-F238E27FC236}">
                <a16:creationId xmlns:a16="http://schemas.microsoft.com/office/drawing/2014/main" id="{7A5002CA-1B95-4FA9-BC88-758FFA39DEF1}"/>
              </a:ext>
            </a:extLst>
          </p:cNvPr>
          <p:cNvGrpSpPr/>
          <p:nvPr userDrawn="1"/>
        </p:nvGrpSpPr>
        <p:grpSpPr>
          <a:xfrm>
            <a:off x="6404116" y="4885306"/>
            <a:ext cx="1369484" cy="1245641"/>
            <a:chOff x="6681006" y="212435"/>
            <a:chExt cx="1369484" cy="1245641"/>
          </a:xfrm>
        </p:grpSpPr>
        <p:grpSp>
          <p:nvGrpSpPr>
            <p:cNvPr id="320" name="Group 319">
              <a:extLst>
                <a:ext uri="{FF2B5EF4-FFF2-40B4-BE49-F238E27FC236}">
                  <a16:creationId xmlns:a16="http://schemas.microsoft.com/office/drawing/2014/main" id="{29765C87-84C2-4267-AA47-28DF91C2D221}"/>
                </a:ext>
              </a:extLst>
            </p:cNvPr>
            <p:cNvGrpSpPr/>
            <p:nvPr userDrawn="1"/>
          </p:nvGrpSpPr>
          <p:grpSpPr>
            <a:xfrm>
              <a:off x="6858795" y="350425"/>
              <a:ext cx="1012586" cy="949131"/>
              <a:chOff x="1143742" y="1261298"/>
              <a:chExt cx="1242926" cy="1165037"/>
            </a:xfrm>
          </p:grpSpPr>
          <p:sp>
            <p:nvSpPr>
              <p:cNvPr id="322" name="Freeform 26">
                <a:extLst>
                  <a:ext uri="{FF2B5EF4-FFF2-40B4-BE49-F238E27FC236}">
                    <a16:creationId xmlns:a16="http://schemas.microsoft.com/office/drawing/2014/main" id="{1BD91AFD-F779-4C43-9588-4B40EF12B45F}"/>
                  </a:ext>
                </a:extLst>
              </p:cNvPr>
              <p:cNvSpPr>
                <a:spLocks/>
              </p:cNvSpPr>
              <p:nvPr userDrawn="1"/>
            </p:nvSpPr>
            <p:spPr bwMode="auto">
              <a:xfrm>
                <a:off x="1143742" y="1261298"/>
                <a:ext cx="1242926" cy="1165037"/>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dirty="0">
                  <a:ln>
                    <a:noFill/>
                  </a:ln>
                  <a:solidFill>
                    <a:prstClr val="black"/>
                  </a:solidFill>
                  <a:effectLst/>
                  <a:uLnTx/>
                  <a:uFillTx/>
                </a:endParaRPr>
              </a:p>
            </p:txBody>
          </p:sp>
          <p:grpSp>
            <p:nvGrpSpPr>
              <p:cNvPr id="323" name="Group 322">
                <a:extLst>
                  <a:ext uri="{FF2B5EF4-FFF2-40B4-BE49-F238E27FC236}">
                    <a16:creationId xmlns:a16="http://schemas.microsoft.com/office/drawing/2014/main" id="{5D5B67F4-0EE2-4AE3-8A13-6D8AB9C4CF5F}"/>
                  </a:ext>
                </a:extLst>
              </p:cNvPr>
              <p:cNvGrpSpPr/>
              <p:nvPr/>
            </p:nvGrpSpPr>
            <p:grpSpPr>
              <a:xfrm>
                <a:off x="1346053" y="1470010"/>
                <a:ext cx="838305" cy="838305"/>
                <a:chOff x="1353715" y="1637650"/>
                <a:chExt cx="838305" cy="838305"/>
              </a:xfrm>
            </p:grpSpPr>
            <p:sp>
              <p:nvSpPr>
                <p:cNvPr id="324" name="Block Arc 323">
                  <a:extLst>
                    <a:ext uri="{FF2B5EF4-FFF2-40B4-BE49-F238E27FC236}">
                      <a16:creationId xmlns:a16="http://schemas.microsoft.com/office/drawing/2014/main" id="{BD313062-AFE3-4436-B8D4-65FB71F7EF82}"/>
                    </a:ext>
                  </a:extLst>
                </p:cNvPr>
                <p:cNvSpPr/>
                <p:nvPr userDrawn="1"/>
              </p:nvSpPr>
              <p:spPr>
                <a:xfrm>
                  <a:off x="1353715" y="1637650"/>
                  <a:ext cx="838305" cy="838305"/>
                </a:xfrm>
                <a:prstGeom prst="blockArc">
                  <a:avLst>
                    <a:gd name="adj1" fmla="val 9931431"/>
                    <a:gd name="adj2" fmla="val 19501890"/>
                    <a:gd name="adj3" fmla="val 14225"/>
                  </a:avLst>
                </a:prstGeom>
                <a:solidFill>
                  <a:srgbClr val="CB298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325" name="Block Arc 324">
                  <a:extLst>
                    <a:ext uri="{FF2B5EF4-FFF2-40B4-BE49-F238E27FC236}">
                      <a16:creationId xmlns:a16="http://schemas.microsoft.com/office/drawing/2014/main" id="{EC0CC698-9385-4EA4-92FB-EEB6FAD7D43D}"/>
                    </a:ext>
                  </a:extLst>
                </p:cNvPr>
                <p:cNvSpPr/>
                <p:nvPr userDrawn="1"/>
              </p:nvSpPr>
              <p:spPr>
                <a:xfrm>
                  <a:off x="1469308" y="1755254"/>
                  <a:ext cx="607118" cy="607118"/>
                </a:xfrm>
                <a:prstGeom prst="blockArc">
                  <a:avLst>
                    <a:gd name="adj1" fmla="val 12441539"/>
                    <a:gd name="adj2" fmla="val 3168047"/>
                    <a:gd name="adj3" fmla="val 15873"/>
                  </a:avLst>
                </a:prstGeom>
                <a:solidFill>
                  <a:srgbClr val="FF7E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326" name="Group 325">
                  <a:extLst>
                    <a:ext uri="{FF2B5EF4-FFF2-40B4-BE49-F238E27FC236}">
                      <a16:creationId xmlns:a16="http://schemas.microsoft.com/office/drawing/2014/main" id="{7D2ACD50-251F-4E15-ABDC-8A3F242A7E7C}"/>
                    </a:ext>
                  </a:extLst>
                </p:cNvPr>
                <p:cNvGrpSpPr/>
                <p:nvPr/>
              </p:nvGrpSpPr>
              <p:grpSpPr>
                <a:xfrm>
                  <a:off x="1590844" y="1912600"/>
                  <a:ext cx="364046" cy="320059"/>
                  <a:chOff x="43216" y="1556297"/>
                  <a:chExt cx="1384776" cy="1217459"/>
                </a:xfrm>
              </p:grpSpPr>
              <p:sp>
                <p:nvSpPr>
                  <p:cNvPr id="327" name="Freeform: Shape 326">
                    <a:extLst>
                      <a:ext uri="{FF2B5EF4-FFF2-40B4-BE49-F238E27FC236}">
                        <a16:creationId xmlns:a16="http://schemas.microsoft.com/office/drawing/2014/main" id="{6C121AB7-E5EC-4F85-839E-635A464C2321}"/>
                      </a:ext>
                    </a:extLst>
                  </p:cNvPr>
                  <p:cNvSpPr/>
                  <p:nvPr/>
                </p:nvSpPr>
                <p:spPr>
                  <a:xfrm>
                    <a:off x="43216" y="1556297"/>
                    <a:ext cx="1384776" cy="1217459"/>
                  </a:xfrm>
                  <a:custGeom>
                    <a:avLst/>
                    <a:gdLst>
                      <a:gd name="connsiteX0" fmla="*/ 556260 w 1337310"/>
                      <a:gd name="connsiteY0" fmla="*/ 1173480 h 1173480"/>
                      <a:gd name="connsiteX1" fmla="*/ 80010 w 1337310"/>
                      <a:gd name="connsiteY1" fmla="*/ 704850 h 1173480"/>
                      <a:gd name="connsiteX2" fmla="*/ 0 w 1337310"/>
                      <a:gd name="connsiteY2" fmla="*/ 247650 h 1173480"/>
                      <a:gd name="connsiteX3" fmla="*/ 339090 w 1337310"/>
                      <a:gd name="connsiteY3" fmla="*/ 0 h 1173480"/>
                      <a:gd name="connsiteX4" fmla="*/ 662940 w 1337310"/>
                      <a:gd name="connsiteY4" fmla="*/ 83820 h 1173480"/>
                      <a:gd name="connsiteX5" fmla="*/ 1062990 w 1337310"/>
                      <a:gd name="connsiteY5" fmla="*/ 11430 h 1173480"/>
                      <a:gd name="connsiteX6" fmla="*/ 1337310 w 1337310"/>
                      <a:gd name="connsiteY6" fmla="*/ 304800 h 1173480"/>
                      <a:gd name="connsiteX7" fmla="*/ 1196340 w 1337310"/>
                      <a:gd name="connsiteY7" fmla="*/ 739140 h 1173480"/>
                      <a:gd name="connsiteX8" fmla="*/ 773430 w 1337310"/>
                      <a:gd name="connsiteY8" fmla="*/ 1154430 h 1173480"/>
                      <a:gd name="connsiteX9" fmla="*/ 556260 w 1337310"/>
                      <a:gd name="connsiteY9" fmla="*/ 1173480 h 1173480"/>
                      <a:gd name="connsiteX0" fmla="*/ 557217 w 1338267"/>
                      <a:gd name="connsiteY0" fmla="*/ 1173480 h 1173480"/>
                      <a:gd name="connsiteX1" fmla="*/ 80967 w 1338267"/>
                      <a:gd name="connsiteY1" fmla="*/ 704850 h 1173480"/>
                      <a:gd name="connsiteX2" fmla="*/ 957 w 1338267"/>
                      <a:gd name="connsiteY2" fmla="*/ 247650 h 1173480"/>
                      <a:gd name="connsiteX3" fmla="*/ 340047 w 1338267"/>
                      <a:gd name="connsiteY3" fmla="*/ 0 h 1173480"/>
                      <a:gd name="connsiteX4" fmla="*/ 663897 w 1338267"/>
                      <a:gd name="connsiteY4" fmla="*/ 83820 h 1173480"/>
                      <a:gd name="connsiteX5" fmla="*/ 1063947 w 1338267"/>
                      <a:gd name="connsiteY5" fmla="*/ 11430 h 1173480"/>
                      <a:gd name="connsiteX6" fmla="*/ 1338267 w 1338267"/>
                      <a:gd name="connsiteY6" fmla="*/ 304800 h 1173480"/>
                      <a:gd name="connsiteX7" fmla="*/ 1197297 w 1338267"/>
                      <a:gd name="connsiteY7" fmla="*/ 739140 h 1173480"/>
                      <a:gd name="connsiteX8" fmla="*/ 774387 w 1338267"/>
                      <a:gd name="connsiteY8" fmla="*/ 1154430 h 1173480"/>
                      <a:gd name="connsiteX9" fmla="*/ 557217 w 1338267"/>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3480 h 1173480"/>
                      <a:gd name="connsiteX1" fmla="*/ 116804 w 1374104"/>
                      <a:gd name="connsiteY1" fmla="*/ 704850 h 1173480"/>
                      <a:gd name="connsiteX2" fmla="*/ 36794 w 1374104"/>
                      <a:gd name="connsiteY2" fmla="*/ 247650 h 1173480"/>
                      <a:gd name="connsiteX3" fmla="*/ 375884 w 1374104"/>
                      <a:gd name="connsiteY3" fmla="*/ 0 h 1173480"/>
                      <a:gd name="connsiteX4" fmla="*/ 699734 w 1374104"/>
                      <a:gd name="connsiteY4" fmla="*/ 83820 h 1173480"/>
                      <a:gd name="connsiteX5" fmla="*/ 1099784 w 1374104"/>
                      <a:gd name="connsiteY5" fmla="*/ 11430 h 1173480"/>
                      <a:gd name="connsiteX6" fmla="*/ 1374104 w 1374104"/>
                      <a:gd name="connsiteY6" fmla="*/ 304800 h 1173480"/>
                      <a:gd name="connsiteX7" fmla="*/ 1233134 w 1374104"/>
                      <a:gd name="connsiteY7" fmla="*/ 739140 h 1173480"/>
                      <a:gd name="connsiteX8" fmla="*/ 810224 w 1374104"/>
                      <a:gd name="connsiteY8" fmla="*/ 1154430 h 1173480"/>
                      <a:gd name="connsiteX9" fmla="*/ 593054 w 1374104"/>
                      <a:gd name="connsiteY9" fmla="*/ 1173480 h 1173480"/>
                      <a:gd name="connsiteX0" fmla="*/ 593054 w 1374104"/>
                      <a:gd name="connsiteY0" fmla="*/ 1178330 h 1178330"/>
                      <a:gd name="connsiteX1" fmla="*/ 116804 w 1374104"/>
                      <a:gd name="connsiteY1" fmla="*/ 709700 h 1178330"/>
                      <a:gd name="connsiteX2" fmla="*/ 36794 w 1374104"/>
                      <a:gd name="connsiteY2" fmla="*/ 252500 h 1178330"/>
                      <a:gd name="connsiteX3" fmla="*/ 375884 w 1374104"/>
                      <a:gd name="connsiteY3" fmla="*/ 4850 h 1178330"/>
                      <a:gd name="connsiteX4" fmla="*/ 699734 w 1374104"/>
                      <a:gd name="connsiteY4" fmla="*/ 88670 h 1178330"/>
                      <a:gd name="connsiteX5" fmla="*/ 1099784 w 1374104"/>
                      <a:gd name="connsiteY5" fmla="*/ 16280 h 1178330"/>
                      <a:gd name="connsiteX6" fmla="*/ 1374104 w 1374104"/>
                      <a:gd name="connsiteY6" fmla="*/ 309650 h 1178330"/>
                      <a:gd name="connsiteX7" fmla="*/ 1233134 w 1374104"/>
                      <a:gd name="connsiteY7" fmla="*/ 743990 h 1178330"/>
                      <a:gd name="connsiteX8" fmla="*/ 810224 w 1374104"/>
                      <a:gd name="connsiteY8" fmla="*/ 1159280 h 1178330"/>
                      <a:gd name="connsiteX9" fmla="*/ 593054 w 1374104"/>
                      <a:gd name="connsiteY9" fmla="*/ 1178330 h 1178330"/>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74104"/>
                      <a:gd name="connsiteY0" fmla="*/ 1179282 h 1179282"/>
                      <a:gd name="connsiteX1" fmla="*/ 116804 w 1374104"/>
                      <a:gd name="connsiteY1" fmla="*/ 710652 h 1179282"/>
                      <a:gd name="connsiteX2" fmla="*/ 36794 w 1374104"/>
                      <a:gd name="connsiteY2" fmla="*/ 253452 h 1179282"/>
                      <a:gd name="connsiteX3" fmla="*/ 375884 w 1374104"/>
                      <a:gd name="connsiteY3" fmla="*/ 5802 h 1179282"/>
                      <a:gd name="connsiteX4" fmla="*/ 699734 w 1374104"/>
                      <a:gd name="connsiteY4" fmla="*/ 89622 h 1179282"/>
                      <a:gd name="connsiteX5" fmla="*/ 1099784 w 1374104"/>
                      <a:gd name="connsiteY5" fmla="*/ 17232 h 1179282"/>
                      <a:gd name="connsiteX6" fmla="*/ 1374104 w 1374104"/>
                      <a:gd name="connsiteY6" fmla="*/ 310602 h 1179282"/>
                      <a:gd name="connsiteX7" fmla="*/ 1233134 w 1374104"/>
                      <a:gd name="connsiteY7" fmla="*/ 744942 h 1179282"/>
                      <a:gd name="connsiteX8" fmla="*/ 810224 w 1374104"/>
                      <a:gd name="connsiteY8" fmla="*/ 1160232 h 1179282"/>
                      <a:gd name="connsiteX9" fmla="*/ 593054 w 1374104"/>
                      <a:gd name="connsiteY9" fmla="*/ 1179282 h 1179282"/>
                      <a:gd name="connsiteX0" fmla="*/ 593054 w 1385167"/>
                      <a:gd name="connsiteY0" fmla="*/ 1179282 h 1179282"/>
                      <a:gd name="connsiteX1" fmla="*/ 116804 w 1385167"/>
                      <a:gd name="connsiteY1" fmla="*/ 710652 h 1179282"/>
                      <a:gd name="connsiteX2" fmla="*/ 36794 w 1385167"/>
                      <a:gd name="connsiteY2" fmla="*/ 253452 h 1179282"/>
                      <a:gd name="connsiteX3" fmla="*/ 375884 w 1385167"/>
                      <a:gd name="connsiteY3" fmla="*/ 5802 h 1179282"/>
                      <a:gd name="connsiteX4" fmla="*/ 699734 w 1385167"/>
                      <a:gd name="connsiteY4" fmla="*/ 89622 h 1179282"/>
                      <a:gd name="connsiteX5" fmla="*/ 1099784 w 1385167"/>
                      <a:gd name="connsiteY5" fmla="*/ 17232 h 1179282"/>
                      <a:gd name="connsiteX6" fmla="*/ 1374104 w 1385167"/>
                      <a:gd name="connsiteY6" fmla="*/ 310602 h 1179282"/>
                      <a:gd name="connsiteX7" fmla="*/ 1233134 w 1385167"/>
                      <a:gd name="connsiteY7" fmla="*/ 744942 h 1179282"/>
                      <a:gd name="connsiteX8" fmla="*/ 810224 w 1385167"/>
                      <a:gd name="connsiteY8" fmla="*/ 1160232 h 1179282"/>
                      <a:gd name="connsiteX9" fmla="*/ 593054 w 1385167"/>
                      <a:gd name="connsiteY9" fmla="*/ 1179282 h 1179282"/>
                      <a:gd name="connsiteX0" fmla="*/ 593054 w 1386248"/>
                      <a:gd name="connsiteY0" fmla="*/ 1179282 h 1179282"/>
                      <a:gd name="connsiteX1" fmla="*/ 116804 w 1386248"/>
                      <a:gd name="connsiteY1" fmla="*/ 710652 h 1179282"/>
                      <a:gd name="connsiteX2" fmla="*/ 36794 w 1386248"/>
                      <a:gd name="connsiteY2" fmla="*/ 253452 h 1179282"/>
                      <a:gd name="connsiteX3" fmla="*/ 375884 w 1386248"/>
                      <a:gd name="connsiteY3" fmla="*/ 5802 h 1179282"/>
                      <a:gd name="connsiteX4" fmla="*/ 699734 w 1386248"/>
                      <a:gd name="connsiteY4" fmla="*/ 89622 h 1179282"/>
                      <a:gd name="connsiteX5" fmla="*/ 1099784 w 1386248"/>
                      <a:gd name="connsiteY5" fmla="*/ 17232 h 1179282"/>
                      <a:gd name="connsiteX6" fmla="*/ 1374104 w 1386248"/>
                      <a:gd name="connsiteY6" fmla="*/ 310602 h 1179282"/>
                      <a:gd name="connsiteX7" fmla="*/ 1233134 w 1386248"/>
                      <a:gd name="connsiteY7" fmla="*/ 744942 h 1179282"/>
                      <a:gd name="connsiteX8" fmla="*/ 810224 w 1386248"/>
                      <a:gd name="connsiteY8" fmla="*/ 1160232 h 1179282"/>
                      <a:gd name="connsiteX9" fmla="*/ 593054 w 138624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5608"/>
                      <a:gd name="connsiteY0" fmla="*/ 1179282 h 1179282"/>
                      <a:gd name="connsiteX1" fmla="*/ 116804 w 1385608"/>
                      <a:gd name="connsiteY1" fmla="*/ 710652 h 1179282"/>
                      <a:gd name="connsiteX2" fmla="*/ 36794 w 1385608"/>
                      <a:gd name="connsiteY2" fmla="*/ 253452 h 1179282"/>
                      <a:gd name="connsiteX3" fmla="*/ 375884 w 1385608"/>
                      <a:gd name="connsiteY3" fmla="*/ 5802 h 1179282"/>
                      <a:gd name="connsiteX4" fmla="*/ 699734 w 1385608"/>
                      <a:gd name="connsiteY4" fmla="*/ 89622 h 1179282"/>
                      <a:gd name="connsiteX5" fmla="*/ 1099784 w 1385608"/>
                      <a:gd name="connsiteY5" fmla="*/ 17232 h 1179282"/>
                      <a:gd name="connsiteX6" fmla="*/ 1374104 w 1385608"/>
                      <a:gd name="connsiteY6" fmla="*/ 310602 h 1179282"/>
                      <a:gd name="connsiteX7" fmla="*/ 1233134 w 1385608"/>
                      <a:gd name="connsiteY7" fmla="*/ 744942 h 1179282"/>
                      <a:gd name="connsiteX8" fmla="*/ 810224 w 1385608"/>
                      <a:gd name="connsiteY8" fmla="*/ 1160232 h 1179282"/>
                      <a:gd name="connsiteX9" fmla="*/ 593054 w 1385608"/>
                      <a:gd name="connsiteY9" fmla="*/ 1179282 h 1179282"/>
                      <a:gd name="connsiteX0" fmla="*/ 593054 w 1384776"/>
                      <a:gd name="connsiteY0" fmla="*/ 1179282 h 1179282"/>
                      <a:gd name="connsiteX1" fmla="*/ 116804 w 1384776"/>
                      <a:gd name="connsiteY1" fmla="*/ 710652 h 1179282"/>
                      <a:gd name="connsiteX2" fmla="*/ 36794 w 1384776"/>
                      <a:gd name="connsiteY2" fmla="*/ 253452 h 1179282"/>
                      <a:gd name="connsiteX3" fmla="*/ 375884 w 1384776"/>
                      <a:gd name="connsiteY3" fmla="*/ 5802 h 1179282"/>
                      <a:gd name="connsiteX4" fmla="*/ 699734 w 1384776"/>
                      <a:gd name="connsiteY4" fmla="*/ 89622 h 1179282"/>
                      <a:gd name="connsiteX5" fmla="*/ 1099784 w 1384776"/>
                      <a:gd name="connsiteY5" fmla="*/ 17232 h 1179282"/>
                      <a:gd name="connsiteX6" fmla="*/ 1374104 w 1384776"/>
                      <a:gd name="connsiteY6" fmla="*/ 310602 h 1179282"/>
                      <a:gd name="connsiteX7" fmla="*/ 1233134 w 1384776"/>
                      <a:gd name="connsiteY7" fmla="*/ 744942 h 1179282"/>
                      <a:gd name="connsiteX8" fmla="*/ 810224 w 1384776"/>
                      <a:gd name="connsiteY8" fmla="*/ 1160232 h 1179282"/>
                      <a:gd name="connsiteX9" fmla="*/ 593054 w 1384776"/>
                      <a:gd name="connsiteY9" fmla="*/ 1179282 h 1179282"/>
                      <a:gd name="connsiteX0" fmla="*/ 593054 w 1384776"/>
                      <a:gd name="connsiteY0" fmla="*/ 1179282 h 1208684"/>
                      <a:gd name="connsiteX1" fmla="*/ 116804 w 1384776"/>
                      <a:gd name="connsiteY1" fmla="*/ 710652 h 1208684"/>
                      <a:gd name="connsiteX2" fmla="*/ 36794 w 1384776"/>
                      <a:gd name="connsiteY2" fmla="*/ 253452 h 1208684"/>
                      <a:gd name="connsiteX3" fmla="*/ 375884 w 1384776"/>
                      <a:gd name="connsiteY3" fmla="*/ 5802 h 1208684"/>
                      <a:gd name="connsiteX4" fmla="*/ 699734 w 1384776"/>
                      <a:gd name="connsiteY4" fmla="*/ 89622 h 1208684"/>
                      <a:gd name="connsiteX5" fmla="*/ 1099784 w 1384776"/>
                      <a:gd name="connsiteY5" fmla="*/ 17232 h 1208684"/>
                      <a:gd name="connsiteX6" fmla="*/ 1374104 w 1384776"/>
                      <a:gd name="connsiteY6" fmla="*/ 310602 h 1208684"/>
                      <a:gd name="connsiteX7" fmla="*/ 1233134 w 1384776"/>
                      <a:gd name="connsiteY7" fmla="*/ 744942 h 1208684"/>
                      <a:gd name="connsiteX8" fmla="*/ 810224 w 1384776"/>
                      <a:gd name="connsiteY8" fmla="*/ 1160232 h 1208684"/>
                      <a:gd name="connsiteX9" fmla="*/ 593054 w 1384776"/>
                      <a:gd name="connsiteY9" fmla="*/ 1179282 h 1208684"/>
                      <a:gd name="connsiteX0" fmla="*/ 593054 w 1384776"/>
                      <a:gd name="connsiteY0" fmla="*/ 1179282 h 1226054"/>
                      <a:gd name="connsiteX1" fmla="*/ 116804 w 1384776"/>
                      <a:gd name="connsiteY1" fmla="*/ 710652 h 1226054"/>
                      <a:gd name="connsiteX2" fmla="*/ 36794 w 1384776"/>
                      <a:gd name="connsiteY2" fmla="*/ 253452 h 1226054"/>
                      <a:gd name="connsiteX3" fmla="*/ 375884 w 1384776"/>
                      <a:gd name="connsiteY3" fmla="*/ 5802 h 1226054"/>
                      <a:gd name="connsiteX4" fmla="*/ 699734 w 1384776"/>
                      <a:gd name="connsiteY4" fmla="*/ 89622 h 1226054"/>
                      <a:gd name="connsiteX5" fmla="*/ 1099784 w 1384776"/>
                      <a:gd name="connsiteY5" fmla="*/ 17232 h 1226054"/>
                      <a:gd name="connsiteX6" fmla="*/ 1374104 w 1384776"/>
                      <a:gd name="connsiteY6" fmla="*/ 310602 h 1226054"/>
                      <a:gd name="connsiteX7" fmla="*/ 1233134 w 1384776"/>
                      <a:gd name="connsiteY7" fmla="*/ 744942 h 1226054"/>
                      <a:gd name="connsiteX8" fmla="*/ 810224 w 1384776"/>
                      <a:gd name="connsiteY8" fmla="*/ 1160232 h 1226054"/>
                      <a:gd name="connsiteX9" fmla="*/ 593054 w 1384776"/>
                      <a:gd name="connsiteY9" fmla="*/ 1179282 h 1226054"/>
                      <a:gd name="connsiteX0" fmla="*/ 593054 w 1384776"/>
                      <a:gd name="connsiteY0" fmla="*/ 1179282 h 1213904"/>
                      <a:gd name="connsiteX1" fmla="*/ 116804 w 1384776"/>
                      <a:gd name="connsiteY1" fmla="*/ 710652 h 1213904"/>
                      <a:gd name="connsiteX2" fmla="*/ 36794 w 1384776"/>
                      <a:gd name="connsiteY2" fmla="*/ 253452 h 1213904"/>
                      <a:gd name="connsiteX3" fmla="*/ 375884 w 1384776"/>
                      <a:gd name="connsiteY3" fmla="*/ 5802 h 1213904"/>
                      <a:gd name="connsiteX4" fmla="*/ 699734 w 1384776"/>
                      <a:gd name="connsiteY4" fmla="*/ 89622 h 1213904"/>
                      <a:gd name="connsiteX5" fmla="*/ 1099784 w 1384776"/>
                      <a:gd name="connsiteY5" fmla="*/ 17232 h 1213904"/>
                      <a:gd name="connsiteX6" fmla="*/ 1374104 w 1384776"/>
                      <a:gd name="connsiteY6" fmla="*/ 310602 h 1213904"/>
                      <a:gd name="connsiteX7" fmla="*/ 1233134 w 1384776"/>
                      <a:gd name="connsiteY7" fmla="*/ 744942 h 1213904"/>
                      <a:gd name="connsiteX8" fmla="*/ 810224 w 1384776"/>
                      <a:gd name="connsiteY8" fmla="*/ 1160232 h 1213904"/>
                      <a:gd name="connsiteX9" fmla="*/ 593054 w 1384776"/>
                      <a:gd name="connsiteY9" fmla="*/ 1179282 h 1213904"/>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79282 h 1217458"/>
                      <a:gd name="connsiteX1" fmla="*/ 116804 w 1384776"/>
                      <a:gd name="connsiteY1" fmla="*/ 710652 h 1217458"/>
                      <a:gd name="connsiteX2" fmla="*/ 36794 w 1384776"/>
                      <a:gd name="connsiteY2" fmla="*/ 253452 h 1217458"/>
                      <a:gd name="connsiteX3" fmla="*/ 375884 w 1384776"/>
                      <a:gd name="connsiteY3" fmla="*/ 5802 h 1217458"/>
                      <a:gd name="connsiteX4" fmla="*/ 699734 w 1384776"/>
                      <a:gd name="connsiteY4" fmla="*/ 89622 h 1217458"/>
                      <a:gd name="connsiteX5" fmla="*/ 1099784 w 1384776"/>
                      <a:gd name="connsiteY5" fmla="*/ 17232 h 1217458"/>
                      <a:gd name="connsiteX6" fmla="*/ 1374104 w 1384776"/>
                      <a:gd name="connsiteY6" fmla="*/ 310602 h 1217458"/>
                      <a:gd name="connsiteX7" fmla="*/ 1233134 w 1384776"/>
                      <a:gd name="connsiteY7" fmla="*/ 744942 h 1217458"/>
                      <a:gd name="connsiteX8" fmla="*/ 810224 w 1384776"/>
                      <a:gd name="connsiteY8" fmla="*/ 1160232 h 1217458"/>
                      <a:gd name="connsiteX9" fmla="*/ 593054 w 1384776"/>
                      <a:gd name="connsiteY9" fmla="*/ 1179282 h 1217458"/>
                      <a:gd name="connsiteX0" fmla="*/ 593054 w 1384776"/>
                      <a:gd name="connsiteY0" fmla="*/ 1180386 h 1218562"/>
                      <a:gd name="connsiteX1" fmla="*/ 116804 w 1384776"/>
                      <a:gd name="connsiteY1" fmla="*/ 711756 h 1218562"/>
                      <a:gd name="connsiteX2" fmla="*/ 36794 w 1384776"/>
                      <a:gd name="connsiteY2" fmla="*/ 254556 h 1218562"/>
                      <a:gd name="connsiteX3" fmla="*/ 375884 w 1384776"/>
                      <a:gd name="connsiteY3" fmla="*/ 6906 h 1218562"/>
                      <a:gd name="connsiteX4" fmla="*/ 699734 w 1384776"/>
                      <a:gd name="connsiteY4" fmla="*/ 90726 h 1218562"/>
                      <a:gd name="connsiteX5" fmla="*/ 1099784 w 1384776"/>
                      <a:gd name="connsiteY5" fmla="*/ 18336 h 1218562"/>
                      <a:gd name="connsiteX6" fmla="*/ 1374104 w 1384776"/>
                      <a:gd name="connsiteY6" fmla="*/ 311706 h 1218562"/>
                      <a:gd name="connsiteX7" fmla="*/ 1233134 w 1384776"/>
                      <a:gd name="connsiteY7" fmla="*/ 746046 h 1218562"/>
                      <a:gd name="connsiteX8" fmla="*/ 810224 w 1384776"/>
                      <a:gd name="connsiteY8" fmla="*/ 1161336 h 1218562"/>
                      <a:gd name="connsiteX9" fmla="*/ 593054 w 1384776"/>
                      <a:gd name="connsiteY9" fmla="*/ 1180386 h 1218562"/>
                      <a:gd name="connsiteX0" fmla="*/ 593054 w 1384776"/>
                      <a:gd name="connsiteY0" fmla="*/ 1179619 h 1217795"/>
                      <a:gd name="connsiteX1" fmla="*/ 116804 w 1384776"/>
                      <a:gd name="connsiteY1" fmla="*/ 710989 h 1217795"/>
                      <a:gd name="connsiteX2" fmla="*/ 36794 w 1384776"/>
                      <a:gd name="connsiteY2" fmla="*/ 253789 h 1217795"/>
                      <a:gd name="connsiteX3" fmla="*/ 375884 w 1384776"/>
                      <a:gd name="connsiteY3" fmla="*/ 6139 h 1217795"/>
                      <a:gd name="connsiteX4" fmla="*/ 699734 w 1384776"/>
                      <a:gd name="connsiteY4" fmla="*/ 89959 h 1217795"/>
                      <a:gd name="connsiteX5" fmla="*/ 1099784 w 1384776"/>
                      <a:gd name="connsiteY5" fmla="*/ 17569 h 1217795"/>
                      <a:gd name="connsiteX6" fmla="*/ 1374104 w 1384776"/>
                      <a:gd name="connsiteY6" fmla="*/ 310939 h 1217795"/>
                      <a:gd name="connsiteX7" fmla="*/ 1233134 w 1384776"/>
                      <a:gd name="connsiteY7" fmla="*/ 745279 h 1217795"/>
                      <a:gd name="connsiteX8" fmla="*/ 810224 w 1384776"/>
                      <a:gd name="connsiteY8" fmla="*/ 1160569 h 1217795"/>
                      <a:gd name="connsiteX9" fmla="*/ 593054 w 1384776"/>
                      <a:gd name="connsiteY9" fmla="*/ 1179619 h 1217795"/>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 name="connsiteX0" fmla="*/ 593054 w 1384776"/>
                      <a:gd name="connsiteY0" fmla="*/ 1179283 h 1217459"/>
                      <a:gd name="connsiteX1" fmla="*/ 116804 w 1384776"/>
                      <a:gd name="connsiteY1" fmla="*/ 710653 h 1217459"/>
                      <a:gd name="connsiteX2" fmla="*/ 36794 w 1384776"/>
                      <a:gd name="connsiteY2" fmla="*/ 253453 h 1217459"/>
                      <a:gd name="connsiteX3" fmla="*/ 375884 w 1384776"/>
                      <a:gd name="connsiteY3" fmla="*/ 5803 h 1217459"/>
                      <a:gd name="connsiteX4" fmla="*/ 699734 w 1384776"/>
                      <a:gd name="connsiteY4" fmla="*/ 89623 h 1217459"/>
                      <a:gd name="connsiteX5" fmla="*/ 1099784 w 1384776"/>
                      <a:gd name="connsiteY5" fmla="*/ 17233 h 1217459"/>
                      <a:gd name="connsiteX6" fmla="*/ 1374104 w 1384776"/>
                      <a:gd name="connsiteY6" fmla="*/ 310603 h 1217459"/>
                      <a:gd name="connsiteX7" fmla="*/ 1233134 w 1384776"/>
                      <a:gd name="connsiteY7" fmla="*/ 744943 h 1217459"/>
                      <a:gd name="connsiteX8" fmla="*/ 810224 w 1384776"/>
                      <a:gd name="connsiteY8" fmla="*/ 1160233 h 1217459"/>
                      <a:gd name="connsiteX9" fmla="*/ 593054 w 1384776"/>
                      <a:gd name="connsiteY9" fmla="*/ 1179283 h 12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4776" h="1217459">
                        <a:moveTo>
                          <a:pt x="593054" y="1179283"/>
                        </a:moveTo>
                        <a:lnTo>
                          <a:pt x="116804" y="710653"/>
                        </a:lnTo>
                        <a:cubicBezTo>
                          <a:pt x="-19086" y="560793"/>
                          <a:pt x="-22896" y="426173"/>
                          <a:pt x="36794" y="253453"/>
                        </a:cubicBezTo>
                        <a:cubicBezTo>
                          <a:pt x="104104" y="64223"/>
                          <a:pt x="298414" y="14693"/>
                          <a:pt x="375884" y="5803"/>
                        </a:cubicBezTo>
                        <a:cubicBezTo>
                          <a:pt x="499074" y="-19597"/>
                          <a:pt x="647664" y="43903"/>
                          <a:pt x="699734" y="89623"/>
                        </a:cubicBezTo>
                        <a:cubicBezTo>
                          <a:pt x="766409" y="40728"/>
                          <a:pt x="918809" y="-29122"/>
                          <a:pt x="1099784" y="17233"/>
                        </a:cubicBezTo>
                        <a:cubicBezTo>
                          <a:pt x="1259804" y="76923"/>
                          <a:pt x="1343624" y="205193"/>
                          <a:pt x="1374104" y="310603"/>
                        </a:cubicBezTo>
                        <a:cubicBezTo>
                          <a:pt x="1423634" y="536663"/>
                          <a:pt x="1287744" y="699223"/>
                          <a:pt x="1233134" y="744943"/>
                        </a:cubicBezTo>
                        <a:lnTo>
                          <a:pt x="810224" y="1160233"/>
                        </a:lnTo>
                        <a:cubicBezTo>
                          <a:pt x="745454" y="1237703"/>
                          <a:pt x="647664" y="1228813"/>
                          <a:pt x="593054" y="1179283"/>
                        </a:cubicBezTo>
                        <a:close/>
                      </a:path>
                    </a:pathLst>
                  </a:custGeom>
                  <a:solidFill>
                    <a:srgbClr val="86086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328" name="Freeform: Shape 327">
                    <a:extLst>
                      <a:ext uri="{FF2B5EF4-FFF2-40B4-BE49-F238E27FC236}">
                        <a16:creationId xmlns:a16="http://schemas.microsoft.com/office/drawing/2014/main" id="{CE0B9F26-396E-4CDB-B91B-2BCE57662951}"/>
                      </a:ext>
                    </a:extLst>
                  </p:cNvPr>
                  <p:cNvSpPr/>
                  <p:nvPr/>
                </p:nvSpPr>
                <p:spPr>
                  <a:xfrm>
                    <a:off x="118062" y="1633076"/>
                    <a:ext cx="565198" cy="650383"/>
                  </a:xfrm>
                  <a:custGeom>
                    <a:avLst/>
                    <a:gdLst>
                      <a:gd name="connsiteX0" fmla="*/ 157480 w 558800"/>
                      <a:gd name="connsiteY0" fmla="*/ 632460 h 632460"/>
                      <a:gd name="connsiteX1" fmla="*/ 0 w 558800"/>
                      <a:gd name="connsiteY1" fmla="*/ 243840 h 632460"/>
                      <a:gd name="connsiteX2" fmla="*/ 241300 w 558800"/>
                      <a:gd name="connsiteY2" fmla="*/ 0 h 632460"/>
                      <a:gd name="connsiteX3" fmla="*/ 558800 w 558800"/>
                      <a:gd name="connsiteY3" fmla="*/ 53340 h 632460"/>
                      <a:gd name="connsiteX4" fmla="*/ 312420 w 558800"/>
                      <a:gd name="connsiteY4" fmla="*/ 299720 h 632460"/>
                      <a:gd name="connsiteX5" fmla="*/ 314960 w 558800"/>
                      <a:gd name="connsiteY5" fmla="*/ 459740 h 632460"/>
                      <a:gd name="connsiteX6" fmla="*/ 157480 w 558800"/>
                      <a:gd name="connsiteY6" fmla="*/ 632460 h 632460"/>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57480 w 558800"/>
                      <a:gd name="connsiteY0" fmla="*/ 645227 h 645227"/>
                      <a:gd name="connsiteX1" fmla="*/ 0 w 558800"/>
                      <a:gd name="connsiteY1" fmla="*/ 256607 h 645227"/>
                      <a:gd name="connsiteX2" fmla="*/ 241300 w 558800"/>
                      <a:gd name="connsiteY2" fmla="*/ 12767 h 645227"/>
                      <a:gd name="connsiteX3" fmla="*/ 558800 w 558800"/>
                      <a:gd name="connsiteY3" fmla="*/ 66107 h 645227"/>
                      <a:gd name="connsiteX4" fmla="*/ 312420 w 558800"/>
                      <a:gd name="connsiteY4" fmla="*/ 312487 h 645227"/>
                      <a:gd name="connsiteX5" fmla="*/ 314960 w 558800"/>
                      <a:gd name="connsiteY5" fmla="*/ 472507 h 645227"/>
                      <a:gd name="connsiteX6" fmla="*/ 157480 w 558800"/>
                      <a:gd name="connsiteY6" fmla="*/ 645227 h 645227"/>
                      <a:gd name="connsiteX0" fmla="*/ 162100 w 563420"/>
                      <a:gd name="connsiteY0" fmla="*/ 645227 h 645227"/>
                      <a:gd name="connsiteX1" fmla="*/ 4620 w 563420"/>
                      <a:gd name="connsiteY1" fmla="*/ 256607 h 645227"/>
                      <a:gd name="connsiteX2" fmla="*/ 245920 w 563420"/>
                      <a:gd name="connsiteY2" fmla="*/ 12767 h 645227"/>
                      <a:gd name="connsiteX3" fmla="*/ 563420 w 563420"/>
                      <a:gd name="connsiteY3" fmla="*/ 66107 h 645227"/>
                      <a:gd name="connsiteX4" fmla="*/ 317040 w 563420"/>
                      <a:gd name="connsiteY4" fmla="*/ 312487 h 645227"/>
                      <a:gd name="connsiteX5" fmla="*/ 319580 w 563420"/>
                      <a:gd name="connsiteY5" fmla="*/ 472507 h 645227"/>
                      <a:gd name="connsiteX6" fmla="*/ 162100 w 563420"/>
                      <a:gd name="connsiteY6" fmla="*/ 645227 h 645227"/>
                      <a:gd name="connsiteX0" fmla="*/ 163878 w 565198"/>
                      <a:gd name="connsiteY0" fmla="*/ 645227 h 645227"/>
                      <a:gd name="connsiteX1" fmla="*/ 6398 w 565198"/>
                      <a:gd name="connsiteY1" fmla="*/ 256607 h 645227"/>
                      <a:gd name="connsiteX2" fmla="*/ 247698 w 565198"/>
                      <a:gd name="connsiteY2" fmla="*/ 12767 h 645227"/>
                      <a:gd name="connsiteX3" fmla="*/ 565198 w 565198"/>
                      <a:gd name="connsiteY3" fmla="*/ 66107 h 645227"/>
                      <a:gd name="connsiteX4" fmla="*/ 318818 w 565198"/>
                      <a:gd name="connsiteY4" fmla="*/ 312487 h 645227"/>
                      <a:gd name="connsiteX5" fmla="*/ 321358 w 565198"/>
                      <a:gd name="connsiteY5" fmla="*/ 472507 h 645227"/>
                      <a:gd name="connsiteX6" fmla="*/ 163878 w 565198"/>
                      <a:gd name="connsiteY6" fmla="*/ 645227 h 645227"/>
                      <a:gd name="connsiteX0" fmla="*/ 163878 w 565198"/>
                      <a:gd name="connsiteY0" fmla="*/ 645979 h 645979"/>
                      <a:gd name="connsiteX1" fmla="*/ 6398 w 565198"/>
                      <a:gd name="connsiteY1" fmla="*/ 257359 h 645979"/>
                      <a:gd name="connsiteX2" fmla="*/ 247698 w 565198"/>
                      <a:gd name="connsiteY2" fmla="*/ 13519 h 645979"/>
                      <a:gd name="connsiteX3" fmla="*/ 565198 w 565198"/>
                      <a:gd name="connsiteY3" fmla="*/ 66859 h 645979"/>
                      <a:gd name="connsiteX4" fmla="*/ 318818 w 565198"/>
                      <a:gd name="connsiteY4" fmla="*/ 313239 h 645979"/>
                      <a:gd name="connsiteX5" fmla="*/ 321358 w 565198"/>
                      <a:gd name="connsiteY5" fmla="*/ 473259 h 645979"/>
                      <a:gd name="connsiteX6" fmla="*/ 163878 w 565198"/>
                      <a:gd name="connsiteY6" fmla="*/ 645979 h 645979"/>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8818 w 565198"/>
                      <a:gd name="connsiteY4" fmla="*/ 31764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 name="connsiteX0" fmla="*/ 163878 w 565198"/>
                      <a:gd name="connsiteY0" fmla="*/ 650383 h 650383"/>
                      <a:gd name="connsiteX1" fmla="*/ 6398 w 565198"/>
                      <a:gd name="connsiteY1" fmla="*/ 261763 h 650383"/>
                      <a:gd name="connsiteX2" fmla="*/ 247698 w 565198"/>
                      <a:gd name="connsiteY2" fmla="*/ 17923 h 650383"/>
                      <a:gd name="connsiteX3" fmla="*/ 565198 w 565198"/>
                      <a:gd name="connsiteY3" fmla="*/ 71263 h 650383"/>
                      <a:gd name="connsiteX4" fmla="*/ 313103 w 565198"/>
                      <a:gd name="connsiteY4" fmla="*/ 313833 h 650383"/>
                      <a:gd name="connsiteX5" fmla="*/ 321358 w 565198"/>
                      <a:gd name="connsiteY5" fmla="*/ 477663 h 650383"/>
                      <a:gd name="connsiteX6" fmla="*/ 163878 w 565198"/>
                      <a:gd name="connsiteY6" fmla="*/ 650383 h 65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98" h="650383">
                        <a:moveTo>
                          <a:pt x="163878" y="650383"/>
                        </a:moveTo>
                        <a:cubicBezTo>
                          <a:pt x="63760" y="583708"/>
                          <a:pt x="-24929" y="425593"/>
                          <a:pt x="6398" y="261763"/>
                        </a:cubicBezTo>
                        <a:cubicBezTo>
                          <a:pt x="48731" y="140478"/>
                          <a:pt x="131070" y="55388"/>
                          <a:pt x="247698" y="17923"/>
                        </a:cubicBezTo>
                        <a:cubicBezTo>
                          <a:pt x="387821" y="-27162"/>
                          <a:pt x="531755" y="21098"/>
                          <a:pt x="565198" y="71263"/>
                        </a:cubicBezTo>
                        <a:lnTo>
                          <a:pt x="313103" y="313833"/>
                        </a:lnTo>
                        <a:cubicBezTo>
                          <a:pt x="214890" y="384318"/>
                          <a:pt x="276696" y="473853"/>
                          <a:pt x="321358" y="477663"/>
                        </a:cubicBezTo>
                        <a:lnTo>
                          <a:pt x="163878" y="650383"/>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329" name="Freeform: Shape 328">
                    <a:extLst>
                      <a:ext uri="{FF2B5EF4-FFF2-40B4-BE49-F238E27FC236}">
                        <a16:creationId xmlns:a16="http://schemas.microsoft.com/office/drawing/2014/main" id="{0D8C9216-A820-4AD8-8F93-FBAD1EE2E8C3}"/>
                      </a:ext>
                    </a:extLst>
                  </p:cNvPr>
                  <p:cNvSpPr/>
                  <p:nvPr/>
                </p:nvSpPr>
                <p:spPr>
                  <a:xfrm>
                    <a:off x="354717" y="1633191"/>
                    <a:ext cx="999895" cy="1072106"/>
                  </a:xfrm>
                  <a:custGeom>
                    <a:avLst/>
                    <a:gdLst>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84810 h 1057275"/>
                      <a:gd name="connsiteX1" fmla="*/ 401955 w 973455"/>
                      <a:gd name="connsiteY1" fmla="*/ 80010 h 1057275"/>
                      <a:gd name="connsiteX2" fmla="*/ 731520 w 973455"/>
                      <a:gd name="connsiteY2" fmla="*/ 0 h 1057275"/>
                      <a:gd name="connsiteX3" fmla="*/ 922020 w 973455"/>
                      <a:gd name="connsiteY3" fmla="*/ 190500 h 1057275"/>
                      <a:gd name="connsiteX4" fmla="*/ 973455 w 973455"/>
                      <a:gd name="connsiteY4" fmla="*/ 232410 h 1057275"/>
                      <a:gd name="connsiteX5" fmla="*/ 878205 w 973455"/>
                      <a:gd name="connsiteY5" fmla="*/ 588645 h 1057275"/>
                      <a:gd name="connsiteX6" fmla="*/ 405765 w 973455"/>
                      <a:gd name="connsiteY6" fmla="*/ 1057275 h 1057275"/>
                      <a:gd name="connsiteX7" fmla="*/ 342900 w 973455"/>
                      <a:gd name="connsiteY7" fmla="*/ 994410 h 1057275"/>
                      <a:gd name="connsiteX8" fmla="*/ 582930 w 973455"/>
                      <a:gd name="connsiteY8" fmla="*/ 762000 h 1057275"/>
                      <a:gd name="connsiteX9" fmla="*/ 523875 w 973455"/>
                      <a:gd name="connsiteY9" fmla="*/ 712470 h 1057275"/>
                      <a:gd name="connsiteX10" fmla="*/ 293370 w 973455"/>
                      <a:gd name="connsiteY10" fmla="*/ 941070 h 1057275"/>
                      <a:gd name="connsiteX11" fmla="*/ 230505 w 973455"/>
                      <a:gd name="connsiteY11" fmla="*/ 870585 h 1057275"/>
                      <a:gd name="connsiteX12" fmla="*/ 453390 w 973455"/>
                      <a:gd name="connsiteY12" fmla="*/ 651510 h 1057275"/>
                      <a:gd name="connsiteX13" fmla="*/ 407670 w 973455"/>
                      <a:gd name="connsiteY13" fmla="*/ 605790 h 1057275"/>
                      <a:gd name="connsiteX14" fmla="*/ 184785 w 973455"/>
                      <a:gd name="connsiteY14" fmla="*/ 815340 h 1057275"/>
                      <a:gd name="connsiteX15" fmla="*/ 125730 w 973455"/>
                      <a:gd name="connsiteY15" fmla="*/ 758190 h 1057275"/>
                      <a:gd name="connsiteX16" fmla="*/ 344805 w 973455"/>
                      <a:gd name="connsiteY16" fmla="*/ 541020 h 1057275"/>
                      <a:gd name="connsiteX17" fmla="*/ 295275 w 973455"/>
                      <a:gd name="connsiteY17" fmla="*/ 491490 h 1057275"/>
                      <a:gd name="connsiteX18" fmla="*/ 55245 w 973455"/>
                      <a:gd name="connsiteY18" fmla="*/ 720090 h 1057275"/>
                      <a:gd name="connsiteX19" fmla="*/ 0 w 973455"/>
                      <a:gd name="connsiteY19" fmla="*/ 645795 h 1057275"/>
                      <a:gd name="connsiteX20" fmla="*/ 156210 w 973455"/>
                      <a:gd name="connsiteY20" fmla="*/ 483870 h 1057275"/>
                      <a:gd name="connsiteX21" fmla="*/ 276225 w 973455"/>
                      <a:gd name="connsiteY21" fmla="*/ 441960 h 1057275"/>
                      <a:gd name="connsiteX22" fmla="*/ 379095 w 973455"/>
                      <a:gd name="connsiteY22" fmla="*/ 344805 h 1057275"/>
                      <a:gd name="connsiteX23" fmla="*/ 672465 w 973455"/>
                      <a:gd name="connsiteY23" fmla="*/ 354330 h 1057275"/>
                      <a:gd name="connsiteX24" fmla="*/ 630555 w 973455"/>
                      <a:gd name="connsiteY24" fmla="*/ 302895 h 1057275"/>
                      <a:gd name="connsiteX25" fmla="*/ 432435 w 973455"/>
                      <a:gd name="connsiteY25" fmla="*/ 293370 h 1057275"/>
                      <a:gd name="connsiteX26" fmla="*/ 337185 w 973455"/>
                      <a:gd name="connsiteY26" fmla="*/ 285750 h 1057275"/>
                      <a:gd name="connsiteX27" fmla="*/ 236220 w 973455"/>
                      <a:gd name="connsiteY27" fmla="*/ 392430 h 1057275"/>
                      <a:gd name="connsiteX28" fmla="*/ 87630 w 973455"/>
                      <a:gd name="connsiteY28" fmla="*/ 384810 h 1057275"/>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22020 w 973455"/>
                      <a:gd name="connsiteY3" fmla="*/ 199419 h 1066194"/>
                      <a:gd name="connsiteX4" fmla="*/ 973455 w 973455"/>
                      <a:gd name="connsiteY4" fmla="*/ 241329 h 1066194"/>
                      <a:gd name="connsiteX5" fmla="*/ 878205 w 973455"/>
                      <a:gd name="connsiteY5" fmla="*/ 597564 h 1066194"/>
                      <a:gd name="connsiteX6" fmla="*/ 405765 w 973455"/>
                      <a:gd name="connsiteY6" fmla="*/ 1066194 h 1066194"/>
                      <a:gd name="connsiteX7" fmla="*/ 342900 w 973455"/>
                      <a:gd name="connsiteY7" fmla="*/ 1003329 h 1066194"/>
                      <a:gd name="connsiteX8" fmla="*/ 582930 w 973455"/>
                      <a:gd name="connsiteY8" fmla="*/ 770919 h 1066194"/>
                      <a:gd name="connsiteX9" fmla="*/ 523875 w 973455"/>
                      <a:gd name="connsiteY9" fmla="*/ 721389 h 1066194"/>
                      <a:gd name="connsiteX10" fmla="*/ 293370 w 973455"/>
                      <a:gd name="connsiteY10" fmla="*/ 949989 h 1066194"/>
                      <a:gd name="connsiteX11" fmla="*/ 230505 w 973455"/>
                      <a:gd name="connsiteY11" fmla="*/ 879504 h 1066194"/>
                      <a:gd name="connsiteX12" fmla="*/ 453390 w 973455"/>
                      <a:gd name="connsiteY12" fmla="*/ 660429 h 1066194"/>
                      <a:gd name="connsiteX13" fmla="*/ 407670 w 973455"/>
                      <a:gd name="connsiteY13" fmla="*/ 614709 h 1066194"/>
                      <a:gd name="connsiteX14" fmla="*/ 184785 w 973455"/>
                      <a:gd name="connsiteY14" fmla="*/ 824259 h 1066194"/>
                      <a:gd name="connsiteX15" fmla="*/ 125730 w 973455"/>
                      <a:gd name="connsiteY15" fmla="*/ 767109 h 1066194"/>
                      <a:gd name="connsiteX16" fmla="*/ 344805 w 973455"/>
                      <a:gd name="connsiteY16" fmla="*/ 549939 h 1066194"/>
                      <a:gd name="connsiteX17" fmla="*/ 295275 w 973455"/>
                      <a:gd name="connsiteY17" fmla="*/ 500409 h 1066194"/>
                      <a:gd name="connsiteX18" fmla="*/ 55245 w 973455"/>
                      <a:gd name="connsiteY18" fmla="*/ 729009 h 1066194"/>
                      <a:gd name="connsiteX19" fmla="*/ 0 w 973455"/>
                      <a:gd name="connsiteY19" fmla="*/ 654714 h 1066194"/>
                      <a:gd name="connsiteX20" fmla="*/ 156210 w 973455"/>
                      <a:gd name="connsiteY20" fmla="*/ 492789 h 1066194"/>
                      <a:gd name="connsiteX21" fmla="*/ 276225 w 973455"/>
                      <a:gd name="connsiteY21" fmla="*/ 450879 h 1066194"/>
                      <a:gd name="connsiteX22" fmla="*/ 379095 w 973455"/>
                      <a:gd name="connsiteY22" fmla="*/ 353724 h 1066194"/>
                      <a:gd name="connsiteX23" fmla="*/ 672465 w 973455"/>
                      <a:gd name="connsiteY23" fmla="*/ 363249 h 1066194"/>
                      <a:gd name="connsiteX24" fmla="*/ 630555 w 973455"/>
                      <a:gd name="connsiteY24" fmla="*/ 311814 h 1066194"/>
                      <a:gd name="connsiteX25" fmla="*/ 432435 w 973455"/>
                      <a:gd name="connsiteY25" fmla="*/ 302289 h 1066194"/>
                      <a:gd name="connsiteX26" fmla="*/ 337185 w 973455"/>
                      <a:gd name="connsiteY26" fmla="*/ 294669 h 1066194"/>
                      <a:gd name="connsiteX27" fmla="*/ 236220 w 973455"/>
                      <a:gd name="connsiteY27" fmla="*/ 401349 h 1066194"/>
                      <a:gd name="connsiteX28" fmla="*/ 87630 w 973455"/>
                      <a:gd name="connsiteY28" fmla="*/ 393729 h 1066194"/>
                      <a:gd name="connsiteX0" fmla="*/ 87630 w 973455"/>
                      <a:gd name="connsiteY0" fmla="*/ 393729 h 1066194"/>
                      <a:gd name="connsiteX1" fmla="*/ 401955 w 973455"/>
                      <a:gd name="connsiteY1" fmla="*/ 88929 h 1066194"/>
                      <a:gd name="connsiteX2" fmla="*/ 731520 w 973455"/>
                      <a:gd name="connsiteY2" fmla="*/ 8919 h 1066194"/>
                      <a:gd name="connsiteX3" fmla="*/ 973455 w 973455"/>
                      <a:gd name="connsiteY3" fmla="*/ 241329 h 1066194"/>
                      <a:gd name="connsiteX4" fmla="*/ 878205 w 973455"/>
                      <a:gd name="connsiteY4" fmla="*/ 597564 h 1066194"/>
                      <a:gd name="connsiteX5" fmla="*/ 405765 w 973455"/>
                      <a:gd name="connsiteY5" fmla="*/ 1066194 h 1066194"/>
                      <a:gd name="connsiteX6" fmla="*/ 342900 w 973455"/>
                      <a:gd name="connsiteY6" fmla="*/ 1003329 h 1066194"/>
                      <a:gd name="connsiteX7" fmla="*/ 582930 w 973455"/>
                      <a:gd name="connsiteY7" fmla="*/ 770919 h 1066194"/>
                      <a:gd name="connsiteX8" fmla="*/ 523875 w 973455"/>
                      <a:gd name="connsiteY8" fmla="*/ 721389 h 1066194"/>
                      <a:gd name="connsiteX9" fmla="*/ 293370 w 973455"/>
                      <a:gd name="connsiteY9" fmla="*/ 949989 h 1066194"/>
                      <a:gd name="connsiteX10" fmla="*/ 230505 w 973455"/>
                      <a:gd name="connsiteY10" fmla="*/ 879504 h 1066194"/>
                      <a:gd name="connsiteX11" fmla="*/ 453390 w 973455"/>
                      <a:gd name="connsiteY11" fmla="*/ 660429 h 1066194"/>
                      <a:gd name="connsiteX12" fmla="*/ 407670 w 973455"/>
                      <a:gd name="connsiteY12" fmla="*/ 614709 h 1066194"/>
                      <a:gd name="connsiteX13" fmla="*/ 184785 w 973455"/>
                      <a:gd name="connsiteY13" fmla="*/ 824259 h 1066194"/>
                      <a:gd name="connsiteX14" fmla="*/ 125730 w 973455"/>
                      <a:gd name="connsiteY14" fmla="*/ 767109 h 1066194"/>
                      <a:gd name="connsiteX15" fmla="*/ 344805 w 973455"/>
                      <a:gd name="connsiteY15" fmla="*/ 549939 h 1066194"/>
                      <a:gd name="connsiteX16" fmla="*/ 295275 w 973455"/>
                      <a:gd name="connsiteY16" fmla="*/ 500409 h 1066194"/>
                      <a:gd name="connsiteX17" fmla="*/ 55245 w 973455"/>
                      <a:gd name="connsiteY17" fmla="*/ 729009 h 1066194"/>
                      <a:gd name="connsiteX18" fmla="*/ 0 w 973455"/>
                      <a:gd name="connsiteY18" fmla="*/ 654714 h 1066194"/>
                      <a:gd name="connsiteX19" fmla="*/ 156210 w 973455"/>
                      <a:gd name="connsiteY19" fmla="*/ 492789 h 1066194"/>
                      <a:gd name="connsiteX20" fmla="*/ 276225 w 973455"/>
                      <a:gd name="connsiteY20" fmla="*/ 450879 h 1066194"/>
                      <a:gd name="connsiteX21" fmla="*/ 379095 w 973455"/>
                      <a:gd name="connsiteY21" fmla="*/ 353724 h 1066194"/>
                      <a:gd name="connsiteX22" fmla="*/ 672465 w 973455"/>
                      <a:gd name="connsiteY22" fmla="*/ 363249 h 1066194"/>
                      <a:gd name="connsiteX23" fmla="*/ 630555 w 973455"/>
                      <a:gd name="connsiteY23" fmla="*/ 311814 h 1066194"/>
                      <a:gd name="connsiteX24" fmla="*/ 432435 w 973455"/>
                      <a:gd name="connsiteY24" fmla="*/ 302289 h 1066194"/>
                      <a:gd name="connsiteX25" fmla="*/ 337185 w 973455"/>
                      <a:gd name="connsiteY25" fmla="*/ 294669 h 1066194"/>
                      <a:gd name="connsiteX26" fmla="*/ 236220 w 973455"/>
                      <a:gd name="connsiteY26" fmla="*/ 401349 h 1066194"/>
                      <a:gd name="connsiteX27" fmla="*/ 87630 w 973455"/>
                      <a:gd name="connsiteY27" fmla="*/ 393729 h 1066194"/>
                      <a:gd name="connsiteX0" fmla="*/ 87630 w 986057"/>
                      <a:gd name="connsiteY0" fmla="*/ 393729 h 1066194"/>
                      <a:gd name="connsiteX1" fmla="*/ 401955 w 986057"/>
                      <a:gd name="connsiteY1" fmla="*/ 88929 h 1066194"/>
                      <a:gd name="connsiteX2" fmla="*/ 731520 w 986057"/>
                      <a:gd name="connsiteY2" fmla="*/ 8919 h 1066194"/>
                      <a:gd name="connsiteX3" fmla="*/ 973455 w 986057"/>
                      <a:gd name="connsiteY3" fmla="*/ 241329 h 1066194"/>
                      <a:gd name="connsiteX4" fmla="*/ 878205 w 986057"/>
                      <a:gd name="connsiteY4" fmla="*/ 597564 h 1066194"/>
                      <a:gd name="connsiteX5" fmla="*/ 405765 w 986057"/>
                      <a:gd name="connsiteY5" fmla="*/ 1066194 h 1066194"/>
                      <a:gd name="connsiteX6" fmla="*/ 342900 w 986057"/>
                      <a:gd name="connsiteY6" fmla="*/ 1003329 h 1066194"/>
                      <a:gd name="connsiteX7" fmla="*/ 582930 w 986057"/>
                      <a:gd name="connsiteY7" fmla="*/ 770919 h 1066194"/>
                      <a:gd name="connsiteX8" fmla="*/ 523875 w 986057"/>
                      <a:gd name="connsiteY8" fmla="*/ 721389 h 1066194"/>
                      <a:gd name="connsiteX9" fmla="*/ 293370 w 986057"/>
                      <a:gd name="connsiteY9" fmla="*/ 949989 h 1066194"/>
                      <a:gd name="connsiteX10" fmla="*/ 230505 w 986057"/>
                      <a:gd name="connsiteY10" fmla="*/ 879504 h 1066194"/>
                      <a:gd name="connsiteX11" fmla="*/ 453390 w 986057"/>
                      <a:gd name="connsiteY11" fmla="*/ 660429 h 1066194"/>
                      <a:gd name="connsiteX12" fmla="*/ 407670 w 986057"/>
                      <a:gd name="connsiteY12" fmla="*/ 614709 h 1066194"/>
                      <a:gd name="connsiteX13" fmla="*/ 184785 w 986057"/>
                      <a:gd name="connsiteY13" fmla="*/ 824259 h 1066194"/>
                      <a:gd name="connsiteX14" fmla="*/ 125730 w 986057"/>
                      <a:gd name="connsiteY14" fmla="*/ 767109 h 1066194"/>
                      <a:gd name="connsiteX15" fmla="*/ 344805 w 986057"/>
                      <a:gd name="connsiteY15" fmla="*/ 549939 h 1066194"/>
                      <a:gd name="connsiteX16" fmla="*/ 295275 w 986057"/>
                      <a:gd name="connsiteY16" fmla="*/ 500409 h 1066194"/>
                      <a:gd name="connsiteX17" fmla="*/ 55245 w 986057"/>
                      <a:gd name="connsiteY17" fmla="*/ 729009 h 1066194"/>
                      <a:gd name="connsiteX18" fmla="*/ 0 w 986057"/>
                      <a:gd name="connsiteY18" fmla="*/ 654714 h 1066194"/>
                      <a:gd name="connsiteX19" fmla="*/ 156210 w 986057"/>
                      <a:gd name="connsiteY19" fmla="*/ 492789 h 1066194"/>
                      <a:gd name="connsiteX20" fmla="*/ 276225 w 986057"/>
                      <a:gd name="connsiteY20" fmla="*/ 450879 h 1066194"/>
                      <a:gd name="connsiteX21" fmla="*/ 379095 w 986057"/>
                      <a:gd name="connsiteY21" fmla="*/ 353724 h 1066194"/>
                      <a:gd name="connsiteX22" fmla="*/ 672465 w 986057"/>
                      <a:gd name="connsiteY22" fmla="*/ 363249 h 1066194"/>
                      <a:gd name="connsiteX23" fmla="*/ 630555 w 986057"/>
                      <a:gd name="connsiteY23" fmla="*/ 311814 h 1066194"/>
                      <a:gd name="connsiteX24" fmla="*/ 432435 w 986057"/>
                      <a:gd name="connsiteY24" fmla="*/ 302289 h 1066194"/>
                      <a:gd name="connsiteX25" fmla="*/ 337185 w 986057"/>
                      <a:gd name="connsiteY25" fmla="*/ 294669 h 1066194"/>
                      <a:gd name="connsiteX26" fmla="*/ 236220 w 986057"/>
                      <a:gd name="connsiteY26" fmla="*/ 401349 h 1066194"/>
                      <a:gd name="connsiteX27" fmla="*/ 87630 w 986057"/>
                      <a:gd name="connsiteY27" fmla="*/ 393729 h 1066194"/>
                      <a:gd name="connsiteX0" fmla="*/ 87630 w 989718"/>
                      <a:gd name="connsiteY0" fmla="*/ 393729 h 1066194"/>
                      <a:gd name="connsiteX1" fmla="*/ 401955 w 989718"/>
                      <a:gd name="connsiteY1" fmla="*/ 88929 h 1066194"/>
                      <a:gd name="connsiteX2" fmla="*/ 731520 w 989718"/>
                      <a:gd name="connsiteY2" fmla="*/ 8919 h 1066194"/>
                      <a:gd name="connsiteX3" fmla="*/ 973455 w 989718"/>
                      <a:gd name="connsiteY3" fmla="*/ 241329 h 1066194"/>
                      <a:gd name="connsiteX4" fmla="*/ 878205 w 989718"/>
                      <a:gd name="connsiteY4" fmla="*/ 597564 h 1066194"/>
                      <a:gd name="connsiteX5" fmla="*/ 405765 w 989718"/>
                      <a:gd name="connsiteY5" fmla="*/ 1066194 h 1066194"/>
                      <a:gd name="connsiteX6" fmla="*/ 342900 w 989718"/>
                      <a:gd name="connsiteY6" fmla="*/ 1003329 h 1066194"/>
                      <a:gd name="connsiteX7" fmla="*/ 582930 w 989718"/>
                      <a:gd name="connsiteY7" fmla="*/ 770919 h 1066194"/>
                      <a:gd name="connsiteX8" fmla="*/ 523875 w 989718"/>
                      <a:gd name="connsiteY8" fmla="*/ 721389 h 1066194"/>
                      <a:gd name="connsiteX9" fmla="*/ 293370 w 989718"/>
                      <a:gd name="connsiteY9" fmla="*/ 949989 h 1066194"/>
                      <a:gd name="connsiteX10" fmla="*/ 230505 w 989718"/>
                      <a:gd name="connsiteY10" fmla="*/ 879504 h 1066194"/>
                      <a:gd name="connsiteX11" fmla="*/ 453390 w 989718"/>
                      <a:gd name="connsiteY11" fmla="*/ 660429 h 1066194"/>
                      <a:gd name="connsiteX12" fmla="*/ 407670 w 989718"/>
                      <a:gd name="connsiteY12" fmla="*/ 614709 h 1066194"/>
                      <a:gd name="connsiteX13" fmla="*/ 184785 w 989718"/>
                      <a:gd name="connsiteY13" fmla="*/ 824259 h 1066194"/>
                      <a:gd name="connsiteX14" fmla="*/ 125730 w 989718"/>
                      <a:gd name="connsiteY14" fmla="*/ 767109 h 1066194"/>
                      <a:gd name="connsiteX15" fmla="*/ 344805 w 989718"/>
                      <a:gd name="connsiteY15" fmla="*/ 549939 h 1066194"/>
                      <a:gd name="connsiteX16" fmla="*/ 295275 w 989718"/>
                      <a:gd name="connsiteY16" fmla="*/ 500409 h 1066194"/>
                      <a:gd name="connsiteX17" fmla="*/ 55245 w 989718"/>
                      <a:gd name="connsiteY17" fmla="*/ 729009 h 1066194"/>
                      <a:gd name="connsiteX18" fmla="*/ 0 w 989718"/>
                      <a:gd name="connsiteY18" fmla="*/ 654714 h 1066194"/>
                      <a:gd name="connsiteX19" fmla="*/ 156210 w 989718"/>
                      <a:gd name="connsiteY19" fmla="*/ 492789 h 1066194"/>
                      <a:gd name="connsiteX20" fmla="*/ 276225 w 989718"/>
                      <a:gd name="connsiteY20" fmla="*/ 450879 h 1066194"/>
                      <a:gd name="connsiteX21" fmla="*/ 379095 w 989718"/>
                      <a:gd name="connsiteY21" fmla="*/ 353724 h 1066194"/>
                      <a:gd name="connsiteX22" fmla="*/ 672465 w 989718"/>
                      <a:gd name="connsiteY22" fmla="*/ 363249 h 1066194"/>
                      <a:gd name="connsiteX23" fmla="*/ 630555 w 989718"/>
                      <a:gd name="connsiteY23" fmla="*/ 311814 h 1066194"/>
                      <a:gd name="connsiteX24" fmla="*/ 432435 w 989718"/>
                      <a:gd name="connsiteY24" fmla="*/ 302289 h 1066194"/>
                      <a:gd name="connsiteX25" fmla="*/ 337185 w 989718"/>
                      <a:gd name="connsiteY25" fmla="*/ 294669 h 1066194"/>
                      <a:gd name="connsiteX26" fmla="*/ 236220 w 989718"/>
                      <a:gd name="connsiteY26" fmla="*/ 401349 h 1066194"/>
                      <a:gd name="connsiteX27" fmla="*/ 87630 w 989718"/>
                      <a:gd name="connsiteY27" fmla="*/ 393729 h 1066194"/>
                      <a:gd name="connsiteX0" fmla="*/ 87630 w 988852"/>
                      <a:gd name="connsiteY0" fmla="*/ 393729 h 1066194"/>
                      <a:gd name="connsiteX1" fmla="*/ 401955 w 988852"/>
                      <a:gd name="connsiteY1" fmla="*/ 88929 h 1066194"/>
                      <a:gd name="connsiteX2" fmla="*/ 731520 w 988852"/>
                      <a:gd name="connsiteY2" fmla="*/ 8919 h 1066194"/>
                      <a:gd name="connsiteX3" fmla="*/ 973455 w 988852"/>
                      <a:gd name="connsiteY3" fmla="*/ 241329 h 1066194"/>
                      <a:gd name="connsiteX4" fmla="*/ 878205 w 988852"/>
                      <a:gd name="connsiteY4" fmla="*/ 597564 h 1066194"/>
                      <a:gd name="connsiteX5" fmla="*/ 405765 w 988852"/>
                      <a:gd name="connsiteY5" fmla="*/ 1066194 h 1066194"/>
                      <a:gd name="connsiteX6" fmla="*/ 342900 w 988852"/>
                      <a:gd name="connsiteY6" fmla="*/ 1003329 h 1066194"/>
                      <a:gd name="connsiteX7" fmla="*/ 582930 w 988852"/>
                      <a:gd name="connsiteY7" fmla="*/ 770919 h 1066194"/>
                      <a:gd name="connsiteX8" fmla="*/ 523875 w 988852"/>
                      <a:gd name="connsiteY8" fmla="*/ 721389 h 1066194"/>
                      <a:gd name="connsiteX9" fmla="*/ 293370 w 988852"/>
                      <a:gd name="connsiteY9" fmla="*/ 949989 h 1066194"/>
                      <a:gd name="connsiteX10" fmla="*/ 230505 w 988852"/>
                      <a:gd name="connsiteY10" fmla="*/ 879504 h 1066194"/>
                      <a:gd name="connsiteX11" fmla="*/ 453390 w 988852"/>
                      <a:gd name="connsiteY11" fmla="*/ 660429 h 1066194"/>
                      <a:gd name="connsiteX12" fmla="*/ 407670 w 988852"/>
                      <a:gd name="connsiteY12" fmla="*/ 614709 h 1066194"/>
                      <a:gd name="connsiteX13" fmla="*/ 184785 w 988852"/>
                      <a:gd name="connsiteY13" fmla="*/ 824259 h 1066194"/>
                      <a:gd name="connsiteX14" fmla="*/ 125730 w 988852"/>
                      <a:gd name="connsiteY14" fmla="*/ 767109 h 1066194"/>
                      <a:gd name="connsiteX15" fmla="*/ 344805 w 988852"/>
                      <a:gd name="connsiteY15" fmla="*/ 549939 h 1066194"/>
                      <a:gd name="connsiteX16" fmla="*/ 295275 w 988852"/>
                      <a:gd name="connsiteY16" fmla="*/ 500409 h 1066194"/>
                      <a:gd name="connsiteX17" fmla="*/ 55245 w 988852"/>
                      <a:gd name="connsiteY17" fmla="*/ 729009 h 1066194"/>
                      <a:gd name="connsiteX18" fmla="*/ 0 w 988852"/>
                      <a:gd name="connsiteY18" fmla="*/ 654714 h 1066194"/>
                      <a:gd name="connsiteX19" fmla="*/ 156210 w 988852"/>
                      <a:gd name="connsiteY19" fmla="*/ 492789 h 1066194"/>
                      <a:gd name="connsiteX20" fmla="*/ 276225 w 988852"/>
                      <a:gd name="connsiteY20" fmla="*/ 450879 h 1066194"/>
                      <a:gd name="connsiteX21" fmla="*/ 379095 w 988852"/>
                      <a:gd name="connsiteY21" fmla="*/ 353724 h 1066194"/>
                      <a:gd name="connsiteX22" fmla="*/ 672465 w 988852"/>
                      <a:gd name="connsiteY22" fmla="*/ 363249 h 1066194"/>
                      <a:gd name="connsiteX23" fmla="*/ 630555 w 988852"/>
                      <a:gd name="connsiteY23" fmla="*/ 311814 h 1066194"/>
                      <a:gd name="connsiteX24" fmla="*/ 432435 w 988852"/>
                      <a:gd name="connsiteY24" fmla="*/ 302289 h 1066194"/>
                      <a:gd name="connsiteX25" fmla="*/ 337185 w 988852"/>
                      <a:gd name="connsiteY25" fmla="*/ 294669 h 1066194"/>
                      <a:gd name="connsiteX26" fmla="*/ 236220 w 988852"/>
                      <a:gd name="connsiteY26" fmla="*/ 401349 h 1066194"/>
                      <a:gd name="connsiteX27" fmla="*/ 87630 w 988852"/>
                      <a:gd name="connsiteY27" fmla="*/ 393729 h 1066194"/>
                      <a:gd name="connsiteX0" fmla="*/ 87630 w 988852"/>
                      <a:gd name="connsiteY0" fmla="*/ 393729 h 1067781"/>
                      <a:gd name="connsiteX1" fmla="*/ 401955 w 988852"/>
                      <a:gd name="connsiteY1" fmla="*/ 88929 h 1067781"/>
                      <a:gd name="connsiteX2" fmla="*/ 731520 w 988852"/>
                      <a:gd name="connsiteY2" fmla="*/ 8919 h 1067781"/>
                      <a:gd name="connsiteX3" fmla="*/ 973455 w 988852"/>
                      <a:gd name="connsiteY3" fmla="*/ 241329 h 1067781"/>
                      <a:gd name="connsiteX4" fmla="*/ 878205 w 988852"/>
                      <a:gd name="connsiteY4" fmla="*/ 597564 h 1067781"/>
                      <a:gd name="connsiteX5" fmla="*/ 405765 w 988852"/>
                      <a:gd name="connsiteY5" fmla="*/ 1066194 h 1067781"/>
                      <a:gd name="connsiteX6" fmla="*/ 342900 w 988852"/>
                      <a:gd name="connsiteY6" fmla="*/ 1003329 h 1067781"/>
                      <a:gd name="connsiteX7" fmla="*/ 582930 w 988852"/>
                      <a:gd name="connsiteY7" fmla="*/ 770919 h 1067781"/>
                      <a:gd name="connsiteX8" fmla="*/ 523875 w 988852"/>
                      <a:gd name="connsiteY8" fmla="*/ 721389 h 1067781"/>
                      <a:gd name="connsiteX9" fmla="*/ 293370 w 988852"/>
                      <a:gd name="connsiteY9" fmla="*/ 949989 h 1067781"/>
                      <a:gd name="connsiteX10" fmla="*/ 230505 w 988852"/>
                      <a:gd name="connsiteY10" fmla="*/ 879504 h 1067781"/>
                      <a:gd name="connsiteX11" fmla="*/ 453390 w 988852"/>
                      <a:gd name="connsiteY11" fmla="*/ 660429 h 1067781"/>
                      <a:gd name="connsiteX12" fmla="*/ 407670 w 988852"/>
                      <a:gd name="connsiteY12" fmla="*/ 614709 h 1067781"/>
                      <a:gd name="connsiteX13" fmla="*/ 184785 w 988852"/>
                      <a:gd name="connsiteY13" fmla="*/ 824259 h 1067781"/>
                      <a:gd name="connsiteX14" fmla="*/ 125730 w 988852"/>
                      <a:gd name="connsiteY14" fmla="*/ 767109 h 1067781"/>
                      <a:gd name="connsiteX15" fmla="*/ 344805 w 988852"/>
                      <a:gd name="connsiteY15" fmla="*/ 549939 h 1067781"/>
                      <a:gd name="connsiteX16" fmla="*/ 295275 w 988852"/>
                      <a:gd name="connsiteY16" fmla="*/ 500409 h 1067781"/>
                      <a:gd name="connsiteX17" fmla="*/ 55245 w 988852"/>
                      <a:gd name="connsiteY17" fmla="*/ 729009 h 1067781"/>
                      <a:gd name="connsiteX18" fmla="*/ 0 w 988852"/>
                      <a:gd name="connsiteY18" fmla="*/ 654714 h 1067781"/>
                      <a:gd name="connsiteX19" fmla="*/ 156210 w 988852"/>
                      <a:gd name="connsiteY19" fmla="*/ 492789 h 1067781"/>
                      <a:gd name="connsiteX20" fmla="*/ 276225 w 988852"/>
                      <a:gd name="connsiteY20" fmla="*/ 450879 h 1067781"/>
                      <a:gd name="connsiteX21" fmla="*/ 379095 w 988852"/>
                      <a:gd name="connsiteY21" fmla="*/ 353724 h 1067781"/>
                      <a:gd name="connsiteX22" fmla="*/ 672465 w 988852"/>
                      <a:gd name="connsiteY22" fmla="*/ 363249 h 1067781"/>
                      <a:gd name="connsiteX23" fmla="*/ 630555 w 988852"/>
                      <a:gd name="connsiteY23" fmla="*/ 311814 h 1067781"/>
                      <a:gd name="connsiteX24" fmla="*/ 432435 w 988852"/>
                      <a:gd name="connsiteY24" fmla="*/ 302289 h 1067781"/>
                      <a:gd name="connsiteX25" fmla="*/ 337185 w 988852"/>
                      <a:gd name="connsiteY25" fmla="*/ 294669 h 1067781"/>
                      <a:gd name="connsiteX26" fmla="*/ 236220 w 988852"/>
                      <a:gd name="connsiteY26" fmla="*/ 401349 h 1067781"/>
                      <a:gd name="connsiteX27" fmla="*/ 87630 w 988852"/>
                      <a:gd name="connsiteY27" fmla="*/ 393729 h 1067781"/>
                      <a:gd name="connsiteX0" fmla="*/ 87630 w 988852"/>
                      <a:gd name="connsiteY0" fmla="*/ 393729 h 1068609"/>
                      <a:gd name="connsiteX1" fmla="*/ 401955 w 988852"/>
                      <a:gd name="connsiteY1" fmla="*/ 88929 h 1068609"/>
                      <a:gd name="connsiteX2" fmla="*/ 731520 w 988852"/>
                      <a:gd name="connsiteY2" fmla="*/ 8919 h 1068609"/>
                      <a:gd name="connsiteX3" fmla="*/ 973455 w 988852"/>
                      <a:gd name="connsiteY3" fmla="*/ 241329 h 1068609"/>
                      <a:gd name="connsiteX4" fmla="*/ 878205 w 988852"/>
                      <a:gd name="connsiteY4" fmla="*/ 597564 h 1068609"/>
                      <a:gd name="connsiteX5" fmla="*/ 405765 w 988852"/>
                      <a:gd name="connsiteY5" fmla="*/ 1066194 h 1068609"/>
                      <a:gd name="connsiteX6" fmla="*/ 342900 w 988852"/>
                      <a:gd name="connsiteY6" fmla="*/ 1003329 h 1068609"/>
                      <a:gd name="connsiteX7" fmla="*/ 582930 w 988852"/>
                      <a:gd name="connsiteY7" fmla="*/ 770919 h 1068609"/>
                      <a:gd name="connsiteX8" fmla="*/ 523875 w 988852"/>
                      <a:gd name="connsiteY8" fmla="*/ 721389 h 1068609"/>
                      <a:gd name="connsiteX9" fmla="*/ 293370 w 988852"/>
                      <a:gd name="connsiteY9" fmla="*/ 949989 h 1068609"/>
                      <a:gd name="connsiteX10" fmla="*/ 230505 w 988852"/>
                      <a:gd name="connsiteY10" fmla="*/ 879504 h 1068609"/>
                      <a:gd name="connsiteX11" fmla="*/ 453390 w 988852"/>
                      <a:gd name="connsiteY11" fmla="*/ 660429 h 1068609"/>
                      <a:gd name="connsiteX12" fmla="*/ 407670 w 988852"/>
                      <a:gd name="connsiteY12" fmla="*/ 614709 h 1068609"/>
                      <a:gd name="connsiteX13" fmla="*/ 184785 w 988852"/>
                      <a:gd name="connsiteY13" fmla="*/ 824259 h 1068609"/>
                      <a:gd name="connsiteX14" fmla="*/ 125730 w 988852"/>
                      <a:gd name="connsiteY14" fmla="*/ 767109 h 1068609"/>
                      <a:gd name="connsiteX15" fmla="*/ 344805 w 988852"/>
                      <a:gd name="connsiteY15" fmla="*/ 549939 h 1068609"/>
                      <a:gd name="connsiteX16" fmla="*/ 295275 w 988852"/>
                      <a:gd name="connsiteY16" fmla="*/ 500409 h 1068609"/>
                      <a:gd name="connsiteX17" fmla="*/ 55245 w 988852"/>
                      <a:gd name="connsiteY17" fmla="*/ 729009 h 1068609"/>
                      <a:gd name="connsiteX18" fmla="*/ 0 w 988852"/>
                      <a:gd name="connsiteY18" fmla="*/ 654714 h 1068609"/>
                      <a:gd name="connsiteX19" fmla="*/ 156210 w 988852"/>
                      <a:gd name="connsiteY19" fmla="*/ 492789 h 1068609"/>
                      <a:gd name="connsiteX20" fmla="*/ 276225 w 988852"/>
                      <a:gd name="connsiteY20" fmla="*/ 450879 h 1068609"/>
                      <a:gd name="connsiteX21" fmla="*/ 379095 w 988852"/>
                      <a:gd name="connsiteY21" fmla="*/ 353724 h 1068609"/>
                      <a:gd name="connsiteX22" fmla="*/ 672465 w 988852"/>
                      <a:gd name="connsiteY22" fmla="*/ 363249 h 1068609"/>
                      <a:gd name="connsiteX23" fmla="*/ 630555 w 988852"/>
                      <a:gd name="connsiteY23" fmla="*/ 311814 h 1068609"/>
                      <a:gd name="connsiteX24" fmla="*/ 432435 w 988852"/>
                      <a:gd name="connsiteY24" fmla="*/ 302289 h 1068609"/>
                      <a:gd name="connsiteX25" fmla="*/ 337185 w 988852"/>
                      <a:gd name="connsiteY25" fmla="*/ 294669 h 1068609"/>
                      <a:gd name="connsiteX26" fmla="*/ 236220 w 988852"/>
                      <a:gd name="connsiteY26" fmla="*/ 401349 h 1068609"/>
                      <a:gd name="connsiteX27" fmla="*/ 87630 w 988852"/>
                      <a:gd name="connsiteY27" fmla="*/ 393729 h 1068609"/>
                      <a:gd name="connsiteX0" fmla="*/ 87630 w 988852"/>
                      <a:gd name="connsiteY0" fmla="*/ 393729 h 1074109"/>
                      <a:gd name="connsiteX1" fmla="*/ 401955 w 988852"/>
                      <a:gd name="connsiteY1" fmla="*/ 88929 h 1074109"/>
                      <a:gd name="connsiteX2" fmla="*/ 731520 w 988852"/>
                      <a:gd name="connsiteY2" fmla="*/ 8919 h 1074109"/>
                      <a:gd name="connsiteX3" fmla="*/ 973455 w 988852"/>
                      <a:gd name="connsiteY3" fmla="*/ 241329 h 1074109"/>
                      <a:gd name="connsiteX4" fmla="*/ 878205 w 988852"/>
                      <a:gd name="connsiteY4" fmla="*/ 597564 h 1074109"/>
                      <a:gd name="connsiteX5" fmla="*/ 405765 w 988852"/>
                      <a:gd name="connsiteY5" fmla="*/ 1066194 h 1074109"/>
                      <a:gd name="connsiteX6" fmla="*/ 342900 w 988852"/>
                      <a:gd name="connsiteY6" fmla="*/ 1003329 h 1074109"/>
                      <a:gd name="connsiteX7" fmla="*/ 582930 w 988852"/>
                      <a:gd name="connsiteY7" fmla="*/ 770919 h 1074109"/>
                      <a:gd name="connsiteX8" fmla="*/ 523875 w 988852"/>
                      <a:gd name="connsiteY8" fmla="*/ 721389 h 1074109"/>
                      <a:gd name="connsiteX9" fmla="*/ 293370 w 988852"/>
                      <a:gd name="connsiteY9" fmla="*/ 949989 h 1074109"/>
                      <a:gd name="connsiteX10" fmla="*/ 230505 w 988852"/>
                      <a:gd name="connsiteY10" fmla="*/ 879504 h 1074109"/>
                      <a:gd name="connsiteX11" fmla="*/ 453390 w 988852"/>
                      <a:gd name="connsiteY11" fmla="*/ 660429 h 1074109"/>
                      <a:gd name="connsiteX12" fmla="*/ 407670 w 988852"/>
                      <a:gd name="connsiteY12" fmla="*/ 614709 h 1074109"/>
                      <a:gd name="connsiteX13" fmla="*/ 184785 w 988852"/>
                      <a:gd name="connsiteY13" fmla="*/ 824259 h 1074109"/>
                      <a:gd name="connsiteX14" fmla="*/ 125730 w 988852"/>
                      <a:gd name="connsiteY14" fmla="*/ 767109 h 1074109"/>
                      <a:gd name="connsiteX15" fmla="*/ 344805 w 988852"/>
                      <a:gd name="connsiteY15" fmla="*/ 549939 h 1074109"/>
                      <a:gd name="connsiteX16" fmla="*/ 295275 w 988852"/>
                      <a:gd name="connsiteY16" fmla="*/ 500409 h 1074109"/>
                      <a:gd name="connsiteX17" fmla="*/ 55245 w 988852"/>
                      <a:gd name="connsiteY17" fmla="*/ 729009 h 1074109"/>
                      <a:gd name="connsiteX18" fmla="*/ 0 w 988852"/>
                      <a:gd name="connsiteY18" fmla="*/ 654714 h 1074109"/>
                      <a:gd name="connsiteX19" fmla="*/ 156210 w 988852"/>
                      <a:gd name="connsiteY19" fmla="*/ 492789 h 1074109"/>
                      <a:gd name="connsiteX20" fmla="*/ 276225 w 988852"/>
                      <a:gd name="connsiteY20" fmla="*/ 450879 h 1074109"/>
                      <a:gd name="connsiteX21" fmla="*/ 379095 w 988852"/>
                      <a:gd name="connsiteY21" fmla="*/ 353724 h 1074109"/>
                      <a:gd name="connsiteX22" fmla="*/ 672465 w 988852"/>
                      <a:gd name="connsiteY22" fmla="*/ 363249 h 1074109"/>
                      <a:gd name="connsiteX23" fmla="*/ 630555 w 988852"/>
                      <a:gd name="connsiteY23" fmla="*/ 311814 h 1074109"/>
                      <a:gd name="connsiteX24" fmla="*/ 432435 w 988852"/>
                      <a:gd name="connsiteY24" fmla="*/ 302289 h 1074109"/>
                      <a:gd name="connsiteX25" fmla="*/ 337185 w 988852"/>
                      <a:gd name="connsiteY25" fmla="*/ 294669 h 1074109"/>
                      <a:gd name="connsiteX26" fmla="*/ 236220 w 988852"/>
                      <a:gd name="connsiteY26" fmla="*/ 401349 h 1074109"/>
                      <a:gd name="connsiteX27" fmla="*/ 87630 w 988852"/>
                      <a:gd name="connsiteY27" fmla="*/ 393729 h 1074109"/>
                      <a:gd name="connsiteX0" fmla="*/ 87630 w 988852"/>
                      <a:gd name="connsiteY0" fmla="*/ 393729 h 1071226"/>
                      <a:gd name="connsiteX1" fmla="*/ 401955 w 988852"/>
                      <a:gd name="connsiteY1" fmla="*/ 88929 h 1071226"/>
                      <a:gd name="connsiteX2" fmla="*/ 731520 w 988852"/>
                      <a:gd name="connsiteY2" fmla="*/ 8919 h 1071226"/>
                      <a:gd name="connsiteX3" fmla="*/ 973455 w 988852"/>
                      <a:gd name="connsiteY3" fmla="*/ 241329 h 1071226"/>
                      <a:gd name="connsiteX4" fmla="*/ 878205 w 988852"/>
                      <a:gd name="connsiteY4" fmla="*/ 597564 h 1071226"/>
                      <a:gd name="connsiteX5" fmla="*/ 405765 w 988852"/>
                      <a:gd name="connsiteY5" fmla="*/ 1066194 h 1071226"/>
                      <a:gd name="connsiteX6" fmla="*/ 342900 w 988852"/>
                      <a:gd name="connsiteY6" fmla="*/ 1003329 h 1071226"/>
                      <a:gd name="connsiteX7" fmla="*/ 582930 w 988852"/>
                      <a:gd name="connsiteY7" fmla="*/ 770919 h 1071226"/>
                      <a:gd name="connsiteX8" fmla="*/ 523875 w 988852"/>
                      <a:gd name="connsiteY8" fmla="*/ 721389 h 1071226"/>
                      <a:gd name="connsiteX9" fmla="*/ 293370 w 988852"/>
                      <a:gd name="connsiteY9" fmla="*/ 949989 h 1071226"/>
                      <a:gd name="connsiteX10" fmla="*/ 230505 w 988852"/>
                      <a:gd name="connsiteY10" fmla="*/ 879504 h 1071226"/>
                      <a:gd name="connsiteX11" fmla="*/ 453390 w 988852"/>
                      <a:gd name="connsiteY11" fmla="*/ 660429 h 1071226"/>
                      <a:gd name="connsiteX12" fmla="*/ 407670 w 988852"/>
                      <a:gd name="connsiteY12" fmla="*/ 614709 h 1071226"/>
                      <a:gd name="connsiteX13" fmla="*/ 184785 w 988852"/>
                      <a:gd name="connsiteY13" fmla="*/ 824259 h 1071226"/>
                      <a:gd name="connsiteX14" fmla="*/ 125730 w 988852"/>
                      <a:gd name="connsiteY14" fmla="*/ 767109 h 1071226"/>
                      <a:gd name="connsiteX15" fmla="*/ 344805 w 988852"/>
                      <a:gd name="connsiteY15" fmla="*/ 549939 h 1071226"/>
                      <a:gd name="connsiteX16" fmla="*/ 295275 w 988852"/>
                      <a:gd name="connsiteY16" fmla="*/ 500409 h 1071226"/>
                      <a:gd name="connsiteX17" fmla="*/ 55245 w 988852"/>
                      <a:gd name="connsiteY17" fmla="*/ 729009 h 1071226"/>
                      <a:gd name="connsiteX18" fmla="*/ 0 w 988852"/>
                      <a:gd name="connsiteY18" fmla="*/ 654714 h 1071226"/>
                      <a:gd name="connsiteX19" fmla="*/ 156210 w 988852"/>
                      <a:gd name="connsiteY19" fmla="*/ 492789 h 1071226"/>
                      <a:gd name="connsiteX20" fmla="*/ 276225 w 988852"/>
                      <a:gd name="connsiteY20" fmla="*/ 450879 h 1071226"/>
                      <a:gd name="connsiteX21" fmla="*/ 379095 w 988852"/>
                      <a:gd name="connsiteY21" fmla="*/ 353724 h 1071226"/>
                      <a:gd name="connsiteX22" fmla="*/ 672465 w 988852"/>
                      <a:gd name="connsiteY22" fmla="*/ 363249 h 1071226"/>
                      <a:gd name="connsiteX23" fmla="*/ 630555 w 988852"/>
                      <a:gd name="connsiteY23" fmla="*/ 311814 h 1071226"/>
                      <a:gd name="connsiteX24" fmla="*/ 432435 w 988852"/>
                      <a:gd name="connsiteY24" fmla="*/ 302289 h 1071226"/>
                      <a:gd name="connsiteX25" fmla="*/ 337185 w 988852"/>
                      <a:gd name="connsiteY25" fmla="*/ 294669 h 1071226"/>
                      <a:gd name="connsiteX26" fmla="*/ 236220 w 988852"/>
                      <a:gd name="connsiteY26" fmla="*/ 401349 h 1071226"/>
                      <a:gd name="connsiteX27" fmla="*/ 87630 w 988852"/>
                      <a:gd name="connsiteY27" fmla="*/ 393729 h 1071226"/>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1911"/>
                      <a:gd name="connsiteX1" fmla="*/ 401955 w 988852"/>
                      <a:gd name="connsiteY1" fmla="*/ 88929 h 1071911"/>
                      <a:gd name="connsiteX2" fmla="*/ 731520 w 988852"/>
                      <a:gd name="connsiteY2" fmla="*/ 8919 h 1071911"/>
                      <a:gd name="connsiteX3" fmla="*/ 973455 w 988852"/>
                      <a:gd name="connsiteY3" fmla="*/ 241329 h 1071911"/>
                      <a:gd name="connsiteX4" fmla="*/ 878205 w 988852"/>
                      <a:gd name="connsiteY4" fmla="*/ 597564 h 1071911"/>
                      <a:gd name="connsiteX5" fmla="*/ 405765 w 988852"/>
                      <a:gd name="connsiteY5" fmla="*/ 1066194 h 1071911"/>
                      <a:gd name="connsiteX6" fmla="*/ 342900 w 988852"/>
                      <a:gd name="connsiteY6" fmla="*/ 1003329 h 1071911"/>
                      <a:gd name="connsiteX7" fmla="*/ 582930 w 988852"/>
                      <a:gd name="connsiteY7" fmla="*/ 770919 h 1071911"/>
                      <a:gd name="connsiteX8" fmla="*/ 523875 w 988852"/>
                      <a:gd name="connsiteY8" fmla="*/ 721389 h 1071911"/>
                      <a:gd name="connsiteX9" fmla="*/ 293370 w 988852"/>
                      <a:gd name="connsiteY9" fmla="*/ 949989 h 1071911"/>
                      <a:gd name="connsiteX10" fmla="*/ 230505 w 988852"/>
                      <a:gd name="connsiteY10" fmla="*/ 879504 h 1071911"/>
                      <a:gd name="connsiteX11" fmla="*/ 453390 w 988852"/>
                      <a:gd name="connsiteY11" fmla="*/ 660429 h 1071911"/>
                      <a:gd name="connsiteX12" fmla="*/ 407670 w 988852"/>
                      <a:gd name="connsiteY12" fmla="*/ 614709 h 1071911"/>
                      <a:gd name="connsiteX13" fmla="*/ 184785 w 988852"/>
                      <a:gd name="connsiteY13" fmla="*/ 824259 h 1071911"/>
                      <a:gd name="connsiteX14" fmla="*/ 125730 w 988852"/>
                      <a:gd name="connsiteY14" fmla="*/ 767109 h 1071911"/>
                      <a:gd name="connsiteX15" fmla="*/ 344805 w 988852"/>
                      <a:gd name="connsiteY15" fmla="*/ 549939 h 1071911"/>
                      <a:gd name="connsiteX16" fmla="*/ 295275 w 988852"/>
                      <a:gd name="connsiteY16" fmla="*/ 500409 h 1071911"/>
                      <a:gd name="connsiteX17" fmla="*/ 55245 w 988852"/>
                      <a:gd name="connsiteY17" fmla="*/ 729009 h 1071911"/>
                      <a:gd name="connsiteX18" fmla="*/ 0 w 988852"/>
                      <a:gd name="connsiteY18" fmla="*/ 654714 h 1071911"/>
                      <a:gd name="connsiteX19" fmla="*/ 156210 w 988852"/>
                      <a:gd name="connsiteY19" fmla="*/ 492789 h 1071911"/>
                      <a:gd name="connsiteX20" fmla="*/ 276225 w 988852"/>
                      <a:gd name="connsiteY20" fmla="*/ 450879 h 1071911"/>
                      <a:gd name="connsiteX21" fmla="*/ 379095 w 988852"/>
                      <a:gd name="connsiteY21" fmla="*/ 353724 h 1071911"/>
                      <a:gd name="connsiteX22" fmla="*/ 672465 w 988852"/>
                      <a:gd name="connsiteY22" fmla="*/ 363249 h 1071911"/>
                      <a:gd name="connsiteX23" fmla="*/ 630555 w 988852"/>
                      <a:gd name="connsiteY23" fmla="*/ 311814 h 1071911"/>
                      <a:gd name="connsiteX24" fmla="*/ 432435 w 988852"/>
                      <a:gd name="connsiteY24" fmla="*/ 302289 h 1071911"/>
                      <a:gd name="connsiteX25" fmla="*/ 337185 w 988852"/>
                      <a:gd name="connsiteY25" fmla="*/ 294669 h 1071911"/>
                      <a:gd name="connsiteX26" fmla="*/ 236220 w 988852"/>
                      <a:gd name="connsiteY26" fmla="*/ 401349 h 1071911"/>
                      <a:gd name="connsiteX27" fmla="*/ 87630 w 988852"/>
                      <a:gd name="connsiteY27" fmla="*/ 393729 h 1071911"/>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87630 w 988852"/>
                      <a:gd name="connsiteY0" fmla="*/ 393729 h 1072106"/>
                      <a:gd name="connsiteX1" fmla="*/ 401955 w 988852"/>
                      <a:gd name="connsiteY1" fmla="*/ 88929 h 1072106"/>
                      <a:gd name="connsiteX2" fmla="*/ 731520 w 988852"/>
                      <a:gd name="connsiteY2" fmla="*/ 8919 h 1072106"/>
                      <a:gd name="connsiteX3" fmla="*/ 973455 w 988852"/>
                      <a:gd name="connsiteY3" fmla="*/ 241329 h 1072106"/>
                      <a:gd name="connsiteX4" fmla="*/ 878205 w 988852"/>
                      <a:gd name="connsiteY4" fmla="*/ 597564 h 1072106"/>
                      <a:gd name="connsiteX5" fmla="*/ 405765 w 988852"/>
                      <a:gd name="connsiteY5" fmla="*/ 1066194 h 1072106"/>
                      <a:gd name="connsiteX6" fmla="*/ 342900 w 988852"/>
                      <a:gd name="connsiteY6" fmla="*/ 1003329 h 1072106"/>
                      <a:gd name="connsiteX7" fmla="*/ 582930 w 988852"/>
                      <a:gd name="connsiteY7" fmla="*/ 770919 h 1072106"/>
                      <a:gd name="connsiteX8" fmla="*/ 523875 w 988852"/>
                      <a:gd name="connsiteY8" fmla="*/ 721389 h 1072106"/>
                      <a:gd name="connsiteX9" fmla="*/ 293370 w 988852"/>
                      <a:gd name="connsiteY9" fmla="*/ 949989 h 1072106"/>
                      <a:gd name="connsiteX10" fmla="*/ 230505 w 988852"/>
                      <a:gd name="connsiteY10" fmla="*/ 879504 h 1072106"/>
                      <a:gd name="connsiteX11" fmla="*/ 453390 w 988852"/>
                      <a:gd name="connsiteY11" fmla="*/ 660429 h 1072106"/>
                      <a:gd name="connsiteX12" fmla="*/ 407670 w 988852"/>
                      <a:gd name="connsiteY12" fmla="*/ 614709 h 1072106"/>
                      <a:gd name="connsiteX13" fmla="*/ 184785 w 988852"/>
                      <a:gd name="connsiteY13" fmla="*/ 824259 h 1072106"/>
                      <a:gd name="connsiteX14" fmla="*/ 125730 w 988852"/>
                      <a:gd name="connsiteY14" fmla="*/ 767109 h 1072106"/>
                      <a:gd name="connsiteX15" fmla="*/ 344805 w 988852"/>
                      <a:gd name="connsiteY15" fmla="*/ 549939 h 1072106"/>
                      <a:gd name="connsiteX16" fmla="*/ 295275 w 988852"/>
                      <a:gd name="connsiteY16" fmla="*/ 500409 h 1072106"/>
                      <a:gd name="connsiteX17" fmla="*/ 55245 w 988852"/>
                      <a:gd name="connsiteY17" fmla="*/ 729009 h 1072106"/>
                      <a:gd name="connsiteX18" fmla="*/ 0 w 988852"/>
                      <a:gd name="connsiteY18" fmla="*/ 654714 h 1072106"/>
                      <a:gd name="connsiteX19" fmla="*/ 156210 w 988852"/>
                      <a:gd name="connsiteY19" fmla="*/ 492789 h 1072106"/>
                      <a:gd name="connsiteX20" fmla="*/ 276225 w 988852"/>
                      <a:gd name="connsiteY20" fmla="*/ 450879 h 1072106"/>
                      <a:gd name="connsiteX21" fmla="*/ 379095 w 988852"/>
                      <a:gd name="connsiteY21" fmla="*/ 353724 h 1072106"/>
                      <a:gd name="connsiteX22" fmla="*/ 672465 w 988852"/>
                      <a:gd name="connsiteY22" fmla="*/ 363249 h 1072106"/>
                      <a:gd name="connsiteX23" fmla="*/ 630555 w 988852"/>
                      <a:gd name="connsiteY23" fmla="*/ 311814 h 1072106"/>
                      <a:gd name="connsiteX24" fmla="*/ 432435 w 988852"/>
                      <a:gd name="connsiteY24" fmla="*/ 302289 h 1072106"/>
                      <a:gd name="connsiteX25" fmla="*/ 337185 w 988852"/>
                      <a:gd name="connsiteY25" fmla="*/ 294669 h 1072106"/>
                      <a:gd name="connsiteX26" fmla="*/ 236220 w 988852"/>
                      <a:gd name="connsiteY26" fmla="*/ 401349 h 1072106"/>
                      <a:gd name="connsiteX27" fmla="*/ 87630 w 988852"/>
                      <a:gd name="connsiteY27" fmla="*/ 393729 h 1072106"/>
                      <a:gd name="connsiteX0" fmla="*/ 90800 w 992022"/>
                      <a:gd name="connsiteY0" fmla="*/ 393729 h 1072106"/>
                      <a:gd name="connsiteX1" fmla="*/ 405125 w 992022"/>
                      <a:gd name="connsiteY1" fmla="*/ 88929 h 1072106"/>
                      <a:gd name="connsiteX2" fmla="*/ 734690 w 992022"/>
                      <a:gd name="connsiteY2" fmla="*/ 8919 h 1072106"/>
                      <a:gd name="connsiteX3" fmla="*/ 976625 w 992022"/>
                      <a:gd name="connsiteY3" fmla="*/ 241329 h 1072106"/>
                      <a:gd name="connsiteX4" fmla="*/ 881375 w 992022"/>
                      <a:gd name="connsiteY4" fmla="*/ 597564 h 1072106"/>
                      <a:gd name="connsiteX5" fmla="*/ 408935 w 992022"/>
                      <a:gd name="connsiteY5" fmla="*/ 1066194 h 1072106"/>
                      <a:gd name="connsiteX6" fmla="*/ 346070 w 992022"/>
                      <a:gd name="connsiteY6" fmla="*/ 1003329 h 1072106"/>
                      <a:gd name="connsiteX7" fmla="*/ 586100 w 992022"/>
                      <a:gd name="connsiteY7" fmla="*/ 770919 h 1072106"/>
                      <a:gd name="connsiteX8" fmla="*/ 527045 w 992022"/>
                      <a:gd name="connsiteY8" fmla="*/ 721389 h 1072106"/>
                      <a:gd name="connsiteX9" fmla="*/ 296540 w 992022"/>
                      <a:gd name="connsiteY9" fmla="*/ 949989 h 1072106"/>
                      <a:gd name="connsiteX10" fmla="*/ 233675 w 992022"/>
                      <a:gd name="connsiteY10" fmla="*/ 879504 h 1072106"/>
                      <a:gd name="connsiteX11" fmla="*/ 456560 w 992022"/>
                      <a:gd name="connsiteY11" fmla="*/ 660429 h 1072106"/>
                      <a:gd name="connsiteX12" fmla="*/ 410840 w 992022"/>
                      <a:gd name="connsiteY12" fmla="*/ 614709 h 1072106"/>
                      <a:gd name="connsiteX13" fmla="*/ 187955 w 992022"/>
                      <a:gd name="connsiteY13" fmla="*/ 824259 h 1072106"/>
                      <a:gd name="connsiteX14" fmla="*/ 128900 w 992022"/>
                      <a:gd name="connsiteY14" fmla="*/ 767109 h 1072106"/>
                      <a:gd name="connsiteX15" fmla="*/ 347975 w 992022"/>
                      <a:gd name="connsiteY15" fmla="*/ 549939 h 1072106"/>
                      <a:gd name="connsiteX16" fmla="*/ 298445 w 992022"/>
                      <a:gd name="connsiteY16" fmla="*/ 500409 h 1072106"/>
                      <a:gd name="connsiteX17" fmla="*/ 58415 w 992022"/>
                      <a:gd name="connsiteY17" fmla="*/ 729009 h 1072106"/>
                      <a:gd name="connsiteX18" fmla="*/ 3170 w 992022"/>
                      <a:gd name="connsiteY18" fmla="*/ 654714 h 1072106"/>
                      <a:gd name="connsiteX19" fmla="*/ 159380 w 992022"/>
                      <a:gd name="connsiteY19" fmla="*/ 492789 h 1072106"/>
                      <a:gd name="connsiteX20" fmla="*/ 279395 w 992022"/>
                      <a:gd name="connsiteY20" fmla="*/ 450879 h 1072106"/>
                      <a:gd name="connsiteX21" fmla="*/ 382265 w 992022"/>
                      <a:gd name="connsiteY21" fmla="*/ 353724 h 1072106"/>
                      <a:gd name="connsiteX22" fmla="*/ 675635 w 992022"/>
                      <a:gd name="connsiteY22" fmla="*/ 363249 h 1072106"/>
                      <a:gd name="connsiteX23" fmla="*/ 633725 w 992022"/>
                      <a:gd name="connsiteY23" fmla="*/ 311814 h 1072106"/>
                      <a:gd name="connsiteX24" fmla="*/ 435605 w 992022"/>
                      <a:gd name="connsiteY24" fmla="*/ 302289 h 1072106"/>
                      <a:gd name="connsiteX25" fmla="*/ 340355 w 992022"/>
                      <a:gd name="connsiteY25" fmla="*/ 294669 h 1072106"/>
                      <a:gd name="connsiteX26" fmla="*/ 239390 w 992022"/>
                      <a:gd name="connsiteY26" fmla="*/ 401349 h 1072106"/>
                      <a:gd name="connsiteX27" fmla="*/ 90800 w 992022"/>
                      <a:gd name="connsiteY27" fmla="*/ 393729 h 1072106"/>
                      <a:gd name="connsiteX0" fmla="*/ 110566 w 1011788"/>
                      <a:gd name="connsiteY0" fmla="*/ 393729 h 1072106"/>
                      <a:gd name="connsiteX1" fmla="*/ 424891 w 1011788"/>
                      <a:gd name="connsiteY1" fmla="*/ 88929 h 1072106"/>
                      <a:gd name="connsiteX2" fmla="*/ 754456 w 1011788"/>
                      <a:gd name="connsiteY2" fmla="*/ 8919 h 1072106"/>
                      <a:gd name="connsiteX3" fmla="*/ 996391 w 1011788"/>
                      <a:gd name="connsiteY3" fmla="*/ 241329 h 1072106"/>
                      <a:gd name="connsiteX4" fmla="*/ 901141 w 1011788"/>
                      <a:gd name="connsiteY4" fmla="*/ 597564 h 1072106"/>
                      <a:gd name="connsiteX5" fmla="*/ 428701 w 1011788"/>
                      <a:gd name="connsiteY5" fmla="*/ 1066194 h 1072106"/>
                      <a:gd name="connsiteX6" fmla="*/ 365836 w 1011788"/>
                      <a:gd name="connsiteY6" fmla="*/ 1003329 h 1072106"/>
                      <a:gd name="connsiteX7" fmla="*/ 605866 w 1011788"/>
                      <a:gd name="connsiteY7" fmla="*/ 770919 h 1072106"/>
                      <a:gd name="connsiteX8" fmla="*/ 546811 w 1011788"/>
                      <a:gd name="connsiteY8" fmla="*/ 721389 h 1072106"/>
                      <a:gd name="connsiteX9" fmla="*/ 316306 w 1011788"/>
                      <a:gd name="connsiteY9" fmla="*/ 949989 h 1072106"/>
                      <a:gd name="connsiteX10" fmla="*/ 253441 w 1011788"/>
                      <a:gd name="connsiteY10" fmla="*/ 879504 h 1072106"/>
                      <a:gd name="connsiteX11" fmla="*/ 476326 w 1011788"/>
                      <a:gd name="connsiteY11" fmla="*/ 660429 h 1072106"/>
                      <a:gd name="connsiteX12" fmla="*/ 430606 w 1011788"/>
                      <a:gd name="connsiteY12" fmla="*/ 614709 h 1072106"/>
                      <a:gd name="connsiteX13" fmla="*/ 207721 w 1011788"/>
                      <a:gd name="connsiteY13" fmla="*/ 824259 h 1072106"/>
                      <a:gd name="connsiteX14" fmla="*/ 148666 w 1011788"/>
                      <a:gd name="connsiteY14" fmla="*/ 767109 h 1072106"/>
                      <a:gd name="connsiteX15" fmla="*/ 367741 w 1011788"/>
                      <a:gd name="connsiteY15" fmla="*/ 549939 h 1072106"/>
                      <a:gd name="connsiteX16" fmla="*/ 318211 w 1011788"/>
                      <a:gd name="connsiteY16" fmla="*/ 500409 h 1072106"/>
                      <a:gd name="connsiteX17" fmla="*/ 78181 w 1011788"/>
                      <a:gd name="connsiteY17" fmla="*/ 729009 h 1072106"/>
                      <a:gd name="connsiteX18" fmla="*/ 22936 w 1011788"/>
                      <a:gd name="connsiteY18" fmla="*/ 654714 h 1072106"/>
                      <a:gd name="connsiteX19" fmla="*/ 179146 w 1011788"/>
                      <a:gd name="connsiteY19" fmla="*/ 492789 h 1072106"/>
                      <a:gd name="connsiteX20" fmla="*/ 299161 w 1011788"/>
                      <a:gd name="connsiteY20" fmla="*/ 450879 h 1072106"/>
                      <a:gd name="connsiteX21" fmla="*/ 402031 w 1011788"/>
                      <a:gd name="connsiteY21" fmla="*/ 353724 h 1072106"/>
                      <a:gd name="connsiteX22" fmla="*/ 695401 w 1011788"/>
                      <a:gd name="connsiteY22" fmla="*/ 363249 h 1072106"/>
                      <a:gd name="connsiteX23" fmla="*/ 653491 w 1011788"/>
                      <a:gd name="connsiteY23" fmla="*/ 311814 h 1072106"/>
                      <a:gd name="connsiteX24" fmla="*/ 455371 w 1011788"/>
                      <a:gd name="connsiteY24" fmla="*/ 302289 h 1072106"/>
                      <a:gd name="connsiteX25" fmla="*/ 360121 w 1011788"/>
                      <a:gd name="connsiteY25" fmla="*/ 294669 h 1072106"/>
                      <a:gd name="connsiteX26" fmla="*/ 259156 w 1011788"/>
                      <a:gd name="connsiteY26" fmla="*/ 401349 h 1072106"/>
                      <a:gd name="connsiteX27" fmla="*/ 110566 w 1011788"/>
                      <a:gd name="connsiteY27" fmla="*/ 393729 h 1072106"/>
                      <a:gd name="connsiteX0" fmla="*/ 108145 w 1009367"/>
                      <a:gd name="connsiteY0" fmla="*/ 393729 h 1072106"/>
                      <a:gd name="connsiteX1" fmla="*/ 422470 w 1009367"/>
                      <a:gd name="connsiteY1" fmla="*/ 88929 h 1072106"/>
                      <a:gd name="connsiteX2" fmla="*/ 752035 w 1009367"/>
                      <a:gd name="connsiteY2" fmla="*/ 8919 h 1072106"/>
                      <a:gd name="connsiteX3" fmla="*/ 993970 w 1009367"/>
                      <a:gd name="connsiteY3" fmla="*/ 241329 h 1072106"/>
                      <a:gd name="connsiteX4" fmla="*/ 898720 w 1009367"/>
                      <a:gd name="connsiteY4" fmla="*/ 597564 h 1072106"/>
                      <a:gd name="connsiteX5" fmla="*/ 426280 w 1009367"/>
                      <a:gd name="connsiteY5" fmla="*/ 1066194 h 1072106"/>
                      <a:gd name="connsiteX6" fmla="*/ 363415 w 1009367"/>
                      <a:gd name="connsiteY6" fmla="*/ 1003329 h 1072106"/>
                      <a:gd name="connsiteX7" fmla="*/ 603445 w 1009367"/>
                      <a:gd name="connsiteY7" fmla="*/ 770919 h 1072106"/>
                      <a:gd name="connsiteX8" fmla="*/ 544390 w 1009367"/>
                      <a:gd name="connsiteY8" fmla="*/ 721389 h 1072106"/>
                      <a:gd name="connsiteX9" fmla="*/ 313885 w 1009367"/>
                      <a:gd name="connsiteY9" fmla="*/ 949989 h 1072106"/>
                      <a:gd name="connsiteX10" fmla="*/ 251020 w 1009367"/>
                      <a:gd name="connsiteY10" fmla="*/ 879504 h 1072106"/>
                      <a:gd name="connsiteX11" fmla="*/ 473905 w 1009367"/>
                      <a:gd name="connsiteY11" fmla="*/ 660429 h 1072106"/>
                      <a:gd name="connsiteX12" fmla="*/ 428185 w 1009367"/>
                      <a:gd name="connsiteY12" fmla="*/ 614709 h 1072106"/>
                      <a:gd name="connsiteX13" fmla="*/ 205300 w 1009367"/>
                      <a:gd name="connsiteY13" fmla="*/ 824259 h 1072106"/>
                      <a:gd name="connsiteX14" fmla="*/ 146245 w 1009367"/>
                      <a:gd name="connsiteY14" fmla="*/ 767109 h 1072106"/>
                      <a:gd name="connsiteX15" fmla="*/ 365320 w 1009367"/>
                      <a:gd name="connsiteY15" fmla="*/ 549939 h 1072106"/>
                      <a:gd name="connsiteX16" fmla="*/ 315790 w 1009367"/>
                      <a:gd name="connsiteY16" fmla="*/ 500409 h 1072106"/>
                      <a:gd name="connsiteX17" fmla="*/ 75760 w 1009367"/>
                      <a:gd name="connsiteY17" fmla="*/ 729009 h 1072106"/>
                      <a:gd name="connsiteX18" fmla="*/ 20515 w 1009367"/>
                      <a:gd name="connsiteY18" fmla="*/ 654714 h 1072106"/>
                      <a:gd name="connsiteX19" fmla="*/ 176725 w 1009367"/>
                      <a:gd name="connsiteY19" fmla="*/ 492789 h 1072106"/>
                      <a:gd name="connsiteX20" fmla="*/ 296740 w 1009367"/>
                      <a:gd name="connsiteY20" fmla="*/ 450879 h 1072106"/>
                      <a:gd name="connsiteX21" fmla="*/ 399610 w 1009367"/>
                      <a:gd name="connsiteY21" fmla="*/ 353724 h 1072106"/>
                      <a:gd name="connsiteX22" fmla="*/ 692980 w 1009367"/>
                      <a:gd name="connsiteY22" fmla="*/ 363249 h 1072106"/>
                      <a:gd name="connsiteX23" fmla="*/ 651070 w 1009367"/>
                      <a:gd name="connsiteY23" fmla="*/ 311814 h 1072106"/>
                      <a:gd name="connsiteX24" fmla="*/ 452950 w 1009367"/>
                      <a:gd name="connsiteY24" fmla="*/ 302289 h 1072106"/>
                      <a:gd name="connsiteX25" fmla="*/ 357700 w 1009367"/>
                      <a:gd name="connsiteY25" fmla="*/ 294669 h 1072106"/>
                      <a:gd name="connsiteX26" fmla="*/ 256735 w 1009367"/>
                      <a:gd name="connsiteY26" fmla="*/ 401349 h 1072106"/>
                      <a:gd name="connsiteX27" fmla="*/ 108145 w 1009367"/>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67254 w 999896"/>
                      <a:gd name="connsiteY19" fmla="*/ 49278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87269 w 999896"/>
                      <a:gd name="connsiteY20" fmla="*/ 450879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390139 w 999896"/>
                      <a:gd name="connsiteY20" fmla="*/ 353724 h 1072106"/>
                      <a:gd name="connsiteX21" fmla="*/ 683509 w 999896"/>
                      <a:gd name="connsiteY21" fmla="*/ 363249 h 1072106"/>
                      <a:gd name="connsiteX22" fmla="*/ 641599 w 999896"/>
                      <a:gd name="connsiteY22" fmla="*/ 311814 h 1072106"/>
                      <a:gd name="connsiteX23" fmla="*/ 443479 w 999896"/>
                      <a:gd name="connsiteY23" fmla="*/ 302289 h 1072106"/>
                      <a:gd name="connsiteX24" fmla="*/ 348229 w 999896"/>
                      <a:gd name="connsiteY24" fmla="*/ 294669 h 1072106"/>
                      <a:gd name="connsiteX25" fmla="*/ 247264 w 999896"/>
                      <a:gd name="connsiteY25" fmla="*/ 401349 h 1072106"/>
                      <a:gd name="connsiteX26" fmla="*/ 98674 w 999896"/>
                      <a:gd name="connsiteY26"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6792 w 999896"/>
                      <a:gd name="connsiteY20" fmla="*/ 39944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98674 w 999896"/>
                      <a:gd name="connsiteY0" fmla="*/ 39372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98674 w 999896"/>
                      <a:gd name="connsiteY27" fmla="*/ 39372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 name="connsiteX0" fmla="*/ 102484 w 999896"/>
                      <a:gd name="connsiteY0" fmla="*/ 401349 h 1072106"/>
                      <a:gd name="connsiteX1" fmla="*/ 412999 w 999896"/>
                      <a:gd name="connsiteY1" fmla="*/ 88929 h 1072106"/>
                      <a:gd name="connsiteX2" fmla="*/ 742564 w 999896"/>
                      <a:gd name="connsiteY2" fmla="*/ 8919 h 1072106"/>
                      <a:gd name="connsiteX3" fmla="*/ 984499 w 999896"/>
                      <a:gd name="connsiteY3" fmla="*/ 241329 h 1072106"/>
                      <a:gd name="connsiteX4" fmla="*/ 889249 w 999896"/>
                      <a:gd name="connsiteY4" fmla="*/ 597564 h 1072106"/>
                      <a:gd name="connsiteX5" fmla="*/ 416809 w 999896"/>
                      <a:gd name="connsiteY5" fmla="*/ 1066194 h 1072106"/>
                      <a:gd name="connsiteX6" fmla="*/ 353944 w 999896"/>
                      <a:gd name="connsiteY6" fmla="*/ 1003329 h 1072106"/>
                      <a:gd name="connsiteX7" fmla="*/ 593974 w 999896"/>
                      <a:gd name="connsiteY7" fmla="*/ 770919 h 1072106"/>
                      <a:gd name="connsiteX8" fmla="*/ 534919 w 999896"/>
                      <a:gd name="connsiteY8" fmla="*/ 721389 h 1072106"/>
                      <a:gd name="connsiteX9" fmla="*/ 304414 w 999896"/>
                      <a:gd name="connsiteY9" fmla="*/ 949989 h 1072106"/>
                      <a:gd name="connsiteX10" fmla="*/ 241549 w 999896"/>
                      <a:gd name="connsiteY10" fmla="*/ 879504 h 1072106"/>
                      <a:gd name="connsiteX11" fmla="*/ 464434 w 999896"/>
                      <a:gd name="connsiteY11" fmla="*/ 660429 h 1072106"/>
                      <a:gd name="connsiteX12" fmla="*/ 418714 w 999896"/>
                      <a:gd name="connsiteY12" fmla="*/ 614709 h 1072106"/>
                      <a:gd name="connsiteX13" fmla="*/ 195829 w 999896"/>
                      <a:gd name="connsiteY13" fmla="*/ 824259 h 1072106"/>
                      <a:gd name="connsiteX14" fmla="*/ 136774 w 999896"/>
                      <a:gd name="connsiteY14" fmla="*/ 767109 h 1072106"/>
                      <a:gd name="connsiteX15" fmla="*/ 355849 w 999896"/>
                      <a:gd name="connsiteY15" fmla="*/ 549939 h 1072106"/>
                      <a:gd name="connsiteX16" fmla="*/ 306319 w 999896"/>
                      <a:gd name="connsiteY16" fmla="*/ 500409 h 1072106"/>
                      <a:gd name="connsiteX17" fmla="*/ 66289 w 999896"/>
                      <a:gd name="connsiteY17" fmla="*/ 729009 h 1072106"/>
                      <a:gd name="connsiteX18" fmla="*/ 11044 w 999896"/>
                      <a:gd name="connsiteY18" fmla="*/ 654714 h 1072106"/>
                      <a:gd name="connsiteX19" fmla="*/ 171064 w 999896"/>
                      <a:gd name="connsiteY19" fmla="*/ 504219 h 1072106"/>
                      <a:gd name="connsiteX20" fmla="*/ 294887 w 999896"/>
                      <a:gd name="connsiteY20" fmla="*/ 445163 h 1072106"/>
                      <a:gd name="connsiteX21" fmla="*/ 390139 w 999896"/>
                      <a:gd name="connsiteY21" fmla="*/ 353724 h 1072106"/>
                      <a:gd name="connsiteX22" fmla="*/ 683509 w 999896"/>
                      <a:gd name="connsiteY22" fmla="*/ 363249 h 1072106"/>
                      <a:gd name="connsiteX23" fmla="*/ 641599 w 999896"/>
                      <a:gd name="connsiteY23" fmla="*/ 311814 h 1072106"/>
                      <a:gd name="connsiteX24" fmla="*/ 443479 w 999896"/>
                      <a:gd name="connsiteY24" fmla="*/ 302289 h 1072106"/>
                      <a:gd name="connsiteX25" fmla="*/ 348229 w 999896"/>
                      <a:gd name="connsiteY25" fmla="*/ 294669 h 1072106"/>
                      <a:gd name="connsiteX26" fmla="*/ 247264 w 999896"/>
                      <a:gd name="connsiteY26" fmla="*/ 401349 h 1072106"/>
                      <a:gd name="connsiteX27" fmla="*/ 102484 w 999896"/>
                      <a:gd name="connsiteY27" fmla="*/ 401349 h 107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9896" h="1072106">
                        <a:moveTo>
                          <a:pt x="102484" y="401349"/>
                        </a:moveTo>
                        <a:lnTo>
                          <a:pt x="412999" y="88929"/>
                        </a:lnTo>
                        <a:cubicBezTo>
                          <a:pt x="528569" y="-13941"/>
                          <a:pt x="676524" y="-6321"/>
                          <a:pt x="742564" y="8919"/>
                        </a:cubicBezTo>
                        <a:cubicBezTo>
                          <a:pt x="837814" y="34319"/>
                          <a:pt x="960052" y="143222"/>
                          <a:pt x="984499" y="241329"/>
                        </a:cubicBezTo>
                        <a:cubicBezTo>
                          <a:pt x="1034664" y="417224"/>
                          <a:pt x="951479" y="541684"/>
                          <a:pt x="889249" y="597564"/>
                        </a:cubicBezTo>
                        <a:lnTo>
                          <a:pt x="416809" y="1066194"/>
                        </a:lnTo>
                        <a:cubicBezTo>
                          <a:pt x="369184" y="1085244"/>
                          <a:pt x="321559" y="1056669"/>
                          <a:pt x="353944" y="1003329"/>
                        </a:cubicBezTo>
                        <a:lnTo>
                          <a:pt x="593974" y="770919"/>
                        </a:lnTo>
                        <a:cubicBezTo>
                          <a:pt x="614294" y="722024"/>
                          <a:pt x="569844" y="707419"/>
                          <a:pt x="534919" y="721389"/>
                        </a:cubicBezTo>
                        <a:lnTo>
                          <a:pt x="304414" y="949989"/>
                        </a:lnTo>
                        <a:cubicBezTo>
                          <a:pt x="232024" y="979834"/>
                          <a:pt x="207259" y="933479"/>
                          <a:pt x="241549" y="879504"/>
                        </a:cubicBezTo>
                        <a:lnTo>
                          <a:pt x="464434" y="660429"/>
                        </a:lnTo>
                        <a:cubicBezTo>
                          <a:pt x="517774" y="618519"/>
                          <a:pt x="456814" y="574704"/>
                          <a:pt x="418714" y="614709"/>
                        </a:cubicBezTo>
                        <a:lnTo>
                          <a:pt x="195829" y="824259"/>
                        </a:lnTo>
                        <a:cubicBezTo>
                          <a:pt x="139949" y="877599"/>
                          <a:pt x="72639" y="833784"/>
                          <a:pt x="136774" y="767109"/>
                        </a:cubicBezTo>
                        <a:lnTo>
                          <a:pt x="355849" y="549939"/>
                        </a:lnTo>
                        <a:cubicBezTo>
                          <a:pt x="392679" y="521999"/>
                          <a:pt x="355214" y="467389"/>
                          <a:pt x="306319" y="500409"/>
                        </a:cubicBezTo>
                        <a:lnTo>
                          <a:pt x="66289" y="729009"/>
                        </a:lnTo>
                        <a:cubicBezTo>
                          <a:pt x="4059" y="738534"/>
                          <a:pt x="-14356" y="706149"/>
                          <a:pt x="11044" y="654714"/>
                        </a:cubicBezTo>
                        <a:lnTo>
                          <a:pt x="171064" y="504219"/>
                        </a:lnTo>
                        <a:cubicBezTo>
                          <a:pt x="218689" y="501679"/>
                          <a:pt x="256470" y="489295"/>
                          <a:pt x="294887" y="445163"/>
                        </a:cubicBezTo>
                        <a:lnTo>
                          <a:pt x="390139" y="353724"/>
                        </a:lnTo>
                        <a:cubicBezTo>
                          <a:pt x="461259" y="406429"/>
                          <a:pt x="587624" y="459134"/>
                          <a:pt x="683509" y="363249"/>
                        </a:cubicBezTo>
                        <a:cubicBezTo>
                          <a:pt x="715259" y="323244"/>
                          <a:pt x="691764" y="285144"/>
                          <a:pt x="641599" y="311814"/>
                        </a:cubicBezTo>
                        <a:cubicBezTo>
                          <a:pt x="569844" y="358169"/>
                          <a:pt x="496184" y="353089"/>
                          <a:pt x="443479" y="302289"/>
                        </a:cubicBezTo>
                        <a:cubicBezTo>
                          <a:pt x="411729" y="290224"/>
                          <a:pt x="402839" y="245774"/>
                          <a:pt x="348229" y="294669"/>
                        </a:cubicBezTo>
                        <a:lnTo>
                          <a:pt x="247264" y="401349"/>
                        </a:lnTo>
                        <a:cubicBezTo>
                          <a:pt x="153919" y="461674"/>
                          <a:pt x="125344" y="426749"/>
                          <a:pt x="102484" y="401349"/>
                        </a:cubicBez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Verdana"/>
                      <a:ea typeface="+mn-ea"/>
                      <a:cs typeface="+mn-cs"/>
                    </a:endParaRPr>
                  </a:p>
                </p:txBody>
              </p:sp>
            </p:grpSp>
          </p:grpSp>
        </p:grpSp>
        <p:sp>
          <p:nvSpPr>
            <p:cNvPr id="321" name="Rectangle 320">
              <a:extLst>
                <a:ext uri="{FF2B5EF4-FFF2-40B4-BE49-F238E27FC236}">
                  <a16:creationId xmlns:a16="http://schemas.microsoft.com/office/drawing/2014/main" id="{6769E249-F64B-4A24-B13A-6DC9BECA85E0}"/>
                </a:ext>
              </a:extLst>
            </p:cNvPr>
            <p:cNvSpPr/>
            <p:nvPr userDrawn="1"/>
          </p:nvSpPr>
          <p:spPr>
            <a:xfrm>
              <a:off x="6681006" y="212435"/>
              <a:ext cx="1369484" cy="1245641"/>
            </a:xfrm>
            <a:prstGeom prst="rect">
              <a:avLst/>
            </a:prstGeom>
            <a:noFill/>
          </p:spPr>
          <p:txBody>
            <a:bodyPr wrap="none" lIns="0" tIns="0" rIns="0" bIns="0">
              <a:prstTxWarp prst="textArchUp">
                <a:avLst>
                  <a:gd name="adj" fmla="val 7216448"/>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860864"/>
                  </a:solidFill>
                  <a:effectLst/>
                  <a:uLnTx/>
                  <a:uFillTx/>
                  <a:cs typeface="Ubuntu Bold"/>
                </a:rPr>
                <a:t>Applied Innovation Exchange</a:t>
              </a:r>
            </a:p>
          </p:txBody>
        </p:sp>
      </p:grpSp>
      <p:sp>
        <p:nvSpPr>
          <p:cNvPr id="330" name="Text Placeholder 2">
            <a:extLst>
              <a:ext uri="{FF2B5EF4-FFF2-40B4-BE49-F238E27FC236}">
                <a16:creationId xmlns:a16="http://schemas.microsoft.com/office/drawing/2014/main" id="{4E6DD977-4088-4857-A7ED-D2C868C09640}"/>
              </a:ext>
            </a:extLst>
          </p:cNvPr>
          <p:cNvSpPr>
            <a:spLocks noGrp="1"/>
          </p:cNvSpPr>
          <p:nvPr>
            <p:ph type="body" sz="quarter" idx="10" hasCustomPrompt="1"/>
          </p:nvPr>
        </p:nvSpPr>
        <p:spPr>
          <a:xfrm>
            <a:off x="2075226" y="1135999"/>
            <a:ext cx="3866908" cy="1115690"/>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chemeClr val="accent1"/>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100" b="0" i="0" kern="1200" dirty="0">
                <a:solidFill>
                  <a:schemeClr val="accent3"/>
                </a:solidFill>
                <a:latin typeface="+mj-lt"/>
                <a:ea typeface="+mn-ea"/>
                <a:cs typeface="Ubuntu Light"/>
              </a:defRPr>
            </a:lvl2pPr>
            <a:lvl3pPr marL="266700" indent="0">
              <a:buNone/>
              <a:defRPr/>
            </a:lvl3pPr>
          </a:lstStyle>
          <a:p>
            <a:pPr lvl="0"/>
            <a:r>
              <a:rPr lang="en-US" dirty="0"/>
              <a:t>Applied BI &amp; content management</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p:txBody>
      </p:sp>
      <p:sp>
        <p:nvSpPr>
          <p:cNvPr id="331" name="Text Placeholder 2">
            <a:extLst>
              <a:ext uri="{FF2B5EF4-FFF2-40B4-BE49-F238E27FC236}">
                <a16:creationId xmlns:a16="http://schemas.microsoft.com/office/drawing/2014/main" id="{820F3E1C-B76D-44DE-B669-BF9CCCAC064A}"/>
              </a:ext>
            </a:extLst>
          </p:cNvPr>
          <p:cNvSpPr>
            <a:spLocks noGrp="1"/>
          </p:cNvSpPr>
          <p:nvPr>
            <p:ph type="body" sz="quarter" idx="11" hasCustomPrompt="1"/>
          </p:nvPr>
        </p:nvSpPr>
        <p:spPr>
          <a:xfrm>
            <a:off x="2075226" y="2527142"/>
            <a:ext cx="3866908" cy="869469"/>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chemeClr val="accent4"/>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100" b="0" i="0" kern="1200" dirty="0">
                <a:solidFill>
                  <a:schemeClr val="accent3"/>
                </a:solidFill>
                <a:latin typeface="+mj-lt"/>
                <a:ea typeface="+mn-ea"/>
                <a:cs typeface="Ubuntu Light"/>
              </a:defRPr>
            </a:lvl2pPr>
            <a:lvl3pPr marL="266700" indent="0">
              <a:buNone/>
              <a:defRPr/>
            </a:lvl3pPr>
          </a:lstStyle>
          <a:p>
            <a:pPr lvl="0"/>
            <a:r>
              <a:rPr lang="en-US" dirty="0"/>
              <a:t>Data Science &amp; Analytic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p:txBody>
      </p:sp>
      <p:sp>
        <p:nvSpPr>
          <p:cNvPr id="332" name="Text Placeholder 2">
            <a:extLst>
              <a:ext uri="{FF2B5EF4-FFF2-40B4-BE49-F238E27FC236}">
                <a16:creationId xmlns:a16="http://schemas.microsoft.com/office/drawing/2014/main" id="{A31F45BE-88CD-479D-9192-839BB31E7ECD}"/>
              </a:ext>
            </a:extLst>
          </p:cNvPr>
          <p:cNvSpPr>
            <a:spLocks noGrp="1"/>
          </p:cNvSpPr>
          <p:nvPr>
            <p:ph type="body" sz="quarter" idx="12" hasCustomPrompt="1"/>
          </p:nvPr>
        </p:nvSpPr>
        <p:spPr>
          <a:xfrm>
            <a:off x="2075226" y="3928445"/>
            <a:ext cx="3866908" cy="1115690"/>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rgbClr val="00C37B"/>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100" b="0" i="0" kern="1200" dirty="0">
                <a:solidFill>
                  <a:schemeClr val="accent3"/>
                </a:solidFill>
                <a:latin typeface="+mj-lt"/>
                <a:ea typeface="+mn-ea"/>
                <a:cs typeface="Ubuntu Light"/>
              </a:defRPr>
            </a:lvl2pPr>
            <a:lvl3pPr marL="266700" indent="0">
              <a:buNone/>
              <a:defRPr/>
            </a:lvl3pPr>
          </a:lstStyle>
          <a:p>
            <a:pPr lvl="0"/>
            <a:r>
              <a:rPr lang="en-US" dirty="0"/>
              <a:t>Data Engineering, Integration &amp; Automation</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p:txBody>
      </p:sp>
      <p:sp>
        <p:nvSpPr>
          <p:cNvPr id="333" name="Text Placeholder 2">
            <a:extLst>
              <a:ext uri="{FF2B5EF4-FFF2-40B4-BE49-F238E27FC236}">
                <a16:creationId xmlns:a16="http://schemas.microsoft.com/office/drawing/2014/main" id="{2515152E-E288-4858-AB0C-A1944FE08CDB}"/>
              </a:ext>
            </a:extLst>
          </p:cNvPr>
          <p:cNvSpPr>
            <a:spLocks noGrp="1"/>
          </p:cNvSpPr>
          <p:nvPr>
            <p:ph type="body" sz="quarter" idx="13" hasCustomPrompt="1"/>
          </p:nvPr>
        </p:nvSpPr>
        <p:spPr>
          <a:xfrm>
            <a:off x="2075226" y="5400869"/>
            <a:ext cx="3866908" cy="869469"/>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chemeClr val="accent3"/>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100" b="0" i="0" kern="1200" dirty="0">
                <a:solidFill>
                  <a:schemeClr val="accent3"/>
                </a:solidFill>
                <a:latin typeface="+mj-lt"/>
                <a:ea typeface="+mn-ea"/>
                <a:cs typeface="Ubuntu Light"/>
              </a:defRPr>
            </a:lvl2pPr>
            <a:lvl3pPr marL="266700" indent="0">
              <a:buNone/>
              <a:defRPr/>
            </a:lvl3pPr>
          </a:lstStyle>
          <a:p>
            <a:pPr lvl="0"/>
            <a:r>
              <a:rPr lang="en-US" dirty="0"/>
              <a:t>Applied Insights Center</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p:txBody>
      </p:sp>
      <p:sp>
        <p:nvSpPr>
          <p:cNvPr id="334" name="Text Placeholder 2">
            <a:extLst>
              <a:ext uri="{FF2B5EF4-FFF2-40B4-BE49-F238E27FC236}">
                <a16:creationId xmlns:a16="http://schemas.microsoft.com/office/drawing/2014/main" id="{F729B3A0-FE9F-41E0-AFD9-E4F3B240CCD4}"/>
              </a:ext>
            </a:extLst>
          </p:cNvPr>
          <p:cNvSpPr>
            <a:spLocks noGrp="1"/>
          </p:cNvSpPr>
          <p:nvPr>
            <p:ph type="body" sz="quarter" idx="14" hasCustomPrompt="1"/>
          </p:nvPr>
        </p:nvSpPr>
        <p:spPr>
          <a:xfrm>
            <a:off x="8089946" y="1641394"/>
            <a:ext cx="3866908" cy="869469"/>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rgbClr val="0F999C"/>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100" b="0" i="0" kern="1200" dirty="0">
                <a:solidFill>
                  <a:schemeClr val="accent3"/>
                </a:solidFill>
                <a:latin typeface="+mj-lt"/>
                <a:ea typeface="+mn-ea"/>
                <a:cs typeface="Ubuntu Light"/>
              </a:defRPr>
            </a:lvl2pPr>
            <a:lvl3pPr marL="266700" indent="0">
              <a:buNone/>
              <a:defRPr/>
            </a:lvl3pPr>
          </a:lstStyle>
          <a:p>
            <a:pPr lvl="0"/>
            <a:r>
              <a:rPr lang="en-US" dirty="0"/>
              <a:t>Information Governance</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p:txBody>
      </p:sp>
      <p:sp>
        <p:nvSpPr>
          <p:cNvPr id="335" name="Text Placeholder 2">
            <a:extLst>
              <a:ext uri="{FF2B5EF4-FFF2-40B4-BE49-F238E27FC236}">
                <a16:creationId xmlns:a16="http://schemas.microsoft.com/office/drawing/2014/main" id="{B397B8EF-165E-4BC9-9E87-2215623614BB}"/>
              </a:ext>
            </a:extLst>
          </p:cNvPr>
          <p:cNvSpPr>
            <a:spLocks noGrp="1"/>
          </p:cNvSpPr>
          <p:nvPr>
            <p:ph type="body" sz="quarter" idx="15" hasCustomPrompt="1"/>
          </p:nvPr>
        </p:nvSpPr>
        <p:spPr>
          <a:xfrm>
            <a:off x="8089946" y="3240058"/>
            <a:ext cx="3866908" cy="869469"/>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rgbClr val="4701A7"/>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100" b="0" i="0" kern="1200" dirty="0">
                <a:solidFill>
                  <a:schemeClr val="accent3"/>
                </a:solidFill>
                <a:latin typeface="+mj-lt"/>
                <a:ea typeface="+mn-ea"/>
                <a:cs typeface="Ubuntu Light"/>
              </a:defRPr>
            </a:lvl2pPr>
            <a:lvl3pPr marL="266700" indent="0">
              <a:buNone/>
              <a:defRPr/>
            </a:lvl3pPr>
          </a:lstStyle>
          <a:p>
            <a:pPr lvl="0"/>
            <a:r>
              <a:rPr lang="en-US" dirty="0"/>
              <a:t>Insight-driven transformation</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p:txBody>
      </p:sp>
      <p:sp>
        <p:nvSpPr>
          <p:cNvPr id="336" name="Text Placeholder 2">
            <a:extLst>
              <a:ext uri="{FF2B5EF4-FFF2-40B4-BE49-F238E27FC236}">
                <a16:creationId xmlns:a16="http://schemas.microsoft.com/office/drawing/2014/main" id="{B8273EE2-8B4B-4FFC-8F57-F384C0B37FB9}"/>
              </a:ext>
            </a:extLst>
          </p:cNvPr>
          <p:cNvSpPr>
            <a:spLocks noGrp="1"/>
          </p:cNvSpPr>
          <p:nvPr>
            <p:ph type="body" sz="quarter" idx="16" hasCustomPrompt="1"/>
          </p:nvPr>
        </p:nvSpPr>
        <p:spPr>
          <a:xfrm>
            <a:off x="8089946" y="4847891"/>
            <a:ext cx="3866908" cy="869469"/>
          </a:xfrm>
        </p:spPr>
        <p:txBody>
          <a:bodyPr wrap="square">
            <a:spAutoFit/>
          </a:bodyPr>
          <a:lstStyle>
            <a:lvl1pPr marL="0" algn="l" defTabSz="914400" rtl="0" eaLnBrk="1" latinLnBrk="0" hangingPunct="1">
              <a:lnSpc>
                <a:spcPct val="100000"/>
              </a:lnSpc>
              <a:spcBef>
                <a:spcPts val="0"/>
              </a:spcBef>
              <a:spcAft>
                <a:spcPts val="300"/>
              </a:spcAft>
              <a:defRPr lang="en-US" sz="1600" b="1" kern="1200" dirty="0" smtClean="0">
                <a:solidFill>
                  <a:srgbClr val="CB2980"/>
                </a:solidFill>
                <a:latin typeface="+mj-lt"/>
                <a:ea typeface="+mn-ea"/>
                <a:cs typeface="Ubuntu Bold"/>
              </a:defRPr>
            </a:lvl1pPr>
            <a:lvl2pPr marL="0" indent="0" algn="l" defTabSz="956686" rtl="0" eaLnBrk="1" latinLnBrk="0" hangingPunct="1">
              <a:lnSpc>
                <a:spcPct val="100000"/>
              </a:lnSpc>
              <a:spcBef>
                <a:spcPts val="0"/>
              </a:spcBef>
              <a:spcAft>
                <a:spcPts val="300"/>
              </a:spcAft>
              <a:buNone/>
              <a:defRPr lang="en-US" sz="1100" b="0" i="0" kern="1200" dirty="0">
                <a:solidFill>
                  <a:schemeClr val="accent3"/>
                </a:solidFill>
                <a:latin typeface="+mj-lt"/>
                <a:ea typeface="+mn-ea"/>
                <a:cs typeface="Ubuntu Light"/>
              </a:defRPr>
            </a:lvl2pPr>
            <a:lvl3pPr marL="266700" indent="0">
              <a:buNone/>
              <a:defRPr/>
            </a:lvl3pPr>
          </a:lstStyle>
          <a:p>
            <a:pPr lvl="0"/>
            <a:r>
              <a:rPr lang="en-US" dirty="0"/>
              <a:t>Applied Innovation Exchange</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a:p>
            <a:pPr marL="0" lvl="1" indent="0" algn="l" defTabSz="956686" rtl="0" eaLnBrk="1" latinLnBrk="0" hangingPunct="1">
              <a:lnSpc>
                <a:spcPct val="100000"/>
              </a:lnSpc>
              <a:spcBef>
                <a:spcPts val="0"/>
              </a:spcBef>
              <a:spcAft>
                <a:spcPts val="300"/>
              </a:spcAft>
              <a:buClr>
                <a:schemeClr val="accent1"/>
              </a:buClr>
              <a:buFont typeface="Wingdings" panose="05000000000000000000" pitchFamily="2" charset="2"/>
              <a:buNone/>
            </a:pPr>
            <a:r>
              <a:rPr lang="en-US" dirty="0"/>
              <a:t>Replace by business theme content, maximum 3 lines</a:t>
            </a:r>
          </a:p>
        </p:txBody>
      </p:sp>
      <p:cxnSp>
        <p:nvCxnSpPr>
          <p:cNvPr id="337" name="Conector reto 49">
            <a:extLst>
              <a:ext uri="{FF2B5EF4-FFF2-40B4-BE49-F238E27FC236}">
                <a16:creationId xmlns:a16="http://schemas.microsoft.com/office/drawing/2014/main" id="{7170929F-F3EB-49BB-AB76-26F5BE5F261B}"/>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38" name="Rectangle 27">
            <a:extLst>
              <a:ext uri="{FF2B5EF4-FFF2-40B4-BE49-F238E27FC236}">
                <a16:creationId xmlns:a16="http://schemas.microsoft.com/office/drawing/2014/main" id="{925B1C7A-BD70-4B11-B06E-E8E9DE31DBE5}"/>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39" name="Retângulo 43">
            <a:extLst>
              <a:ext uri="{FF2B5EF4-FFF2-40B4-BE49-F238E27FC236}">
                <a16:creationId xmlns:a16="http://schemas.microsoft.com/office/drawing/2014/main" id="{6536DF2A-DD43-4629-8356-4825503EBD67}"/>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0880040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7" name="Title Placeholder 1">
            <a:extLst>
              <a:ext uri="{FF2B5EF4-FFF2-40B4-BE49-F238E27FC236}">
                <a16:creationId xmlns:a16="http://schemas.microsoft.com/office/drawing/2014/main" id="{395216AE-3D1A-4D5D-BFA8-5E36FCDE2577}"/>
              </a:ext>
            </a:extLst>
          </p:cNvPr>
          <p:cNvSpPr>
            <a:spLocks noGrp="1"/>
          </p:cNvSpPr>
          <p:nvPr>
            <p:ph type="title" hasCustomPrompt="1"/>
          </p:nvPr>
        </p:nvSpPr>
        <p:spPr>
          <a:xfrm>
            <a:off x="417416" y="420785"/>
            <a:ext cx="6686550" cy="722376"/>
          </a:xfrm>
          <a:prstGeom prst="rect">
            <a:avLst/>
          </a:prstGeom>
        </p:spPr>
        <p:txBody>
          <a:bodyPr vert="horz" lIns="0" tIns="0" rIns="0" bIns="0" rtlCol="0" anchor="ctr" anchorCtr="0">
            <a:noAutofit/>
          </a:bodyPr>
          <a:lstStyle>
            <a:lvl1pPr marL="0" marR="0" indent="0" algn="l" defTabSz="914400" rtl="0" eaLnBrk="1" fontAlgn="auto" latinLnBrk="0" hangingPunct="1">
              <a:lnSpc>
                <a:spcPts val="3000"/>
              </a:lnSpc>
              <a:spcBef>
                <a:spcPct val="0"/>
              </a:spcBef>
              <a:spcAft>
                <a:spcPts val="0"/>
              </a:spcAft>
              <a:buClrTx/>
              <a:buSzTx/>
              <a:buFontTx/>
              <a:buNone/>
              <a:tabLst/>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lvl="0">
              <a:lnSpc>
                <a:spcPts val="3000"/>
              </a:lnSpc>
            </a:pPr>
            <a:r>
              <a:rPr lang="en-US" dirty="0"/>
              <a:t>Click to add title</a:t>
            </a:r>
            <a:endParaRPr lang="pt-PT" dirty="0"/>
          </a:p>
        </p:txBody>
      </p:sp>
      <p:cxnSp>
        <p:nvCxnSpPr>
          <p:cNvPr id="8" name="Straight Connector 7">
            <a:extLst>
              <a:ext uri="{FF2B5EF4-FFF2-40B4-BE49-F238E27FC236}">
                <a16:creationId xmlns:a16="http://schemas.microsoft.com/office/drawing/2014/main" id="{45888B93-F5AD-483C-AEAA-4B0EA39C32E5}"/>
              </a:ext>
            </a:extLst>
          </p:cNvPr>
          <p:cNvCxnSpPr/>
          <p:nvPr userDrawn="1"/>
        </p:nvCxnSpPr>
        <p:spPr>
          <a:xfrm>
            <a:off x="7276977" y="303945"/>
            <a:ext cx="0" cy="1097280"/>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E0A7130A-64DE-4BA4-A7D0-2B847A782905}"/>
              </a:ext>
            </a:extLst>
          </p:cNvPr>
          <p:cNvSpPr>
            <a:spLocks noGrp="1"/>
          </p:cNvSpPr>
          <p:nvPr>
            <p:ph type="body" sz="quarter" idx="13" hasCustomPrompt="1"/>
          </p:nvPr>
        </p:nvSpPr>
        <p:spPr>
          <a:xfrm>
            <a:off x="7449988" y="692205"/>
            <a:ext cx="3303639" cy="179536"/>
          </a:xfrm>
        </p:spPr>
        <p:txBody>
          <a:bodyPr wrap="square" anchor="ctr" anchorCtr="0">
            <a:spAutoFit/>
          </a:bodyPr>
          <a:lstStyle>
            <a:lvl1pPr>
              <a:lnSpc>
                <a:spcPts val="1400"/>
              </a:lnSpc>
              <a:spcAft>
                <a:spcPts val="300"/>
              </a:spcAft>
              <a:defRPr sz="1200">
                <a:solidFill>
                  <a:schemeClr val="accent3"/>
                </a:solidFill>
              </a:defRPr>
            </a:lvl1pPr>
          </a:lstStyle>
          <a:p>
            <a:pPr lvl="0"/>
            <a:r>
              <a:rPr lang="en-US" dirty="0"/>
              <a:t>Two liner</a:t>
            </a:r>
          </a:p>
        </p:txBody>
      </p:sp>
      <p:sp>
        <p:nvSpPr>
          <p:cNvPr id="13" name="Rectangle: Rounded Corners 4">
            <a:extLst>
              <a:ext uri="{FF2B5EF4-FFF2-40B4-BE49-F238E27FC236}">
                <a16:creationId xmlns:a16="http://schemas.microsoft.com/office/drawing/2014/main" id="{80AEC7BC-BF01-4F9F-9337-2C2CFA1DE61A}"/>
              </a:ext>
            </a:extLst>
          </p:cNvPr>
          <p:cNvSpPr/>
          <p:nvPr userDrawn="1"/>
        </p:nvSpPr>
        <p:spPr>
          <a:xfrm>
            <a:off x="2574734" y="1924137"/>
            <a:ext cx="3447068" cy="3475928"/>
          </a:xfrm>
          <a:custGeom>
            <a:avLst/>
            <a:gdLst>
              <a:gd name="connsiteX0" fmla="*/ 0 w 3577356"/>
              <a:gd name="connsiteY0" fmla="*/ 130288 h 3200400"/>
              <a:gd name="connsiteX1" fmla="*/ 130288 w 3577356"/>
              <a:gd name="connsiteY1" fmla="*/ 0 h 3200400"/>
              <a:gd name="connsiteX2" fmla="*/ 3447068 w 3577356"/>
              <a:gd name="connsiteY2" fmla="*/ 0 h 3200400"/>
              <a:gd name="connsiteX3" fmla="*/ 3577356 w 3577356"/>
              <a:gd name="connsiteY3" fmla="*/ 130288 h 3200400"/>
              <a:gd name="connsiteX4" fmla="*/ 3577356 w 3577356"/>
              <a:gd name="connsiteY4" fmla="*/ 3070112 h 3200400"/>
              <a:gd name="connsiteX5" fmla="*/ 3447068 w 3577356"/>
              <a:gd name="connsiteY5" fmla="*/ 3200400 h 3200400"/>
              <a:gd name="connsiteX6" fmla="*/ 130288 w 3577356"/>
              <a:gd name="connsiteY6" fmla="*/ 3200400 h 3200400"/>
              <a:gd name="connsiteX7" fmla="*/ 0 w 3577356"/>
              <a:gd name="connsiteY7" fmla="*/ 3070112 h 3200400"/>
              <a:gd name="connsiteX8" fmla="*/ 0 w 3577356"/>
              <a:gd name="connsiteY8" fmla="*/ 130288 h 3200400"/>
              <a:gd name="connsiteX0" fmla="*/ 0 w 3577356"/>
              <a:gd name="connsiteY0" fmla="*/ 3070112 h 3200400"/>
              <a:gd name="connsiteX1" fmla="*/ 0 w 3577356"/>
              <a:gd name="connsiteY1" fmla="*/ 130288 h 3200400"/>
              <a:gd name="connsiteX2" fmla="*/ 130288 w 3577356"/>
              <a:gd name="connsiteY2" fmla="*/ 0 h 3200400"/>
              <a:gd name="connsiteX3" fmla="*/ 3447068 w 3577356"/>
              <a:gd name="connsiteY3" fmla="*/ 0 h 3200400"/>
              <a:gd name="connsiteX4" fmla="*/ 3577356 w 3577356"/>
              <a:gd name="connsiteY4" fmla="*/ 130288 h 3200400"/>
              <a:gd name="connsiteX5" fmla="*/ 3577356 w 3577356"/>
              <a:gd name="connsiteY5" fmla="*/ 3070112 h 3200400"/>
              <a:gd name="connsiteX6" fmla="*/ 3447068 w 3577356"/>
              <a:gd name="connsiteY6" fmla="*/ 3200400 h 3200400"/>
              <a:gd name="connsiteX7" fmla="*/ 130288 w 3577356"/>
              <a:gd name="connsiteY7" fmla="*/ 3200400 h 3200400"/>
              <a:gd name="connsiteX8" fmla="*/ 91440 w 3577356"/>
              <a:gd name="connsiteY8" fmla="*/ 3161552 h 3200400"/>
              <a:gd name="connsiteX0" fmla="*/ 0 w 3577356"/>
              <a:gd name="connsiteY0" fmla="*/ 130288 h 3200400"/>
              <a:gd name="connsiteX1" fmla="*/ 130288 w 3577356"/>
              <a:gd name="connsiteY1" fmla="*/ 0 h 3200400"/>
              <a:gd name="connsiteX2" fmla="*/ 3447068 w 3577356"/>
              <a:gd name="connsiteY2" fmla="*/ 0 h 3200400"/>
              <a:gd name="connsiteX3" fmla="*/ 3577356 w 3577356"/>
              <a:gd name="connsiteY3" fmla="*/ 130288 h 3200400"/>
              <a:gd name="connsiteX4" fmla="*/ 3577356 w 3577356"/>
              <a:gd name="connsiteY4" fmla="*/ 3070112 h 3200400"/>
              <a:gd name="connsiteX5" fmla="*/ 3447068 w 3577356"/>
              <a:gd name="connsiteY5" fmla="*/ 3200400 h 3200400"/>
              <a:gd name="connsiteX6" fmla="*/ 130288 w 3577356"/>
              <a:gd name="connsiteY6" fmla="*/ 3200400 h 3200400"/>
              <a:gd name="connsiteX7" fmla="*/ 91440 w 3577356"/>
              <a:gd name="connsiteY7" fmla="*/ 3161552 h 3200400"/>
              <a:gd name="connsiteX0" fmla="*/ 85736 w 3532804"/>
              <a:gd name="connsiteY0" fmla="*/ 0 h 3200400"/>
              <a:gd name="connsiteX1" fmla="*/ 3402516 w 3532804"/>
              <a:gd name="connsiteY1" fmla="*/ 0 h 3200400"/>
              <a:gd name="connsiteX2" fmla="*/ 3532804 w 3532804"/>
              <a:gd name="connsiteY2" fmla="*/ 130288 h 3200400"/>
              <a:gd name="connsiteX3" fmla="*/ 3532804 w 3532804"/>
              <a:gd name="connsiteY3" fmla="*/ 3070112 h 3200400"/>
              <a:gd name="connsiteX4" fmla="*/ 3402516 w 3532804"/>
              <a:gd name="connsiteY4" fmla="*/ 3200400 h 3200400"/>
              <a:gd name="connsiteX5" fmla="*/ 85736 w 3532804"/>
              <a:gd name="connsiteY5" fmla="*/ 3200400 h 3200400"/>
              <a:gd name="connsiteX6" fmla="*/ 46888 w 3532804"/>
              <a:gd name="connsiteY6" fmla="*/ 3161552 h 3200400"/>
              <a:gd name="connsiteX0" fmla="*/ 0 w 3447068"/>
              <a:gd name="connsiteY0" fmla="*/ 0 h 3200400"/>
              <a:gd name="connsiteX1" fmla="*/ 3316780 w 3447068"/>
              <a:gd name="connsiteY1" fmla="*/ 0 h 3200400"/>
              <a:gd name="connsiteX2" fmla="*/ 3447068 w 3447068"/>
              <a:gd name="connsiteY2" fmla="*/ 130288 h 3200400"/>
              <a:gd name="connsiteX3" fmla="*/ 3447068 w 3447068"/>
              <a:gd name="connsiteY3" fmla="*/ 3070112 h 3200400"/>
              <a:gd name="connsiteX4" fmla="*/ 3316780 w 3447068"/>
              <a:gd name="connsiteY4" fmla="*/ 3200400 h 3200400"/>
              <a:gd name="connsiteX5" fmla="*/ 0 w 3447068"/>
              <a:gd name="connsiteY5" fmla="*/ 3200400 h 3200400"/>
              <a:gd name="connsiteX0" fmla="*/ 0 w 3447068"/>
              <a:gd name="connsiteY0" fmla="*/ 0 h 3200400"/>
              <a:gd name="connsiteX1" fmla="*/ 3316780 w 3447068"/>
              <a:gd name="connsiteY1" fmla="*/ 0 h 3200400"/>
              <a:gd name="connsiteX2" fmla="*/ 3447068 w 3447068"/>
              <a:gd name="connsiteY2" fmla="*/ 130288 h 3200400"/>
              <a:gd name="connsiteX3" fmla="*/ 3447068 w 3447068"/>
              <a:gd name="connsiteY3" fmla="*/ 3070112 h 3200400"/>
              <a:gd name="connsiteX4" fmla="*/ 3316780 w 3447068"/>
              <a:gd name="connsiteY4" fmla="*/ 3200400 h 3200400"/>
              <a:gd name="connsiteX0" fmla="*/ 0 w 3447068"/>
              <a:gd name="connsiteY0" fmla="*/ 0 h 3070112"/>
              <a:gd name="connsiteX1" fmla="*/ 3316780 w 3447068"/>
              <a:gd name="connsiteY1" fmla="*/ 0 h 3070112"/>
              <a:gd name="connsiteX2" fmla="*/ 3447068 w 3447068"/>
              <a:gd name="connsiteY2" fmla="*/ 130288 h 3070112"/>
              <a:gd name="connsiteX3" fmla="*/ 3447068 w 3447068"/>
              <a:gd name="connsiteY3" fmla="*/ 3070112 h 3070112"/>
              <a:gd name="connsiteX0" fmla="*/ 0 w 3447068"/>
              <a:gd name="connsiteY0" fmla="*/ 0 h 2645081"/>
              <a:gd name="connsiteX1" fmla="*/ 3316780 w 3447068"/>
              <a:gd name="connsiteY1" fmla="*/ 0 h 2645081"/>
              <a:gd name="connsiteX2" fmla="*/ 3447068 w 3447068"/>
              <a:gd name="connsiteY2" fmla="*/ 130288 h 2645081"/>
              <a:gd name="connsiteX3" fmla="*/ 3447068 w 3447068"/>
              <a:gd name="connsiteY3" fmla="*/ 2645081 h 2645081"/>
            </a:gdLst>
            <a:ahLst/>
            <a:cxnLst>
              <a:cxn ang="0">
                <a:pos x="connsiteX0" y="connsiteY0"/>
              </a:cxn>
              <a:cxn ang="0">
                <a:pos x="connsiteX1" y="connsiteY1"/>
              </a:cxn>
              <a:cxn ang="0">
                <a:pos x="connsiteX2" y="connsiteY2"/>
              </a:cxn>
              <a:cxn ang="0">
                <a:pos x="connsiteX3" y="connsiteY3"/>
              </a:cxn>
            </a:cxnLst>
            <a:rect l="l" t="t" r="r" b="b"/>
            <a:pathLst>
              <a:path w="3447068" h="2645081">
                <a:moveTo>
                  <a:pt x="0" y="0"/>
                </a:moveTo>
                <a:lnTo>
                  <a:pt x="3316780" y="0"/>
                </a:lnTo>
                <a:cubicBezTo>
                  <a:pt x="3388736" y="0"/>
                  <a:pt x="3447068" y="58332"/>
                  <a:pt x="3447068" y="130288"/>
                </a:cubicBezTo>
                <a:lnTo>
                  <a:pt x="3447068" y="2645081"/>
                </a:lnTo>
              </a:path>
            </a:pathLst>
          </a:custGeom>
          <a:noFill/>
          <a:ln>
            <a:solidFill>
              <a:srgbClr val="860866"/>
            </a:solidFill>
            <a:prstDash val="dash"/>
            <a:headEnd type="diamond" w="med" len="med"/>
            <a:tailEnd type="diamond"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4" name="TextBox 13">
            <a:extLst>
              <a:ext uri="{FF2B5EF4-FFF2-40B4-BE49-F238E27FC236}">
                <a16:creationId xmlns:a16="http://schemas.microsoft.com/office/drawing/2014/main" id="{B8A971CD-D413-4B3B-AC28-E55A24165A05}"/>
              </a:ext>
            </a:extLst>
          </p:cNvPr>
          <p:cNvSpPr txBox="1"/>
          <p:nvPr userDrawn="1"/>
        </p:nvSpPr>
        <p:spPr>
          <a:xfrm>
            <a:off x="5835512" y="1913683"/>
            <a:ext cx="520976" cy="179536"/>
          </a:xfrm>
          <a:prstGeom prst="rect">
            <a:avLst/>
          </a:prstGeom>
          <a:noFill/>
        </p:spPr>
        <p:txBody>
          <a:bodyPr wrap="none" lIns="0" tIns="0" rIns="0" bIns="0" rtlCol="0" anchor="ctr" anchorCtr="0">
            <a:spAutoFit/>
          </a:bodyPr>
          <a:lstStyle/>
          <a:p>
            <a:pPr marL="0" lvl="0" indent="0" algn="ctr" defTabSz="914400" rtl="0" eaLnBrk="1" latinLnBrk="0" hangingPunct="1">
              <a:lnSpc>
                <a:spcPts val="1400"/>
              </a:lnSpc>
              <a:spcBef>
                <a:spcPts val="0"/>
              </a:spcBef>
              <a:spcAft>
                <a:spcPts val="300"/>
              </a:spcAft>
              <a:buFont typeface="Arial" panose="020B0604020202020204" pitchFamily="34" charset="0"/>
              <a:buNone/>
            </a:pPr>
            <a:r>
              <a:rPr lang="en-US" sz="1200" kern="1200" dirty="0">
                <a:solidFill>
                  <a:schemeClr val="bg1"/>
                </a:solidFill>
                <a:latin typeface="+mn-lt"/>
                <a:ea typeface="+mn-ea"/>
                <a:cs typeface="+mn-cs"/>
              </a:rPr>
              <a:t>Clients</a:t>
            </a:r>
          </a:p>
        </p:txBody>
      </p:sp>
      <p:sp>
        <p:nvSpPr>
          <p:cNvPr id="15" name="Rectangle: Rounded Corners 4">
            <a:extLst>
              <a:ext uri="{FF2B5EF4-FFF2-40B4-BE49-F238E27FC236}">
                <a16:creationId xmlns:a16="http://schemas.microsoft.com/office/drawing/2014/main" id="{BCC73C5E-42FA-4019-923A-2DE9ED0F0E36}"/>
              </a:ext>
            </a:extLst>
          </p:cNvPr>
          <p:cNvSpPr/>
          <p:nvPr userDrawn="1"/>
        </p:nvSpPr>
        <p:spPr>
          <a:xfrm flipH="1">
            <a:off x="6170194" y="1924137"/>
            <a:ext cx="3447068" cy="3476994"/>
          </a:xfrm>
          <a:custGeom>
            <a:avLst/>
            <a:gdLst>
              <a:gd name="connsiteX0" fmla="*/ 0 w 3577356"/>
              <a:gd name="connsiteY0" fmla="*/ 130288 h 3200400"/>
              <a:gd name="connsiteX1" fmla="*/ 130288 w 3577356"/>
              <a:gd name="connsiteY1" fmla="*/ 0 h 3200400"/>
              <a:gd name="connsiteX2" fmla="*/ 3447068 w 3577356"/>
              <a:gd name="connsiteY2" fmla="*/ 0 h 3200400"/>
              <a:gd name="connsiteX3" fmla="*/ 3577356 w 3577356"/>
              <a:gd name="connsiteY3" fmla="*/ 130288 h 3200400"/>
              <a:gd name="connsiteX4" fmla="*/ 3577356 w 3577356"/>
              <a:gd name="connsiteY4" fmla="*/ 3070112 h 3200400"/>
              <a:gd name="connsiteX5" fmla="*/ 3447068 w 3577356"/>
              <a:gd name="connsiteY5" fmla="*/ 3200400 h 3200400"/>
              <a:gd name="connsiteX6" fmla="*/ 130288 w 3577356"/>
              <a:gd name="connsiteY6" fmla="*/ 3200400 h 3200400"/>
              <a:gd name="connsiteX7" fmla="*/ 0 w 3577356"/>
              <a:gd name="connsiteY7" fmla="*/ 3070112 h 3200400"/>
              <a:gd name="connsiteX8" fmla="*/ 0 w 3577356"/>
              <a:gd name="connsiteY8" fmla="*/ 130288 h 3200400"/>
              <a:gd name="connsiteX0" fmla="*/ 0 w 3577356"/>
              <a:gd name="connsiteY0" fmla="*/ 3070112 h 3200400"/>
              <a:gd name="connsiteX1" fmla="*/ 0 w 3577356"/>
              <a:gd name="connsiteY1" fmla="*/ 130288 h 3200400"/>
              <a:gd name="connsiteX2" fmla="*/ 130288 w 3577356"/>
              <a:gd name="connsiteY2" fmla="*/ 0 h 3200400"/>
              <a:gd name="connsiteX3" fmla="*/ 3447068 w 3577356"/>
              <a:gd name="connsiteY3" fmla="*/ 0 h 3200400"/>
              <a:gd name="connsiteX4" fmla="*/ 3577356 w 3577356"/>
              <a:gd name="connsiteY4" fmla="*/ 130288 h 3200400"/>
              <a:gd name="connsiteX5" fmla="*/ 3577356 w 3577356"/>
              <a:gd name="connsiteY5" fmla="*/ 3070112 h 3200400"/>
              <a:gd name="connsiteX6" fmla="*/ 3447068 w 3577356"/>
              <a:gd name="connsiteY6" fmla="*/ 3200400 h 3200400"/>
              <a:gd name="connsiteX7" fmla="*/ 130288 w 3577356"/>
              <a:gd name="connsiteY7" fmla="*/ 3200400 h 3200400"/>
              <a:gd name="connsiteX8" fmla="*/ 91440 w 3577356"/>
              <a:gd name="connsiteY8" fmla="*/ 3161552 h 3200400"/>
              <a:gd name="connsiteX0" fmla="*/ 0 w 3577356"/>
              <a:gd name="connsiteY0" fmla="*/ 130288 h 3200400"/>
              <a:gd name="connsiteX1" fmla="*/ 130288 w 3577356"/>
              <a:gd name="connsiteY1" fmla="*/ 0 h 3200400"/>
              <a:gd name="connsiteX2" fmla="*/ 3447068 w 3577356"/>
              <a:gd name="connsiteY2" fmla="*/ 0 h 3200400"/>
              <a:gd name="connsiteX3" fmla="*/ 3577356 w 3577356"/>
              <a:gd name="connsiteY3" fmla="*/ 130288 h 3200400"/>
              <a:gd name="connsiteX4" fmla="*/ 3577356 w 3577356"/>
              <a:gd name="connsiteY4" fmla="*/ 3070112 h 3200400"/>
              <a:gd name="connsiteX5" fmla="*/ 3447068 w 3577356"/>
              <a:gd name="connsiteY5" fmla="*/ 3200400 h 3200400"/>
              <a:gd name="connsiteX6" fmla="*/ 130288 w 3577356"/>
              <a:gd name="connsiteY6" fmla="*/ 3200400 h 3200400"/>
              <a:gd name="connsiteX7" fmla="*/ 91440 w 3577356"/>
              <a:gd name="connsiteY7" fmla="*/ 3161552 h 3200400"/>
              <a:gd name="connsiteX0" fmla="*/ 85736 w 3532804"/>
              <a:gd name="connsiteY0" fmla="*/ 0 h 3200400"/>
              <a:gd name="connsiteX1" fmla="*/ 3402516 w 3532804"/>
              <a:gd name="connsiteY1" fmla="*/ 0 h 3200400"/>
              <a:gd name="connsiteX2" fmla="*/ 3532804 w 3532804"/>
              <a:gd name="connsiteY2" fmla="*/ 130288 h 3200400"/>
              <a:gd name="connsiteX3" fmla="*/ 3532804 w 3532804"/>
              <a:gd name="connsiteY3" fmla="*/ 3070112 h 3200400"/>
              <a:gd name="connsiteX4" fmla="*/ 3402516 w 3532804"/>
              <a:gd name="connsiteY4" fmla="*/ 3200400 h 3200400"/>
              <a:gd name="connsiteX5" fmla="*/ 85736 w 3532804"/>
              <a:gd name="connsiteY5" fmla="*/ 3200400 h 3200400"/>
              <a:gd name="connsiteX6" fmla="*/ 46888 w 3532804"/>
              <a:gd name="connsiteY6" fmla="*/ 3161552 h 3200400"/>
              <a:gd name="connsiteX0" fmla="*/ 0 w 3447068"/>
              <a:gd name="connsiteY0" fmla="*/ 0 h 3200400"/>
              <a:gd name="connsiteX1" fmla="*/ 3316780 w 3447068"/>
              <a:gd name="connsiteY1" fmla="*/ 0 h 3200400"/>
              <a:gd name="connsiteX2" fmla="*/ 3447068 w 3447068"/>
              <a:gd name="connsiteY2" fmla="*/ 130288 h 3200400"/>
              <a:gd name="connsiteX3" fmla="*/ 3447068 w 3447068"/>
              <a:gd name="connsiteY3" fmla="*/ 3070112 h 3200400"/>
              <a:gd name="connsiteX4" fmla="*/ 3316780 w 3447068"/>
              <a:gd name="connsiteY4" fmla="*/ 3200400 h 3200400"/>
              <a:gd name="connsiteX5" fmla="*/ 0 w 3447068"/>
              <a:gd name="connsiteY5" fmla="*/ 3200400 h 3200400"/>
              <a:gd name="connsiteX0" fmla="*/ 0 w 3447068"/>
              <a:gd name="connsiteY0" fmla="*/ 0 h 3200400"/>
              <a:gd name="connsiteX1" fmla="*/ 3316780 w 3447068"/>
              <a:gd name="connsiteY1" fmla="*/ 0 h 3200400"/>
              <a:gd name="connsiteX2" fmla="*/ 3447068 w 3447068"/>
              <a:gd name="connsiteY2" fmla="*/ 130288 h 3200400"/>
              <a:gd name="connsiteX3" fmla="*/ 3447068 w 3447068"/>
              <a:gd name="connsiteY3" fmla="*/ 3070112 h 3200400"/>
              <a:gd name="connsiteX4" fmla="*/ 3316780 w 3447068"/>
              <a:gd name="connsiteY4" fmla="*/ 3200400 h 3200400"/>
              <a:gd name="connsiteX0" fmla="*/ 0 w 3447068"/>
              <a:gd name="connsiteY0" fmla="*/ 0 h 3070112"/>
              <a:gd name="connsiteX1" fmla="*/ 3316780 w 3447068"/>
              <a:gd name="connsiteY1" fmla="*/ 0 h 3070112"/>
              <a:gd name="connsiteX2" fmla="*/ 3447068 w 3447068"/>
              <a:gd name="connsiteY2" fmla="*/ 130288 h 3070112"/>
              <a:gd name="connsiteX3" fmla="*/ 3447068 w 3447068"/>
              <a:gd name="connsiteY3" fmla="*/ 3070112 h 3070112"/>
              <a:gd name="connsiteX0" fmla="*/ 0 w 3447068"/>
              <a:gd name="connsiteY0" fmla="*/ 0 h 2656726"/>
              <a:gd name="connsiteX1" fmla="*/ 3316780 w 3447068"/>
              <a:gd name="connsiteY1" fmla="*/ 0 h 2656726"/>
              <a:gd name="connsiteX2" fmla="*/ 3447068 w 3447068"/>
              <a:gd name="connsiteY2" fmla="*/ 130288 h 2656726"/>
              <a:gd name="connsiteX3" fmla="*/ 3447068 w 3447068"/>
              <a:gd name="connsiteY3" fmla="*/ 2656726 h 2656726"/>
            </a:gdLst>
            <a:ahLst/>
            <a:cxnLst>
              <a:cxn ang="0">
                <a:pos x="connsiteX0" y="connsiteY0"/>
              </a:cxn>
              <a:cxn ang="0">
                <a:pos x="connsiteX1" y="connsiteY1"/>
              </a:cxn>
              <a:cxn ang="0">
                <a:pos x="connsiteX2" y="connsiteY2"/>
              </a:cxn>
              <a:cxn ang="0">
                <a:pos x="connsiteX3" y="connsiteY3"/>
              </a:cxn>
            </a:cxnLst>
            <a:rect l="l" t="t" r="r" b="b"/>
            <a:pathLst>
              <a:path w="3447068" h="2656726">
                <a:moveTo>
                  <a:pt x="0" y="0"/>
                </a:moveTo>
                <a:lnTo>
                  <a:pt x="3316780" y="0"/>
                </a:lnTo>
                <a:cubicBezTo>
                  <a:pt x="3388736" y="0"/>
                  <a:pt x="3447068" y="58332"/>
                  <a:pt x="3447068" y="130288"/>
                </a:cubicBezTo>
                <a:lnTo>
                  <a:pt x="3447068" y="2656726"/>
                </a:lnTo>
              </a:path>
            </a:pathLst>
          </a:custGeom>
          <a:noFill/>
          <a:ln>
            <a:solidFill>
              <a:srgbClr val="FF6600"/>
            </a:solidFill>
            <a:prstDash val="dash"/>
            <a:headEnd type="diamond" w="med" len="med"/>
            <a:tailEnd type="diamond"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 name="Rectangle: Top Corners Rounded 15">
            <a:extLst>
              <a:ext uri="{FF2B5EF4-FFF2-40B4-BE49-F238E27FC236}">
                <a16:creationId xmlns:a16="http://schemas.microsoft.com/office/drawing/2014/main" id="{91A33EF9-3B13-44BC-8817-1D8E78B04CD4}"/>
              </a:ext>
            </a:extLst>
          </p:cNvPr>
          <p:cNvSpPr/>
          <p:nvPr userDrawn="1"/>
        </p:nvSpPr>
        <p:spPr>
          <a:xfrm rot="5400000">
            <a:off x="3020704" y="406887"/>
            <a:ext cx="271776" cy="3047990"/>
          </a:xfrm>
          <a:prstGeom prst="round2SameRect">
            <a:avLst>
              <a:gd name="adj1" fmla="val 50000"/>
              <a:gd name="adj2" fmla="val 0"/>
            </a:avLst>
          </a:prstGeom>
          <a:solidFill>
            <a:srgbClr val="8608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 name="Rectangle: Top Corners Rounded 16">
            <a:extLst>
              <a:ext uri="{FF2B5EF4-FFF2-40B4-BE49-F238E27FC236}">
                <a16:creationId xmlns:a16="http://schemas.microsoft.com/office/drawing/2014/main" id="{09F46F85-AFE8-4CA4-930A-19463692F76E}"/>
              </a:ext>
            </a:extLst>
          </p:cNvPr>
          <p:cNvSpPr/>
          <p:nvPr userDrawn="1"/>
        </p:nvSpPr>
        <p:spPr>
          <a:xfrm rot="16200000" flipH="1">
            <a:off x="8899515" y="406886"/>
            <a:ext cx="271776" cy="3047990"/>
          </a:xfrm>
          <a:prstGeom prst="round2Same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 name="TextBox 17">
            <a:extLst>
              <a:ext uri="{FF2B5EF4-FFF2-40B4-BE49-F238E27FC236}">
                <a16:creationId xmlns:a16="http://schemas.microsoft.com/office/drawing/2014/main" id="{81C12AD9-0727-4FCF-A3B1-DC1574349F7E}"/>
              </a:ext>
            </a:extLst>
          </p:cNvPr>
          <p:cNvSpPr txBox="1"/>
          <p:nvPr userDrawn="1"/>
        </p:nvSpPr>
        <p:spPr>
          <a:xfrm>
            <a:off x="1988881" y="1841114"/>
            <a:ext cx="892681" cy="179536"/>
          </a:xfrm>
          <a:prstGeom prst="rect">
            <a:avLst/>
          </a:prstGeom>
          <a:noFill/>
        </p:spPr>
        <p:txBody>
          <a:bodyPr wrap="none" lIns="0" tIns="0" rIns="0" bIns="0" rtlCol="0" anchor="ctr" anchorCtr="0">
            <a:spAutoFit/>
          </a:bodyPr>
          <a:lstStyle/>
          <a:p>
            <a:pPr marL="0" lvl="0" indent="0" algn="l" defTabSz="914400" rtl="0" eaLnBrk="1" latinLnBrk="0" hangingPunct="1">
              <a:lnSpc>
                <a:spcPts val="1400"/>
              </a:lnSpc>
              <a:spcBef>
                <a:spcPts val="0"/>
              </a:spcBef>
              <a:spcAft>
                <a:spcPts val="300"/>
              </a:spcAft>
              <a:buFont typeface="Arial" panose="020B0604020202020204" pitchFamily="34" charset="0"/>
              <a:buNone/>
            </a:pPr>
            <a:r>
              <a:rPr lang="en-US" sz="1200" kern="1200" dirty="0">
                <a:solidFill>
                  <a:schemeClr val="bg1"/>
                </a:solidFill>
                <a:latin typeface="+mn-lt"/>
                <a:ea typeface="+mn-ea"/>
                <a:cs typeface="+mn-cs"/>
              </a:rPr>
              <a:t>Key Drivers</a:t>
            </a:r>
          </a:p>
        </p:txBody>
      </p:sp>
      <p:sp>
        <p:nvSpPr>
          <p:cNvPr id="19" name="TextBox 18">
            <a:extLst>
              <a:ext uri="{FF2B5EF4-FFF2-40B4-BE49-F238E27FC236}">
                <a16:creationId xmlns:a16="http://schemas.microsoft.com/office/drawing/2014/main" id="{451CC301-C953-49A9-B465-98BBDB7F8089}"/>
              </a:ext>
            </a:extLst>
          </p:cNvPr>
          <p:cNvSpPr txBox="1"/>
          <p:nvPr userDrawn="1"/>
        </p:nvSpPr>
        <p:spPr>
          <a:xfrm>
            <a:off x="7856330" y="1841113"/>
            <a:ext cx="2293898" cy="179536"/>
          </a:xfrm>
          <a:prstGeom prst="rect">
            <a:avLst/>
          </a:prstGeom>
          <a:noFill/>
        </p:spPr>
        <p:txBody>
          <a:bodyPr wrap="none" lIns="0" tIns="0" rIns="0" bIns="0" rtlCol="0" anchor="ctr" anchorCtr="0">
            <a:spAutoFit/>
          </a:bodyPr>
          <a:lstStyle/>
          <a:p>
            <a:pPr marL="0" lvl="0" indent="0" algn="ctr" defTabSz="914400" rtl="0" eaLnBrk="1" latinLnBrk="0" hangingPunct="1">
              <a:lnSpc>
                <a:spcPts val="1400"/>
              </a:lnSpc>
              <a:spcBef>
                <a:spcPts val="0"/>
              </a:spcBef>
              <a:spcAft>
                <a:spcPts val="300"/>
              </a:spcAft>
              <a:buFont typeface="Arial" panose="020B0604020202020204" pitchFamily="34" charset="0"/>
              <a:buNone/>
            </a:pPr>
            <a:r>
              <a:rPr lang="en-US" sz="1200" b="0" kern="1200" dirty="0">
                <a:solidFill>
                  <a:schemeClr val="bg1"/>
                </a:solidFill>
                <a:latin typeface="+mj-lt"/>
                <a:ea typeface="+mn-ea"/>
                <a:cs typeface="+mn-cs"/>
              </a:rPr>
              <a:t>Selected Solutions &amp; Services</a:t>
            </a:r>
          </a:p>
        </p:txBody>
      </p:sp>
      <p:sp>
        <p:nvSpPr>
          <p:cNvPr id="20" name="Rectangle: Rounded Corners 19">
            <a:extLst>
              <a:ext uri="{FF2B5EF4-FFF2-40B4-BE49-F238E27FC236}">
                <a16:creationId xmlns:a16="http://schemas.microsoft.com/office/drawing/2014/main" id="{2AE5009F-EBDC-4F91-A683-CA14693DDA54}"/>
              </a:ext>
            </a:extLst>
          </p:cNvPr>
          <p:cNvSpPr/>
          <p:nvPr userDrawn="1"/>
        </p:nvSpPr>
        <p:spPr>
          <a:xfrm>
            <a:off x="407988" y="1794993"/>
            <a:ext cx="1176972" cy="3631249"/>
          </a:xfrm>
          <a:prstGeom prst="roundRect">
            <a:avLst>
              <a:gd name="adj" fmla="val 5011"/>
            </a:avLst>
          </a:prstGeom>
          <a:noFill/>
          <a:ln w="63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nvGrpSpPr>
          <p:cNvPr id="21" name="Group 20">
            <a:extLst>
              <a:ext uri="{FF2B5EF4-FFF2-40B4-BE49-F238E27FC236}">
                <a16:creationId xmlns:a16="http://schemas.microsoft.com/office/drawing/2014/main" id="{5ABFF279-FD39-4738-ADB8-A8ED660AA91A}"/>
              </a:ext>
            </a:extLst>
          </p:cNvPr>
          <p:cNvGrpSpPr/>
          <p:nvPr userDrawn="1"/>
        </p:nvGrpSpPr>
        <p:grpSpPr>
          <a:xfrm>
            <a:off x="419100" y="5840805"/>
            <a:ext cx="1307148" cy="274320"/>
            <a:chOff x="2378781" y="5770027"/>
            <a:chExt cx="1307148" cy="274320"/>
          </a:xfrm>
        </p:grpSpPr>
        <p:sp>
          <p:nvSpPr>
            <p:cNvPr id="22" name="Rectangle: Top Corners Rounded 21">
              <a:extLst>
                <a:ext uri="{FF2B5EF4-FFF2-40B4-BE49-F238E27FC236}">
                  <a16:creationId xmlns:a16="http://schemas.microsoft.com/office/drawing/2014/main" id="{FDAF1CFC-95E4-4DED-8F9A-C4AF08C88169}"/>
                </a:ext>
              </a:extLst>
            </p:cNvPr>
            <p:cNvSpPr/>
            <p:nvPr userDrawn="1"/>
          </p:nvSpPr>
          <p:spPr>
            <a:xfrm rot="5400000">
              <a:off x="2895195" y="5253613"/>
              <a:ext cx="274320" cy="1307148"/>
            </a:xfrm>
            <a:prstGeom prst="round2SameRect">
              <a:avLst>
                <a:gd name="adj1" fmla="val 50000"/>
                <a:gd name="adj2" fmla="val 0"/>
              </a:avLst>
            </a:prstGeom>
            <a:solidFill>
              <a:srgbClr val="0E64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200" b="0" dirty="0">
                <a:solidFill>
                  <a:srgbClr val="95E71A"/>
                </a:solidFill>
              </a:endParaRPr>
            </a:p>
          </p:txBody>
        </p:sp>
        <p:sp>
          <p:nvSpPr>
            <p:cNvPr id="23" name="TextBox 22">
              <a:extLst>
                <a:ext uri="{FF2B5EF4-FFF2-40B4-BE49-F238E27FC236}">
                  <a16:creationId xmlns:a16="http://schemas.microsoft.com/office/drawing/2014/main" id="{D9E7A083-B02A-447C-B0D0-1C244F2E3D9C}"/>
                </a:ext>
              </a:extLst>
            </p:cNvPr>
            <p:cNvSpPr txBox="1"/>
            <p:nvPr userDrawn="1"/>
          </p:nvSpPr>
          <p:spPr>
            <a:xfrm>
              <a:off x="2771867" y="5817419"/>
              <a:ext cx="520976" cy="179536"/>
            </a:xfrm>
            <a:prstGeom prst="rect">
              <a:avLst/>
            </a:prstGeom>
            <a:noFill/>
          </p:spPr>
          <p:txBody>
            <a:bodyPr wrap="none" lIns="0" tIns="0" rIns="0" bIns="0" rtlCol="0" anchor="ctr" anchorCtr="0">
              <a:spAutoFit/>
            </a:bodyPr>
            <a:lstStyle/>
            <a:p>
              <a:pPr marL="0" lvl="0" indent="0" algn="ctr" defTabSz="914400" rtl="0" eaLnBrk="1" latinLnBrk="0" hangingPunct="1">
                <a:lnSpc>
                  <a:spcPts val="1400"/>
                </a:lnSpc>
                <a:spcBef>
                  <a:spcPts val="0"/>
                </a:spcBef>
                <a:spcAft>
                  <a:spcPts val="300"/>
                </a:spcAft>
                <a:buFont typeface="Arial" panose="020B0604020202020204" pitchFamily="34" charset="0"/>
                <a:buNone/>
              </a:pPr>
              <a:r>
                <a:rPr lang="en-US" sz="1200" b="0" kern="1200" dirty="0">
                  <a:solidFill>
                    <a:schemeClr val="bg1"/>
                  </a:solidFill>
                  <a:latin typeface="+mn-lt"/>
                  <a:ea typeface="+mn-ea"/>
                  <a:cs typeface="+mn-cs"/>
                </a:rPr>
                <a:t>Clients</a:t>
              </a:r>
            </a:p>
          </p:txBody>
        </p:sp>
      </p:grpSp>
      <p:sp>
        <p:nvSpPr>
          <p:cNvPr id="24" name="Rectangle: Rounded Corners 84">
            <a:extLst>
              <a:ext uri="{FF2B5EF4-FFF2-40B4-BE49-F238E27FC236}">
                <a16:creationId xmlns:a16="http://schemas.microsoft.com/office/drawing/2014/main" id="{3F7BDC93-6D2D-4BB6-A442-C6902887C051}"/>
              </a:ext>
            </a:extLst>
          </p:cNvPr>
          <p:cNvSpPr/>
          <p:nvPr userDrawn="1"/>
        </p:nvSpPr>
        <p:spPr>
          <a:xfrm>
            <a:off x="1632597" y="5502742"/>
            <a:ext cx="10159353" cy="950446"/>
          </a:xfrm>
          <a:custGeom>
            <a:avLst/>
            <a:gdLst>
              <a:gd name="connsiteX0" fmla="*/ 0 w 10431279"/>
              <a:gd name="connsiteY0" fmla="*/ 87850 h 950446"/>
              <a:gd name="connsiteX1" fmla="*/ 87850 w 10431279"/>
              <a:gd name="connsiteY1" fmla="*/ 0 h 950446"/>
              <a:gd name="connsiteX2" fmla="*/ 10343429 w 10431279"/>
              <a:gd name="connsiteY2" fmla="*/ 0 h 950446"/>
              <a:gd name="connsiteX3" fmla="*/ 10431279 w 10431279"/>
              <a:gd name="connsiteY3" fmla="*/ 87850 h 950446"/>
              <a:gd name="connsiteX4" fmla="*/ 10431279 w 10431279"/>
              <a:gd name="connsiteY4" fmla="*/ 862596 h 950446"/>
              <a:gd name="connsiteX5" fmla="*/ 10343429 w 10431279"/>
              <a:gd name="connsiteY5" fmla="*/ 950446 h 950446"/>
              <a:gd name="connsiteX6" fmla="*/ 87850 w 10431279"/>
              <a:gd name="connsiteY6" fmla="*/ 950446 h 950446"/>
              <a:gd name="connsiteX7" fmla="*/ 0 w 10431279"/>
              <a:gd name="connsiteY7" fmla="*/ 862596 h 950446"/>
              <a:gd name="connsiteX8" fmla="*/ 0 w 10431279"/>
              <a:gd name="connsiteY8" fmla="*/ 87850 h 950446"/>
              <a:gd name="connsiteX0" fmla="*/ 10431279 w 10522719"/>
              <a:gd name="connsiteY0" fmla="*/ 87850 h 950446"/>
              <a:gd name="connsiteX1" fmla="*/ 10431279 w 10522719"/>
              <a:gd name="connsiteY1" fmla="*/ 862596 h 950446"/>
              <a:gd name="connsiteX2" fmla="*/ 10343429 w 10522719"/>
              <a:gd name="connsiteY2" fmla="*/ 950446 h 950446"/>
              <a:gd name="connsiteX3" fmla="*/ 87850 w 10522719"/>
              <a:gd name="connsiteY3" fmla="*/ 950446 h 950446"/>
              <a:gd name="connsiteX4" fmla="*/ 0 w 10522719"/>
              <a:gd name="connsiteY4" fmla="*/ 862596 h 950446"/>
              <a:gd name="connsiteX5" fmla="*/ 0 w 10522719"/>
              <a:gd name="connsiteY5" fmla="*/ 87850 h 950446"/>
              <a:gd name="connsiteX6" fmla="*/ 87850 w 10522719"/>
              <a:gd name="connsiteY6" fmla="*/ 0 h 950446"/>
              <a:gd name="connsiteX7" fmla="*/ 10343429 w 10522719"/>
              <a:gd name="connsiteY7" fmla="*/ 0 h 950446"/>
              <a:gd name="connsiteX8" fmla="*/ 10522719 w 10522719"/>
              <a:gd name="connsiteY8" fmla="*/ 179290 h 950446"/>
              <a:gd name="connsiteX0" fmla="*/ 10431279 w 10431279"/>
              <a:gd name="connsiteY0" fmla="*/ 87850 h 950446"/>
              <a:gd name="connsiteX1" fmla="*/ 10431279 w 10431279"/>
              <a:gd name="connsiteY1" fmla="*/ 862596 h 950446"/>
              <a:gd name="connsiteX2" fmla="*/ 10343429 w 10431279"/>
              <a:gd name="connsiteY2" fmla="*/ 950446 h 950446"/>
              <a:gd name="connsiteX3" fmla="*/ 87850 w 10431279"/>
              <a:gd name="connsiteY3" fmla="*/ 950446 h 950446"/>
              <a:gd name="connsiteX4" fmla="*/ 0 w 10431279"/>
              <a:gd name="connsiteY4" fmla="*/ 862596 h 950446"/>
              <a:gd name="connsiteX5" fmla="*/ 0 w 10431279"/>
              <a:gd name="connsiteY5" fmla="*/ 87850 h 950446"/>
              <a:gd name="connsiteX6" fmla="*/ 87850 w 10431279"/>
              <a:gd name="connsiteY6" fmla="*/ 0 h 950446"/>
              <a:gd name="connsiteX7" fmla="*/ 10343429 w 10431279"/>
              <a:gd name="connsiteY7" fmla="*/ 0 h 950446"/>
              <a:gd name="connsiteX0" fmla="*/ 10431279 w 10431279"/>
              <a:gd name="connsiteY0" fmla="*/ 862596 h 950446"/>
              <a:gd name="connsiteX1" fmla="*/ 10343429 w 10431279"/>
              <a:gd name="connsiteY1" fmla="*/ 950446 h 950446"/>
              <a:gd name="connsiteX2" fmla="*/ 87850 w 10431279"/>
              <a:gd name="connsiteY2" fmla="*/ 950446 h 950446"/>
              <a:gd name="connsiteX3" fmla="*/ 0 w 10431279"/>
              <a:gd name="connsiteY3" fmla="*/ 862596 h 950446"/>
              <a:gd name="connsiteX4" fmla="*/ 0 w 10431279"/>
              <a:gd name="connsiteY4" fmla="*/ 87850 h 950446"/>
              <a:gd name="connsiteX5" fmla="*/ 87850 w 10431279"/>
              <a:gd name="connsiteY5" fmla="*/ 0 h 950446"/>
              <a:gd name="connsiteX6" fmla="*/ 10343429 w 10431279"/>
              <a:gd name="connsiteY6" fmla="*/ 0 h 950446"/>
              <a:gd name="connsiteX0" fmla="*/ 10343429 w 10343429"/>
              <a:gd name="connsiteY0" fmla="*/ 950446 h 950446"/>
              <a:gd name="connsiteX1" fmla="*/ 87850 w 10343429"/>
              <a:gd name="connsiteY1" fmla="*/ 950446 h 950446"/>
              <a:gd name="connsiteX2" fmla="*/ 0 w 10343429"/>
              <a:gd name="connsiteY2" fmla="*/ 862596 h 950446"/>
              <a:gd name="connsiteX3" fmla="*/ 0 w 10343429"/>
              <a:gd name="connsiteY3" fmla="*/ 87850 h 950446"/>
              <a:gd name="connsiteX4" fmla="*/ 87850 w 10343429"/>
              <a:gd name="connsiteY4" fmla="*/ 0 h 950446"/>
              <a:gd name="connsiteX5" fmla="*/ 10343429 w 10343429"/>
              <a:gd name="connsiteY5" fmla="*/ 0 h 95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3429" h="950446">
                <a:moveTo>
                  <a:pt x="10343429" y="950446"/>
                </a:moveTo>
                <a:lnTo>
                  <a:pt x="87850" y="950446"/>
                </a:lnTo>
                <a:cubicBezTo>
                  <a:pt x="39332" y="950446"/>
                  <a:pt x="0" y="911114"/>
                  <a:pt x="0" y="862596"/>
                </a:cubicBezTo>
                <a:lnTo>
                  <a:pt x="0" y="87850"/>
                </a:lnTo>
                <a:cubicBezTo>
                  <a:pt x="0" y="39332"/>
                  <a:pt x="39332" y="0"/>
                  <a:pt x="87850" y="0"/>
                </a:cubicBezTo>
                <a:lnTo>
                  <a:pt x="10343429" y="0"/>
                </a:lnTo>
              </a:path>
            </a:pathLst>
          </a:custGeom>
          <a:noFill/>
          <a:ln>
            <a:solidFill>
              <a:srgbClr val="0E646B"/>
            </a:solidFill>
            <a:prstDash val="dash"/>
            <a:headEnd type="diamond" w="med" len="med"/>
            <a:tailEnd type="diamond"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schemeClr val="tx1"/>
              </a:solidFill>
            </a:endParaRPr>
          </a:p>
        </p:txBody>
      </p:sp>
      <p:grpSp>
        <p:nvGrpSpPr>
          <p:cNvPr id="25" name="Group 24">
            <a:extLst>
              <a:ext uri="{FF2B5EF4-FFF2-40B4-BE49-F238E27FC236}">
                <a16:creationId xmlns:a16="http://schemas.microsoft.com/office/drawing/2014/main" id="{08243D76-A375-4146-BCB1-0CC64D94DC94}"/>
              </a:ext>
            </a:extLst>
          </p:cNvPr>
          <p:cNvGrpSpPr/>
          <p:nvPr userDrawn="1"/>
        </p:nvGrpSpPr>
        <p:grpSpPr>
          <a:xfrm>
            <a:off x="10660704" y="1836903"/>
            <a:ext cx="821418" cy="3675610"/>
            <a:chOff x="1931630" y="548966"/>
            <a:chExt cx="1272938" cy="5696031"/>
          </a:xfrm>
        </p:grpSpPr>
        <p:pic>
          <p:nvPicPr>
            <p:cNvPr id="26" name="Picture 25">
              <a:extLst>
                <a:ext uri="{FF2B5EF4-FFF2-40B4-BE49-F238E27FC236}">
                  <a16:creationId xmlns:a16="http://schemas.microsoft.com/office/drawing/2014/main" id="{4AC2054F-2DCB-4C20-9596-017510EAC645}"/>
                </a:ext>
              </a:extLst>
            </p:cNvPr>
            <p:cNvPicPr>
              <a:picLocks noChangeAspect="1"/>
            </p:cNvPicPr>
            <p:nvPr userDrawn="1"/>
          </p:nvPicPr>
          <p:blipFill>
            <a:blip r:embed="rId2"/>
            <a:stretch>
              <a:fillRect/>
            </a:stretch>
          </p:blipFill>
          <p:spPr>
            <a:xfrm>
              <a:off x="1937443" y="548966"/>
              <a:ext cx="1261313" cy="1178667"/>
            </a:xfrm>
            <a:prstGeom prst="rect">
              <a:avLst/>
            </a:prstGeom>
          </p:spPr>
        </p:pic>
        <p:pic>
          <p:nvPicPr>
            <p:cNvPr id="27" name="Picture 26">
              <a:extLst>
                <a:ext uri="{FF2B5EF4-FFF2-40B4-BE49-F238E27FC236}">
                  <a16:creationId xmlns:a16="http://schemas.microsoft.com/office/drawing/2014/main" id="{2A8FB4E5-ADC5-40B5-B391-C709AE137565}"/>
                </a:ext>
              </a:extLst>
            </p:cNvPr>
            <p:cNvPicPr>
              <a:picLocks noChangeAspect="1"/>
            </p:cNvPicPr>
            <p:nvPr userDrawn="1"/>
          </p:nvPicPr>
          <p:blipFill>
            <a:blip r:embed="rId3"/>
            <a:stretch>
              <a:fillRect/>
            </a:stretch>
          </p:blipFill>
          <p:spPr>
            <a:xfrm>
              <a:off x="1937443" y="1675474"/>
              <a:ext cx="1261313" cy="1178667"/>
            </a:xfrm>
            <a:prstGeom prst="rect">
              <a:avLst/>
            </a:prstGeom>
          </p:spPr>
        </p:pic>
        <p:pic>
          <p:nvPicPr>
            <p:cNvPr id="28" name="Picture 27">
              <a:extLst>
                <a:ext uri="{FF2B5EF4-FFF2-40B4-BE49-F238E27FC236}">
                  <a16:creationId xmlns:a16="http://schemas.microsoft.com/office/drawing/2014/main" id="{587862C1-CD5D-4263-88E4-88380BE5314B}"/>
                </a:ext>
              </a:extLst>
            </p:cNvPr>
            <p:cNvPicPr>
              <a:picLocks noChangeAspect="1"/>
            </p:cNvPicPr>
            <p:nvPr userDrawn="1"/>
          </p:nvPicPr>
          <p:blipFill>
            <a:blip r:embed="rId4"/>
            <a:stretch>
              <a:fillRect/>
            </a:stretch>
          </p:blipFill>
          <p:spPr>
            <a:xfrm>
              <a:off x="1934537" y="2801982"/>
              <a:ext cx="1267125" cy="1184333"/>
            </a:xfrm>
            <a:prstGeom prst="rect">
              <a:avLst/>
            </a:prstGeom>
          </p:spPr>
        </p:pic>
        <p:pic>
          <p:nvPicPr>
            <p:cNvPr id="29" name="Picture 28">
              <a:extLst>
                <a:ext uri="{FF2B5EF4-FFF2-40B4-BE49-F238E27FC236}">
                  <a16:creationId xmlns:a16="http://schemas.microsoft.com/office/drawing/2014/main" id="{83480AA6-9BEB-49B2-ADC0-4F6372E7325E}"/>
                </a:ext>
              </a:extLst>
            </p:cNvPr>
            <p:cNvPicPr>
              <a:picLocks noChangeAspect="1"/>
            </p:cNvPicPr>
            <p:nvPr userDrawn="1"/>
          </p:nvPicPr>
          <p:blipFill>
            <a:blip r:embed="rId5"/>
            <a:stretch>
              <a:fillRect/>
            </a:stretch>
          </p:blipFill>
          <p:spPr>
            <a:xfrm>
              <a:off x="1934537" y="3934156"/>
              <a:ext cx="1267125" cy="1184333"/>
            </a:xfrm>
            <a:prstGeom prst="rect">
              <a:avLst/>
            </a:prstGeom>
          </p:spPr>
        </p:pic>
        <p:pic>
          <p:nvPicPr>
            <p:cNvPr id="30" name="Picture 29">
              <a:extLst>
                <a:ext uri="{FF2B5EF4-FFF2-40B4-BE49-F238E27FC236}">
                  <a16:creationId xmlns:a16="http://schemas.microsoft.com/office/drawing/2014/main" id="{B4F885DB-CA30-488A-B6C6-DCFFBEAAB63B}"/>
                </a:ext>
              </a:extLst>
            </p:cNvPr>
            <p:cNvPicPr>
              <a:picLocks noChangeAspect="1"/>
            </p:cNvPicPr>
            <p:nvPr userDrawn="1"/>
          </p:nvPicPr>
          <p:blipFill>
            <a:blip r:embed="rId6"/>
            <a:stretch>
              <a:fillRect/>
            </a:stretch>
          </p:blipFill>
          <p:spPr>
            <a:xfrm>
              <a:off x="1931630" y="5066330"/>
              <a:ext cx="1272938" cy="1178667"/>
            </a:xfrm>
            <a:prstGeom prst="rect">
              <a:avLst/>
            </a:prstGeom>
          </p:spPr>
        </p:pic>
      </p:grpSp>
      <p:grpSp>
        <p:nvGrpSpPr>
          <p:cNvPr id="31" name="Group 30">
            <a:extLst>
              <a:ext uri="{FF2B5EF4-FFF2-40B4-BE49-F238E27FC236}">
                <a16:creationId xmlns:a16="http://schemas.microsoft.com/office/drawing/2014/main" id="{BEB81611-31FB-4A5F-A209-DFD1D2C5FD8C}"/>
              </a:ext>
            </a:extLst>
          </p:cNvPr>
          <p:cNvGrpSpPr/>
          <p:nvPr userDrawn="1"/>
        </p:nvGrpSpPr>
        <p:grpSpPr>
          <a:xfrm>
            <a:off x="407989" y="1794994"/>
            <a:ext cx="237744" cy="3639312"/>
            <a:chOff x="407989" y="1794994"/>
            <a:chExt cx="237744" cy="3639312"/>
          </a:xfrm>
        </p:grpSpPr>
        <p:sp>
          <p:nvSpPr>
            <p:cNvPr id="32" name="Rectangle: Top Corners Rounded 31">
              <a:extLst>
                <a:ext uri="{FF2B5EF4-FFF2-40B4-BE49-F238E27FC236}">
                  <a16:creationId xmlns:a16="http://schemas.microsoft.com/office/drawing/2014/main" id="{E7B1E947-C93C-4B1E-9DD2-4FB46C21DEAB}"/>
                </a:ext>
              </a:extLst>
            </p:cNvPr>
            <p:cNvSpPr/>
            <p:nvPr userDrawn="1"/>
          </p:nvSpPr>
          <p:spPr>
            <a:xfrm rot="16200000">
              <a:off x="-1292795" y="3495778"/>
              <a:ext cx="3639312" cy="237744"/>
            </a:xfrm>
            <a:prstGeom prst="round2SameRect">
              <a:avLst>
                <a:gd name="adj1" fmla="val 21475"/>
                <a:gd name="adj2" fmla="val 0"/>
              </a:avLst>
            </a:prstGeom>
            <a:solidFill>
              <a:schemeClr val="accent1"/>
            </a:solidFill>
            <a:ln w="63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dirty="0">
                <a:solidFill>
                  <a:schemeClr val="bg1"/>
                </a:solidFill>
              </a:endParaRPr>
            </a:p>
          </p:txBody>
        </p:sp>
        <p:sp>
          <p:nvSpPr>
            <p:cNvPr id="33" name="Rectangle 32">
              <a:extLst>
                <a:ext uri="{FF2B5EF4-FFF2-40B4-BE49-F238E27FC236}">
                  <a16:creationId xmlns:a16="http://schemas.microsoft.com/office/drawing/2014/main" id="{F06A7ECB-95AC-41B6-BE00-A21F5EBDB9B7}"/>
                </a:ext>
              </a:extLst>
            </p:cNvPr>
            <p:cNvSpPr/>
            <p:nvPr userDrawn="1"/>
          </p:nvSpPr>
          <p:spPr>
            <a:xfrm rot="16200000">
              <a:off x="-317119" y="3537706"/>
              <a:ext cx="1687962" cy="153888"/>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n-lt"/>
                  <a:ea typeface="+mn-ea"/>
                  <a:cs typeface="+mn-cs"/>
                </a:rPr>
                <a:t>5 Focus Areas for Success</a:t>
              </a:r>
            </a:p>
          </p:txBody>
        </p:sp>
      </p:grpSp>
      <p:sp>
        <p:nvSpPr>
          <p:cNvPr id="34" name="Rectangle: Rounded Corners 33">
            <a:extLst>
              <a:ext uri="{FF2B5EF4-FFF2-40B4-BE49-F238E27FC236}">
                <a16:creationId xmlns:a16="http://schemas.microsoft.com/office/drawing/2014/main" id="{1D8D8DD6-3E8E-4B38-87C8-964E524138F0}"/>
              </a:ext>
            </a:extLst>
          </p:cNvPr>
          <p:cNvSpPr/>
          <p:nvPr userDrawn="1"/>
        </p:nvSpPr>
        <p:spPr>
          <a:xfrm>
            <a:off x="10612257" y="1794993"/>
            <a:ext cx="1176972" cy="3631249"/>
          </a:xfrm>
          <a:prstGeom prst="roundRect">
            <a:avLst>
              <a:gd name="adj" fmla="val 5011"/>
            </a:avLst>
          </a:prstGeom>
          <a:noFill/>
          <a:ln w="6350">
            <a:solidFill>
              <a:srgbClr val="4701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dirty="0">
              <a:solidFill>
                <a:schemeClr val="bg1"/>
              </a:solidFill>
            </a:endParaRPr>
          </a:p>
        </p:txBody>
      </p:sp>
      <p:grpSp>
        <p:nvGrpSpPr>
          <p:cNvPr id="35" name="Group 34">
            <a:extLst>
              <a:ext uri="{FF2B5EF4-FFF2-40B4-BE49-F238E27FC236}">
                <a16:creationId xmlns:a16="http://schemas.microsoft.com/office/drawing/2014/main" id="{6F61A407-FCFD-4646-9524-A2CC1391EE69}"/>
              </a:ext>
            </a:extLst>
          </p:cNvPr>
          <p:cNvGrpSpPr/>
          <p:nvPr userDrawn="1"/>
        </p:nvGrpSpPr>
        <p:grpSpPr>
          <a:xfrm flipH="1">
            <a:off x="11551485" y="1794994"/>
            <a:ext cx="237744" cy="3639312"/>
            <a:chOff x="407989" y="1794994"/>
            <a:chExt cx="237744" cy="3639312"/>
          </a:xfrm>
        </p:grpSpPr>
        <p:sp>
          <p:nvSpPr>
            <p:cNvPr id="36" name="Rectangle: Top Corners Rounded 35">
              <a:extLst>
                <a:ext uri="{FF2B5EF4-FFF2-40B4-BE49-F238E27FC236}">
                  <a16:creationId xmlns:a16="http://schemas.microsoft.com/office/drawing/2014/main" id="{FA69393A-91A6-4C71-AFA9-DF88216ABC9D}"/>
                </a:ext>
              </a:extLst>
            </p:cNvPr>
            <p:cNvSpPr/>
            <p:nvPr userDrawn="1"/>
          </p:nvSpPr>
          <p:spPr>
            <a:xfrm rot="16200000">
              <a:off x="-1292795" y="3495778"/>
              <a:ext cx="3639312" cy="237744"/>
            </a:xfrm>
            <a:prstGeom prst="round2SameRect">
              <a:avLst>
                <a:gd name="adj1" fmla="val 21475"/>
                <a:gd name="adj2" fmla="val 0"/>
              </a:avLst>
            </a:prstGeom>
            <a:solidFill>
              <a:srgbClr val="4701A7"/>
            </a:solidFill>
            <a:ln w="63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dirty="0">
                <a:solidFill>
                  <a:schemeClr val="bg1"/>
                </a:solidFill>
              </a:endParaRPr>
            </a:p>
          </p:txBody>
        </p:sp>
        <p:sp>
          <p:nvSpPr>
            <p:cNvPr id="37" name="Rectangle 36">
              <a:extLst>
                <a:ext uri="{FF2B5EF4-FFF2-40B4-BE49-F238E27FC236}">
                  <a16:creationId xmlns:a16="http://schemas.microsoft.com/office/drawing/2014/main" id="{5A9698EA-178A-4614-A3E0-524E8B69ADED}"/>
                </a:ext>
              </a:extLst>
            </p:cNvPr>
            <p:cNvSpPr/>
            <p:nvPr userDrawn="1"/>
          </p:nvSpPr>
          <p:spPr>
            <a:xfrm rot="5400000" flipH="1">
              <a:off x="-164834" y="3537706"/>
              <a:ext cx="1383392" cy="153888"/>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n-lt"/>
                  <a:ea typeface="+mn-ea"/>
                  <a:cs typeface="+mn-cs"/>
                </a:rPr>
                <a:t>Key Insights to Apply</a:t>
              </a:r>
            </a:p>
          </p:txBody>
        </p:sp>
      </p:grpSp>
      <p:pic>
        <p:nvPicPr>
          <p:cNvPr id="38" name="Picture 37">
            <a:extLst>
              <a:ext uri="{FF2B5EF4-FFF2-40B4-BE49-F238E27FC236}">
                <a16:creationId xmlns:a16="http://schemas.microsoft.com/office/drawing/2014/main" id="{50E59CCD-9E83-47F1-AD79-D527FAC7B1B9}"/>
              </a:ext>
            </a:extLst>
          </p:cNvPr>
          <p:cNvPicPr>
            <a:picLocks noChangeAspect="1"/>
          </p:cNvPicPr>
          <p:nvPr userDrawn="1"/>
        </p:nvPicPr>
        <p:blipFill>
          <a:blip r:embed="rId7"/>
          <a:stretch>
            <a:fillRect/>
          </a:stretch>
        </p:blipFill>
        <p:spPr>
          <a:xfrm>
            <a:off x="723512" y="2553100"/>
            <a:ext cx="786040" cy="793525"/>
          </a:xfrm>
          <a:prstGeom prst="rect">
            <a:avLst/>
          </a:prstGeom>
        </p:spPr>
      </p:pic>
      <p:pic>
        <p:nvPicPr>
          <p:cNvPr id="39" name="Picture 38">
            <a:extLst>
              <a:ext uri="{FF2B5EF4-FFF2-40B4-BE49-F238E27FC236}">
                <a16:creationId xmlns:a16="http://schemas.microsoft.com/office/drawing/2014/main" id="{6FCBDC3B-F0E6-41DA-B367-531B53CDC4DD}"/>
              </a:ext>
            </a:extLst>
          </p:cNvPr>
          <p:cNvPicPr>
            <a:picLocks noChangeAspect="1"/>
          </p:cNvPicPr>
          <p:nvPr userDrawn="1"/>
        </p:nvPicPr>
        <p:blipFill>
          <a:blip r:embed="rId8"/>
          <a:stretch>
            <a:fillRect/>
          </a:stretch>
        </p:blipFill>
        <p:spPr>
          <a:xfrm>
            <a:off x="724073" y="4004396"/>
            <a:ext cx="784918" cy="793525"/>
          </a:xfrm>
          <a:prstGeom prst="rect">
            <a:avLst/>
          </a:prstGeom>
        </p:spPr>
      </p:pic>
      <p:pic>
        <p:nvPicPr>
          <p:cNvPr id="40" name="Picture 39">
            <a:extLst>
              <a:ext uri="{FF2B5EF4-FFF2-40B4-BE49-F238E27FC236}">
                <a16:creationId xmlns:a16="http://schemas.microsoft.com/office/drawing/2014/main" id="{BEC6F77B-2B19-400F-8E4F-F0F13FC77B4B}"/>
              </a:ext>
            </a:extLst>
          </p:cNvPr>
          <p:cNvPicPr>
            <a:picLocks noChangeAspect="1"/>
          </p:cNvPicPr>
          <p:nvPr userDrawn="1"/>
        </p:nvPicPr>
        <p:blipFill>
          <a:blip r:embed="rId9"/>
          <a:stretch>
            <a:fillRect/>
          </a:stretch>
        </p:blipFill>
        <p:spPr>
          <a:xfrm>
            <a:off x="710813" y="3265343"/>
            <a:ext cx="811438" cy="820336"/>
          </a:xfrm>
          <a:prstGeom prst="rect">
            <a:avLst/>
          </a:prstGeom>
        </p:spPr>
      </p:pic>
      <p:pic>
        <p:nvPicPr>
          <p:cNvPr id="41" name="Picture 40">
            <a:extLst>
              <a:ext uri="{FF2B5EF4-FFF2-40B4-BE49-F238E27FC236}">
                <a16:creationId xmlns:a16="http://schemas.microsoft.com/office/drawing/2014/main" id="{CC37C3BF-E81D-4997-849D-4073B24CE5CF}"/>
              </a:ext>
            </a:extLst>
          </p:cNvPr>
          <p:cNvPicPr>
            <a:picLocks noChangeAspect="1"/>
          </p:cNvPicPr>
          <p:nvPr userDrawn="1"/>
        </p:nvPicPr>
        <p:blipFill>
          <a:blip r:embed="rId10"/>
          <a:stretch>
            <a:fillRect/>
          </a:stretch>
        </p:blipFill>
        <p:spPr>
          <a:xfrm>
            <a:off x="724154" y="1838732"/>
            <a:ext cx="787022" cy="795651"/>
          </a:xfrm>
          <a:prstGeom prst="rect">
            <a:avLst/>
          </a:prstGeom>
        </p:spPr>
      </p:pic>
      <p:pic>
        <p:nvPicPr>
          <p:cNvPr id="42" name="Picture 41">
            <a:extLst>
              <a:ext uri="{FF2B5EF4-FFF2-40B4-BE49-F238E27FC236}">
                <a16:creationId xmlns:a16="http://schemas.microsoft.com/office/drawing/2014/main" id="{032B8346-7A48-41E5-A716-B7C6DE5C6FDD}"/>
              </a:ext>
            </a:extLst>
          </p:cNvPr>
          <p:cNvPicPr>
            <a:picLocks noChangeAspect="1"/>
          </p:cNvPicPr>
          <p:nvPr userDrawn="1"/>
        </p:nvPicPr>
        <p:blipFill>
          <a:blip r:embed="rId11"/>
          <a:stretch>
            <a:fillRect/>
          </a:stretch>
        </p:blipFill>
        <p:spPr>
          <a:xfrm>
            <a:off x="723512" y="4714635"/>
            <a:ext cx="786900" cy="795528"/>
          </a:xfrm>
          <a:prstGeom prst="rect">
            <a:avLst/>
          </a:prstGeom>
        </p:spPr>
      </p:pic>
      <p:cxnSp>
        <p:nvCxnSpPr>
          <p:cNvPr id="43" name="Conector reto 49">
            <a:extLst>
              <a:ext uri="{FF2B5EF4-FFF2-40B4-BE49-F238E27FC236}">
                <a16:creationId xmlns:a16="http://schemas.microsoft.com/office/drawing/2014/main" id="{085AE8A1-FC44-49E0-A88C-7CD7953E80C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4" name="Rectangle 27">
            <a:extLst>
              <a:ext uri="{FF2B5EF4-FFF2-40B4-BE49-F238E27FC236}">
                <a16:creationId xmlns:a16="http://schemas.microsoft.com/office/drawing/2014/main" id="{07D31718-2282-429B-B6A5-FCF8CA0AD43B}"/>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5" name="Retângulo 43">
            <a:extLst>
              <a:ext uri="{FF2B5EF4-FFF2-40B4-BE49-F238E27FC236}">
                <a16:creationId xmlns:a16="http://schemas.microsoft.com/office/drawing/2014/main" id="{EDFF3BF4-F6C1-4388-BF9F-60BD8B7A97EA}"/>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329536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4_Cover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E52A7E-235C-421A-A78A-D1F9434117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11" name="Title 1"/>
          <p:cNvSpPr>
            <a:spLocks noGrp="1"/>
          </p:cNvSpPr>
          <p:nvPr>
            <p:ph type="ctrTitle" hasCustomPrompt="1"/>
          </p:nvPr>
        </p:nvSpPr>
        <p:spPr>
          <a:xfrm>
            <a:off x="407988" y="2672397"/>
            <a:ext cx="500221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535996"/>
            <a:ext cx="500221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Click to insert presenter, </a:t>
            </a:r>
            <a:br>
              <a:rPr lang="en-US" dirty="0"/>
            </a:br>
            <a:r>
              <a:rPr lang="en-US" dirty="0"/>
              <a:t>location, and date</a:t>
            </a:r>
          </a:p>
        </p:txBody>
      </p:sp>
      <p:pic>
        <p:nvPicPr>
          <p:cNvPr id="9"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7831" y="404813"/>
            <a:ext cx="2286000" cy="510013"/>
          </a:xfrm>
          <a:prstGeom prst="rect">
            <a:avLst/>
          </a:prstGeom>
        </p:spPr>
      </p:pic>
      <p:sp>
        <p:nvSpPr>
          <p:cNvPr id="6" name="Freeform: Shape 5">
            <a:extLst>
              <a:ext uri="{FF2B5EF4-FFF2-40B4-BE49-F238E27FC236}">
                <a16:creationId xmlns:a16="http://schemas.microsoft.com/office/drawing/2014/main" id="{2E21076B-D4E1-45EF-B9F0-4EE189C6F4D3}"/>
              </a:ext>
            </a:extLst>
          </p:cNvPr>
          <p:cNvSpPr/>
          <p:nvPr userDrawn="1"/>
        </p:nvSpPr>
        <p:spPr>
          <a:xfrm rot="790471">
            <a:off x="7995535" y="4430403"/>
            <a:ext cx="2610295" cy="2405461"/>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610295"/>
              <a:gd name="connsiteY0" fmla="*/ 1731713 h 2237681"/>
              <a:gd name="connsiteX1" fmla="*/ 1490967 w 2610295"/>
              <a:gd name="connsiteY1" fmla="*/ 100392 h 2237681"/>
              <a:gd name="connsiteX2" fmla="*/ 1856817 w 2610295"/>
              <a:gd name="connsiteY2" fmla="*/ 0 h 2237681"/>
              <a:gd name="connsiteX3" fmla="*/ 2610295 w 2610295"/>
              <a:gd name="connsiteY3" fmla="*/ 610899 h 2237681"/>
              <a:gd name="connsiteX4" fmla="*/ 256032 w 2610295"/>
              <a:gd name="connsiteY4" fmla="*/ 2237681 h 2237681"/>
              <a:gd name="connsiteX5" fmla="*/ 0 w 2610295"/>
              <a:gd name="connsiteY5" fmla="*/ 1731713 h 2237681"/>
              <a:gd name="connsiteX0" fmla="*/ 0 w 2610295"/>
              <a:gd name="connsiteY0" fmla="*/ 1838658 h 2344626"/>
              <a:gd name="connsiteX1" fmla="*/ 1490967 w 2610295"/>
              <a:gd name="connsiteY1" fmla="*/ 207337 h 2344626"/>
              <a:gd name="connsiteX2" fmla="*/ 2447427 w 2610295"/>
              <a:gd name="connsiteY2" fmla="*/ 0 h 2344626"/>
              <a:gd name="connsiteX3" fmla="*/ 2610295 w 2610295"/>
              <a:gd name="connsiteY3" fmla="*/ 717844 h 2344626"/>
              <a:gd name="connsiteX4" fmla="*/ 256032 w 2610295"/>
              <a:gd name="connsiteY4" fmla="*/ 2344626 h 2344626"/>
              <a:gd name="connsiteX5" fmla="*/ 0 w 2610295"/>
              <a:gd name="connsiteY5" fmla="*/ 1838658 h 2344626"/>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0295" h="2405461">
                <a:moveTo>
                  <a:pt x="0" y="1899493"/>
                </a:moveTo>
                <a:cubicBezTo>
                  <a:pt x="650240" y="1421973"/>
                  <a:pt x="1501806" y="580538"/>
                  <a:pt x="2012533" y="0"/>
                </a:cubicBezTo>
                <a:lnTo>
                  <a:pt x="2447427" y="60835"/>
                </a:lnTo>
                <a:lnTo>
                  <a:pt x="2610295" y="778679"/>
                </a:lnTo>
                <a:lnTo>
                  <a:pt x="256032" y="2405461"/>
                </a:lnTo>
                <a:lnTo>
                  <a:pt x="0" y="1899493"/>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385FF85-60AC-4205-BD2F-AA3CA88CFCCB}"/>
              </a:ext>
            </a:extLst>
          </p:cNvPr>
          <p:cNvSpPr/>
          <p:nvPr userDrawn="1"/>
        </p:nvSpPr>
        <p:spPr>
          <a:xfrm rot="19858757">
            <a:off x="7067498" y="5038514"/>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2317993052"/>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7" name="Title Placeholder 1">
            <a:extLst>
              <a:ext uri="{FF2B5EF4-FFF2-40B4-BE49-F238E27FC236}">
                <a16:creationId xmlns:a16="http://schemas.microsoft.com/office/drawing/2014/main" id="{395216AE-3D1A-4D5D-BFA8-5E36FCDE2577}"/>
              </a:ext>
            </a:extLst>
          </p:cNvPr>
          <p:cNvSpPr>
            <a:spLocks noGrp="1"/>
          </p:cNvSpPr>
          <p:nvPr>
            <p:ph type="title" hasCustomPrompt="1"/>
          </p:nvPr>
        </p:nvSpPr>
        <p:spPr>
          <a:xfrm>
            <a:off x="417416" y="420785"/>
            <a:ext cx="6686550" cy="722376"/>
          </a:xfrm>
          <a:prstGeom prst="rect">
            <a:avLst/>
          </a:prstGeom>
        </p:spPr>
        <p:txBody>
          <a:bodyPr vert="horz" lIns="0" tIns="0" rIns="0" bIns="0" rtlCol="0" anchor="ctr" anchorCtr="0">
            <a:noAutofit/>
          </a:bodyPr>
          <a:lstStyle>
            <a:lvl1pPr marL="0" marR="0" indent="0" algn="l" defTabSz="914400" rtl="0" eaLnBrk="1" fontAlgn="auto" latinLnBrk="0" hangingPunct="1">
              <a:lnSpc>
                <a:spcPts val="3000"/>
              </a:lnSpc>
              <a:spcBef>
                <a:spcPct val="0"/>
              </a:spcBef>
              <a:spcAft>
                <a:spcPts val="0"/>
              </a:spcAft>
              <a:buClrTx/>
              <a:buSzTx/>
              <a:buFontTx/>
              <a:buNone/>
              <a:tabLst/>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lvl="0">
              <a:lnSpc>
                <a:spcPts val="3000"/>
              </a:lnSpc>
            </a:pPr>
            <a:r>
              <a:rPr lang="en-US" dirty="0"/>
              <a:t>Click to add title</a:t>
            </a:r>
            <a:endParaRPr lang="pt-PT" dirty="0"/>
          </a:p>
        </p:txBody>
      </p:sp>
      <p:cxnSp>
        <p:nvCxnSpPr>
          <p:cNvPr id="8" name="Straight Connector 7">
            <a:extLst>
              <a:ext uri="{FF2B5EF4-FFF2-40B4-BE49-F238E27FC236}">
                <a16:creationId xmlns:a16="http://schemas.microsoft.com/office/drawing/2014/main" id="{45888B93-F5AD-483C-AEAA-4B0EA39C32E5}"/>
              </a:ext>
            </a:extLst>
          </p:cNvPr>
          <p:cNvCxnSpPr/>
          <p:nvPr userDrawn="1"/>
        </p:nvCxnSpPr>
        <p:spPr>
          <a:xfrm>
            <a:off x="7276977" y="303945"/>
            <a:ext cx="0" cy="1097280"/>
          </a:xfrm>
          <a:prstGeom prst="line">
            <a:avLst/>
          </a:prstGeom>
          <a:ln>
            <a:solidFill>
              <a:srgbClr val="86086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E0A7130A-64DE-4BA4-A7D0-2B847A782905}"/>
              </a:ext>
            </a:extLst>
          </p:cNvPr>
          <p:cNvSpPr>
            <a:spLocks noGrp="1"/>
          </p:cNvSpPr>
          <p:nvPr>
            <p:ph type="body" sz="quarter" idx="13" hasCustomPrompt="1"/>
          </p:nvPr>
        </p:nvSpPr>
        <p:spPr>
          <a:xfrm>
            <a:off x="7449988" y="692205"/>
            <a:ext cx="3303639" cy="179536"/>
          </a:xfrm>
        </p:spPr>
        <p:txBody>
          <a:bodyPr wrap="square" anchor="ctr" anchorCtr="0">
            <a:spAutoFit/>
          </a:bodyPr>
          <a:lstStyle>
            <a:lvl1pPr marL="0" indent="0" algn="l" defTabSz="914400" rtl="0" eaLnBrk="1" latinLnBrk="0" hangingPunct="1">
              <a:lnSpc>
                <a:spcPts val="1400"/>
              </a:lnSpc>
              <a:spcBef>
                <a:spcPts val="1000"/>
              </a:spcBef>
              <a:spcAft>
                <a:spcPts val="300"/>
              </a:spcAft>
              <a:buFont typeface="Arial" panose="020B0604020202020204" pitchFamily="34" charset="0"/>
              <a:buNone/>
              <a:defRPr lang="en-US" sz="1200" kern="1200" dirty="0" smtClean="0">
                <a:solidFill>
                  <a:srgbClr val="860864"/>
                </a:solidFill>
                <a:latin typeface="Ubuntu Light" panose="020B0304030602030204" pitchFamily="34" charset="0"/>
                <a:ea typeface="+mn-ea"/>
                <a:cs typeface="+mn-cs"/>
              </a:defRPr>
            </a:lvl1pPr>
          </a:lstStyle>
          <a:p>
            <a:pPr marL="0" lvl="0" indent="0" algn="l" defTabSz="914400" rtl="0" eaLnBrk="1" latinLnBrk="0" hangingPunct="1">
              <a:lnSpc>
                <a:spcPts val="1400"/>
              </a:lnSpc>
              <a:spcBef>
                <a:spcPts val="1000"/>
              </a:spcBef>
              <a:spcAft>
                <a:spcPts val="300"/>
              </a:spcAft>
              <a:buFont typeface="Arial" panose="020B0604020202020204" pitchFamily="34" charset="0"/>
              <a:buNone/>
            </a:pPr>
            <a:r>
              <a:rPr lang="en-US" dirty="0"/>
              <a:t>Short summary here</a:t>
            </a:r>
          </a:p>
        </p:txBody>
      </p:sp>
      <p:cxnSp>
        <p:nvCxnSpPr>
          <p:cNvPr id="43" name="Conector reto 49">
            <a:extLst>
              <a:ext uri="{FF2B5EF4-FFF2-40B4-BE49-F238E27FC236}">
                <a16:creationId xmlns:a16="http://schemas.microsoft.com/office/drawing/2014/main" id="{085AE8A1-FC44-49E0-A88C-7CD7953E80C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4" name="Rectangle 27">
            <a:extLst>
              <a:ext uri="{FF2B5EF4-FFF2-40B4-BE49-F238E27FC236}">
                <a16:creationId xmlns:a16="http://schemas.microsoft.com/office/drawing/2014/main" id="{07D31718-2282-429B-B6A5-FCF8CA0AD43B}"/>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5" name="Retângulo 43">
            <a:extLst>
              <a:ext uri="{FF2B5EF4-FFF2-40B4-BE49-F238E27FC236}">
                <a16:creationId xmlns:a16="http://schemas.microsoft.com/office/drawing/2014/main" id="{EDFF3BF4-F6C1-4388-BF9F-60BD8B7A97EA}"/>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6" name="Rectangle: Diagonal Corners Snipped 45">
            <a:extLst>
              <a:ext uri="{FF2B5EF4-FFF2-40B4-BE49-F238E27FC236}">
                <a16:creationId xmlns:a16="http://schemas.microsoft.com/office/drawing/2014/main" id="{EC9B97F7-1A50-4D08-BD71-B42EFA1B6DED}"/>
              </a:ext>
            </a:extLst>
          </p:cNvPr>
          <p:cNvSpPr/>
          <p:nvPr userDrawn="1"/>
        </p:nvSpPr>
        <p:spPr>
          <a:xfrm>
            <a:off x="6865620" y="5188622"/>
            <a:ext cx="5050155" cy="1090260"/>
          </a:xfrm>
          <a:prstGeom prst="snip2DiagRect">
            <a:avLst>
              <a:gd name="adj1" fmla="val 0"/>
              <a:gd name="adj2" fmla="val 9004"/>
            </a:avLst>
          </a:prstGeom>
          <a:solidFill>
            <a:schemeClr val="bg1"/>
          </a:solidFill>
          <a:ln w="6350">
            <a:solidFill>
              <a:srgbClr val="00C3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Top Corners Rounded 46">
            <a:extLst>
              <a:ext uri="{FF2B5EF4-FFF2-40B4-BE49-F238E27FC236}">
                <a16:creationId xmlns:a16="http://schemas.microsoft.com/office/drawing/2014/main" id="{816A2D69-4B3F-4E9F-87A1-EF459F55B068}"/>
              </a:ext>
            </a:extLst>
          </p:cNvPr>
          <p:cNvSpPr/>
          <p:nvPr userDrawn="1"/>
        </p:nvSpPr>
        <p:spPr>
          <a:xfrm rot="5400000">
            <a:off x="7968865" y="3716969"/>
            <a:ext cx="360240" cy="2950027"/>
          </a:xfrm>
          <a:prstGeom prst="round2SameRect">
            <a:avLst>
              <a:gd name="adj1" fmla="val 50000"/>
              <a:gd name="adj2" fmla="val 0"/>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 Placeholder 4">
            <a:extLst>
              <a:ext uri="{FF2B5EF4-FFF2-40B4-BE49-F238E27FC236}">
                <a16:creationId xmlns:a16="http://schemas.microsoft.com/office/drawing/2014/main" id="{420B9987-65E9-456D-B103-89B9B4EF5BA4}"/>
              </a:ext>
            </a:extLst>
          </p:cNvPr>
          <p:cNvSpPr>
            <a:spLocks noGrp="1"/>
          </p:cNvSpPr>
          <p:nvPr>
            <p:ph type="body" sz="quarter" idx="19" hasCustomPrompt="1"/>
          </p:nvPr>
        </p:nvSpPr>
        <p:spPr>
          <a:xfrm>
            <a:off x="6912871" y="5095033"/>
            <a:ext cx="2127314" cy="193899"/>
          </a:xfrm>
        </p:spPr>
        <p:txBody>
          <a:bodyPr wrap="none" anchor="ctr" anchorCtr="1">
            <a:spAutoFit/>
          </a:bodyPr>
          <a:lstStyle>
            <a:lvl1pPr>
              <a:defRPr sz="1400">
                <a:solidFill>
                  <a:schemeClr val="bg1"/>
                </a:solidFill>
                <a:latin typeface="+mj-lt"/>
              </a:defRPr>
            </a:lvl1pPr>
          </a:lstStyle>
          <a:p>
            <a:pPr lvl="0"/>
            <a:r>
              <a:rPr lang="en-US" dirty="0"/>
              <a:t>Illustrative Deliverables</a:t>
            </a:r>
          </a:p>
        </p:txBody>
      </p:sp>
      <p:sp>
        <p:nvSpPr>
          <p:cNvPr id="49" name="Text Placeholder 4">
            <a:extLst>
              <a:ext uri="{FF2B5EF4-FFF2-40B4-BE49-F238E27FC236}">
                <a16:creationId xmlns:a16="http://schemas.microsoft.com/office/drawing/2014/main" id="{77A6674E-B904-48BB-9E03-E69ED937DF60}"/>
              </a:ext>
            </a:extLst>
          </p:cNvPr>
          <p:cNvSpPr>
            <a:spLocks noGrp="1"/>
          </p:cNvSpPr>
          <p:nvPr>
            <p:ph type="body" sz="quarter" idx="20" hasCustomPrompt="1"/>
          </p:nvPr>
        </p:nvSpPr>
        <p:spPr>
          <a:xfrm>
            <a:off x="6934200" y="5435667"/>
            <a:ext cx="4849813" cy="656590"/>
          </a:xfrm>
        </p:spPr>
        <p:txBody>
          <a:bodyPr wrap="square" anchor="t" anchorCtr="0">
            <a:spAutoFit/>
          </a:bodyPr>
          <a:lstStyle>
            <a:lvl1pPr marL="171450" marR="0" indent="-171450" algn="l" defTabSz="914400" rtl="0" eaLnBrk="1" fontAlgn="auto" latinLnBrk="0" hangingPunct="1">
              <a:lnSpc>
                <a:spcPct val="100000"/>
              </a:lnSpc>
              <a:spcBef>
                <a:spcPts val="0"/>
              </a:spcBef>
              <a:spcAft>
                <a:spcPts val="400"/>
              </a:spcAft>
              <a:buClr>
                <a:srgbClr val="00C37B"/>
              </a:buClr>
              <a:buSzTx/>
              <a:buFont typeface="Wingdings" panose="05000000000000000000" pitchFamily="2" charset="2"/>
              <a:buChar char="§"/>
              <a:tabLst/>
              <a:defRPr sz="1200" b="0">
                <a:solidFill>
                  <a:schemeClr val="accent3"/>
                </a:solidFill>
                <a:latin typeface="+mj-lt"/>
              </a:defRPr>
            </a:lvl1pPr>
          </a:lstStyle>
          <a:p>
            <a:pPr lvl="0"/>
            <a:r>
              <a:rPr lang="en-US" dirty="0"/>
              <a:t>Placeholder for text</a:t>
            </a:r>
          </a:p>
          <a:p>
            <a:pPr lvl="0"/>
            <a:r>
              <a:rPr lang="en-US" dirty="0"/>
              <a:t>Placeholder for text</a:t>
            </a:r>
          </a:p>
          <a:p>
            <a:pPr lvl="0"/>
            <a:r>
              <a:rPr lang="en-US" dirty="0"/>
              <a:t>Placeholder for text</a:t>
            </a:r>
          </a:p>
        </p:txBody>
      </p:sp>
      <p:sp>
        <p:nvSpPr>
          <p:cNvPr id="50" name="Rectangle: Diagonal Corners Snipped 49">
            <a:extLst>
              <a:ext uri="{FF2B5EF4-FFF2-40B4-BE49-F238E27FC236}">
                <a16:creationId xmlns:a16="http://schemas.microsoft.com/office/drawing/2014/main" id="{E082718A-9E3A-4E60-A894-EA3CC8429DD2}"/>
              </a:ext>
            </a:extLst>
          </p:cNvPr>
          <p:cNvSpPr/>
          <p:nvPr userDrawn="1"/>
        </p:nvSpPr>
        <p:spPr>
          <a:xfrm>
            <a:off x="6865620" y="3679306"/>
            <a:ext cx="5050155" cy="1090260"/>
          </a:xfrm>
          <a:prstGeom prst="snip2DiagRect">
            <a:avLst>
              <a:gd name="adj1" fmla="val 0"/>
              <a:gd name="adj2" fmla="val 9004"/>
            </a:avLst>
          </a:prstGeom>
          <a:solidFill>
            <a:schemeClr val="bg1"/>
          </a:solidFill>
          <a:ln w="6350">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Top Corners Rounded 50">
            <a:extLst>
              <a:ext uri="{FF2B5EF4-FFF2-40B4-BE49-F238E27FC236}">
                <a16:creationId xmlns:a16="http://schemas.microsoft.com/office/drawing/2014/main" id="{3A127BE3-8308-4F9A-B642-170118696DCA}"/>
              </a:ext>
            </a:extLst>
          </p:cNvPr>
          <p:cNvSpPr/>
          <p:nvPr userDrawn="1"/>
        </p:nvSpPr>
        <p:spPr>
          <a:xfrm rot="5400000">
            <a:off x="7968865" y="2207653"/>
            <a:ext cx="360240" cy="2950027"/>
          </a:xfrm>
          <a:prstGeom prst="round2SameRect">
            <a:avLst>
              <a:gd name="adj1" fmla="val 50000"/>
              <a:gd name="adj2" fmla="val 0"/>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 Placeholder 4">
            <a:extLst>
              <a:ext uri="{FF2B5EF4-FFF2-40B4-BE49-F238E27FC236}">
                <a16:creationId xmlns:a16="http://schemas.microsoft.com/office/drawing/2014/main" id="{CA4C1955-4155-4CE0-93F6-3A153E9D996A}"/>
              </a:ext>
            </a:extLst>
          </p:cNvPr>
          <p:cNvSpPr>
            <a:spLocks noGrp="1"/>
          </p:cNvSpPr>
          <p:nvPr>
            <p:ph type="body" sz="quarter" idx="17" hasCustomPrompt="1"/>
          </p:nvPr>
        </p:nvSpPr>
        <p:spPr>
          <a:xfrm>
            <a:off x="6912871" y="3585717"/>
            <a:ext cx="1773371" cy="193899"/>
          </a:xfrm>
        </p:spPr>
        <p:txBody>
          <a:bodyPr wrap="none" anchor="ctr" anchorCtr="1">
            <a:spAutoFit/>
          </a:bodyPr>
          <a:lstStyle>
            <a:lvl1pPr>
              <a:defRPr sz="1400">
                <a:solidFill>
                  <a:schemeClr val="bg1"/>
                </a:solidFill>
                <a:latin typeface="+mj-lt"/>
              </a:defRPr>
            </a:lvl1pPr>
          </a:lstStyle>
          <a:p>
            <a:pPr lvl="0"/>
            <a:r>
              <a:rPr lang="en-US" dirty="0"/>
              <a:t>Partner Ecosystems</a:t>
            </a:r>
          </a:p>
        </p:txBody>
      </p:sp>
      <p:sp>
        <p:nvSpPr>
          <p:cNvPr id="53" name="Text Placeholder 4">
            <a:extLst>
              <a:ext uri="{FF2B5EF4-FFF2-40B4-BE49-F238E27FC236}">
                <a16:creationId xmlns:a16="http://schemas.microsoft.com/office/drawing/2014/main" id="{20B6D171-7917-4BC1-B6FC-941569AFDA30}"/>
              </a:ext>
            </a:extLst>
          </p:cNvPr>
          <p:cNvSpPr>
            <a:spLocks noGrp="1"/>
          </p:cNvSpPr>
          <p:nvPr>
            <p:ph type="body" sz="quarter" idx="18" hasCustomPrompt="1"/>
          </p:nvPr>
        </p:nvSpPr>
        <p:spPr>
          <a:xfrm>
            <a:off x="6934200" y="3926351"/>
            <a:ext cx="4849813" cy="656590"/>
          </a:xfrm>
        </p:spPr>
        <p:txBody>
          <a:bodyPr wrap="square" anchor="t" anchorCtr="0">
            <a:spAutoFit/>
          </a:bodyPr>
          <a:lstStyle>
            <a:lvl1pPr marL="171450" marR="0" indent="-171450" algn="l" defTabSz="914400" rtl="0" eaLnBrk="1" fontAlgn="auto" latinLnBrk="0" hangingPunct="1">
              <a:lnSpc>
                <a:spcPct val="100000"/>
              </a:lnSpc>
              <a:spcBef>
                <a:spcPts val="0"/>
              </a:spcBef>
              <a:spcAft>
                <a:spcPts val="400"/>
              </a:spcAft>
              <a:buClr>
                <a:srgbClr val="860864"/>
              </a:buClr>
              <a:buSzTx/>
              <a:buFont typeface="Wingdings" panose="05000000000000000000" pitchFamily="2" charset="2"/>
              <a:buChar char="§"/>
              <a:tabLst/>
              <a:defRPr sz="1200" b="0">
                <a:solidFill>
                  <a:schemeClr val="accent3"/>
                </a:solidFill>
                <a:latin typeface="+mj-lt"/>
              </a:defRPr>
            </a:lvl1pPr>
          </a:lstStyle>
          <a:p>
            <a:pPr lvl="0"/>
            <a:r>
              <a:rPr lang="en-US" dirty="0"/>
              <a:t>Placeholder for text</a:t>
            </a:r>
          </a:p>
          <a:p>
            <a:pPr lvl="0"/>
            <a:r>
              <a:rPr lang="en-US" dirty="0"/>
              <a:t>Placeholder for text</a:t>
            </a:r>
          </a:p>
          <a:p>
            <a:pPr lvl="0"/>
            <a:r>
              <a:rPr lang="en-US" dirty="0"/>
              <a:t>Placeholder for text</a:t>
            </a:r>
          </a:p>
        </p:txBody>
      </p:sp>
      <p:sp>
        <p:nvSpPr>
          <p:cNvPr id="54" name="Rectangle: Diagonal Corners Snipped 53">
            <a:extLst>
              <a:ext uri="{FF2B5EF4-FFF2-40B4-BE49-F238E27FC236}">
                <a16:creationId xmlns:a16="http://schemas.microsoft.com/office/drawing/2014/main" id="{99B638C1-7D72-45B7-8226-5CEE6A4AC6BC}"/>
              </a:ext>
            </a:extLst>
          </p:cNvPr>
          <p:cNvSpPr/>
          <p:nvPr userDrawn="1"/>
        </p:nvSpPr>
        <p:spPr>
          <a:xfrm>
            <a:off x="6865620" y="2133000"/>
            <a:ext cx="5050155" cy="1090260"/>
          </a:xfrm>
          <a:prstGeom prst="snip2DiagRect">
            <a:avLst>
              <a:gd name="adj1" fmla="val 0"/>
              <a:gd name="adj2" fmla="val 9004"/>
            </a:avLst>
          </a:prstGeom>
          <a:solidFill>
            <a:schemeClr val="bg1"/>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Top Corners Rounded 54">
            <a:extLst>
              <a:ext uri="{FF2B5EF4-FFF2-40B4-BE49-F238E27FC236}">
                <a16:creationId xmlns:a16="http://schemas.microsoft.com/office/drawing/2014/main" id="{E3644D4E-45C5-416E-9F5B-94A0F2F3B434}"/>
              </a:ext>
            </a:extLst>
          </p:cNvPr>
          <p:cNvSpPr/>
          <p:nvPr userDrawn="1"/>
        </p:nvSpPr>
        <p:spPr>
          <a:xfrm rot="5400000">
            <a:off x="7968865" y="661347"/>
            <a:ext cx="360240" cy="2950027"/>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Shape 55">
            <a:extLst>
              <a:ext uri="{FF2B5EF4-FFF2-40B4-BE49-F238E27FC236}">
                <a16:creationId xmlns:a16="http://schemas.microsoft.com/office/drawing/2014/main" id="{38B9EDBD-013F-432D-B64C-577FE947409E}"/>
              </a:ext>
            </a:extLst>
          </p:cNvPr>
          <p:cNvSpPr/>
          <p:nvPr userDrawn="1"/>
        </p:nvSpPr>
        <p:spPr>
          <a:xfrm>
            <a:off x="1" y="1813746"/>
            <a:ext cx="6746465" cy="4728456"/>
          </a:xfrm>
          <a:custGeom>
            <a:avLst/>
            <a:gdLst>
              <a:gd name="connsiteX0" fmla="*/ 0 w 6746465"/>
              <a:gd name="connsiteY0" fmla="*/ 0 h 4728456"/>
              <a:gd name="connsiteX1" fmla="*/ 6471663 w 6746465"/>
              <a:gd name="connsiteY1" fmla="*/ 9303 h 4728456"/>
              <a:gd name="connsiteX2" fmla="*/ 6746465 w 6746465"/>
              <a:gd name="connsiteY2" fmla="*/ 280324 h 4728456"/>
              <a:gd name="connsiteX3" fmla="*/ 6746465 w 6746465"/>
              <a:gd name="connsiteY3" fmla="*/ 4457436 h 4728456"/>
              <a:gd name="connsiteX4" fmla="*/ 6471663 w 6746465"/>
              <a:gd name="connsiteY4" fmla="*/ 4728456 h 4728456"/>
              <a:gd name="connsiteX5" fmla="*/ 0 w 6746465"/>
              <a:gd name="connsiteY5" fmla="*/ 4719140 h 472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46465" h="4728456">
                <a:moveTo>
                  <a:pt x="0" y="0"/>
                </a:moveTo>
                <a:lnTo>
                  <a:pt x="6471663" y="9303"/>
                </a:lnTo>
                <a:cubicBezTo>
                  <a:pt x="6623432" y="9303"/>
                  <a:pt x="6746465" y="130643"/>
                  <a:pt x="6746465" y="280324"/>
                </a:cubicBezTo>
                <a:lnTo>
                  <a:pt x="6746465" y="4457436"/>
                </a:lnTo>
                <a:cubicBezTo>
                  <a:pt x="6746465" y="4607117"/>
                  <a:pt x="6623432" y="4728456"/>
                  <a:pt x="6471663" y="4728456"/>
                </a:cubicBezTo>
                <a:lnTo>
                  <a:pt x="0" y="471914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Shape 56">
            <a:extLst>
              <a:ext uri="{FF2B5EF4-FFF2-40B4-BE49-F238E27FC236}">
                <a16:creationId xmlns:a16="http://schemas.microsoft.com/office/drawing/2014/main" id="{41FF691A-721C-496D-B370-BE042C4AC37A}"/>
              </a:ext>
            </a:extLst>
          </p:cNvPr>
          <p:cNvSpPr/>
          <p:nvPr userDrawn="1"/>
        </p:nvSpPr>
        <p:spPr>
          <a:xfrm>
            <a:off x="1" y="1799757"/>
            <a:ext cx="6702459" cy="4689533"/>
          </a:xfrm>
          <a:custGeom>
            <a:avLst/>
            <a:gdLst>
              <a:gd name="connsiteX0" fmla="*/ 0 w 6702459"/>
              <a:gd name="connsiteY0" fmla="*/ 0 h 4689533"/>
              <a:gd name="connsiteX1" fmla="*/ 6433678 w 6702459"/>
              <a:gd name="connsiteY1" fmla="*/ 9378 h 4689533"/>
              <a:gd name="connsiteX2" fmla="*/ 6702459 w 6702459"/>
              <a:gd name="connsiteY2" fmla="*/ 278159 h 4689533"/>
              <a:gd name="connsiteX3" fmla="*/ 6702459 w 6702459"/>
              <a:gd name="connsiteY3" fmla="*/ 4420752 h 4689533"/>
              <a:gd name="connsiteX4" fmla="*/ 6433678 w 6702459"/>
              <a:gd name="connsiteY4" fmla="*/ 4689533 h 4689533"/>
              <a:gd name="connsiteX5" fmla="*/ 0 w 6702459"/>
              <a:gd name="connsiteY5" fmla="*/ 4680142 h 468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2459" h="4689533">
                <a:moveTo>
                  <a:pt x="0" y="0"/>
                </a:moveTo>
                <a:lnTo>
                  <a:pt x="6433678" y="9378"/>
                </a:lnTo>
                <a:cubicBezTo>
                  <a:pt x="6582122" y="9378"/>
                  <a:pt x="6702459" y="129715"/>
                  <a:pt x="6702459" y="278159"/>
                </a:cubicBezTo>
                <a:lnTo>
                  <a:pt x="6702459" y="4420752"/>
                </a:lnTo>
                <a:cubicBezTo>
                  <a:pt x="6702459" y="4569196"/>
                  <a:pt x="6582122" y="4689533"/>
                  <a:pt x="6433678" y="4689533"/>
                </a:cubicBezTo>
                <a:lnTo>
                  <a:pt x="0" y="4680142"/>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 Placeholder 4">
            <a:extLst>
              <a:ext uri="{FF2B5EF4-FFF2-40B4-BE49-F238E27FC236}">
                <a16:creationId xmlns:a16="http://schemas.microsoft.com/office/drawing/2014/main" id="{43B30C56-2D17-4428-B88A-042DE98F2DAF}"/>
              </a:ext>
            </a:extLst>
          </p:cNvPr>
          <p:cNvSpPr>
            <a:spLocks noGrp="1"/>
          </p:cNvSpPr>
          <p:nvPr>
            <p:ph type="body" sz="quarter" idx="14" hasCustomPrompt="1"/>
          </p:nvPr>
        </p:nvSpPr>
        <p:spPr>
          <a:xfrm>
            <a:off x="2968914" y="4005797"/>
            <a:ext cx="764633" cy="276999"/>
          </a:xfrm>
        </p:spPr>
        <p:txBody>
          <a:bodyPr wrap="none" anchor="ctr" anchorCtr="1">
            <a:spAutoFit/>
          </a:bodyPr>
          <a:lstStyle>
            <a:lvl1pPr>
              <a:defRPr>
                <a:solidFill>
                  <a:schemeClr val="accent1"/>
                </a:solidFill>
              </a:defRPr>
            </a:lvl1pPr>
          </a:lstStyle>
          <a:p>
            <a:pPr lvl="0"/>
            <a:r>
              <a:rPr lang="en-US" dirty="0"/>
              <a:t>Visual</a:t>
            </a:r>
          </a:p>
        </p:txBody>
      </p:sp>
      <p:sp>
        <p:nvSpPr>
          <p:cNvPr id="59" name="Text Placeholder 4">
            <a:extLst>
              <a:ext uri="{FF2B5EF4-FFF2-40B4-BE49-F238E27FC236}">
                <a16:creationId xmlns:a16="http://schemas.microsoft.com/office/drawing/2014/main" id="{33F5E831-7C79-48B8-A93B-E52CE060DFAB}"/>
              </a:ext>
            </a:extLst>
          </p:cNvPr>
          <p:cNvSpPr>
            <a:spLocks noGrp="1"/>
          </p:cNvSpPr>
          <p:nvPr>
            <p:ph type="body" sz="quarter" idx="15" hasCustomPrompt="1"/>
          </p:nvPr>
        </p:nvSpPr>
        <p:spPr>
          <a:xfrm>
            <a:off x="6912871" y="2039411"/>
            <a:ext cx="1003736" cy="193899"/>
          </a:xfrm>
        </p:spPr>
        <p:txBody>
          <a:bodyPr wrap="none" anchor="ctr" anchorCtr="1">
            <a:spAutoFit/>
          </a:bodyPr>
          <a:lstStyle>
            <a:lvl1pPr>
              <a:defRPr sz="1400">
                <a:solidFill>
                  <a:schemeClr val="bg1"/>
                </a:solidFill>
                <a:latin typeface="+mj-lt"/>
              </a:defRPr>
            </a:lvl1pPr>
          </a:lstStyle>
          <a:p>
            <a:pPr lvl="0"/>
            <a:r>
              <a:rPr lang="en-US" dirty="0"/>
              <a:t>Key Clients</a:t>
            </a:r>
          </a:p>
        </p:txBody>
      </p:sp>
      <p:sp>
        <p:nvSpPr>
          <p:cNvPr id="60" name="Text Placeholder 4">
            <a:extLst>
              <a:ext uri="{FF2B5EF4-FFF2-40B4-BE49-F238E27FC236}">
                <a16:creationId xmlns:a16="http://schemas.microsoft.com/office/drawing/2014/main" id="{BE1370A5-5DF4-4787-802D-60079696020E}"/>
              </a:ext>
            </a:extLst>
          </p:cNvPr>
          <p:cNvSpPr>
            <a:spLocks noGrp="1"/>
          </p:cNvSpPr>
          <p:nvPr>
            <p:ph type="body" sz="quarter" idx="16" hasCustomPrompt="1"/>
          </p:nvPr>
        </p:nvSpPr>
        <p:spPr>
          <a:xfrm>
            <a:off x="6934200" y="2380045"/>
            <a:ext cx="4849813" cy="656590"/>
          </a:xfrm>
        </p:spPr>
        <p:txBody>
          <a:bodyPr wrap="square" anchor="t" anchorCtr="0">
            <a:spAutoFit/>
          </a:bodyPr>
          <a:lstStyle>
            <a:lvl1pPr marL="171450" marR="0" indent="-171450" algn="l" defTabSz="914400" rtl="0" eaLnBrk="1" fontAlgn="auto" latinLnBrk="0" hangingPunct="1">
              <a:lnSpc>
                <a:spcPct val="100000"/>
              </a:lnSpc>
              <a:spcBef>
                <a:spcPts val="0"/>
              </a:spcBef>
              <a:spcAft>
                <a:spcPts val="400"/>
              </a:spcAft>
              <a:buClr>
                <a:schemeClr val="accent2"/>
              </a:buClr>
              <a:buSzTx/>
              <a:buFont typeface="Wingdings" panose="05000000000000000000" pitchFamily="2" charset="2"/>
              <a:buChar char="§"/>
              <a:tabLst/>
              <a:defRPr sz="1200" b="0">
                <a:solidFill>
                  <a:schemeClr val="accent3"/>
                </a:solidFill>
                <a:latin typeface="+mj-lt"/>
              </a:defRPr>
            </a:lvl1pPr>
          </a:lstStyle>
          <a:p>
            <a:pPr lvl="0"/>
            <a:r>
              <a:rPr lang="en-US" dirty="0"/>
              <a:t>Placeholder for text</a:t>
            </a:r>
          </a:p>
          <a:p>
            <a:pPr lvl="0"/>
            <a:r>
              <a:rPr lang="en-US" dirty="0"/>
              <a:t>Placeholder for text</a:t>
            </a:r>
          </a:p>
          <a:p>
            <a:pPr lvl="0"/>
            <a:r>
              <a:rPr lang="en-US" dirty="0"/>
              <a:t>Placeholder for text</a:t>
            </a:r>
          </a:p>
        </p:txBody>
      </p:sp>
    </p:spTree>
    <p:extLst>
      <p:ext uri="{BB962C8B-B14F-4D97-AF65-F5344CB8AC3E}">
        <p14:creationId xmlns:p14="http://schemas.microsoft.com/office/powerpoint/2010/main" val="16448126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2" name="Conector reto 49">
            <a:extLst>
              <a:ext uri="{FF2B5EF4-FFF2-40B4-BE49-F238E27FC236}">
                <a16:creationId xmlns:a16="http://schemas.microsoft.com/office/drawing/2014/main" id="{02BD5F97-0D90-44B7-AD6D-5425F2F9CC6F}"/>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7B682035-D269-40D9-96DE-4509F723D0C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id="{0E9C1DD6-DEDF-471C-B851-5C1732C5CAB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2" name="Conector reto 49">
            <a:extLst>
              <a:ext uri="{FF2B5EF4-FFF2-40B4-BE49-F238E27FC236}">
                <a16:creationId xmlns:a16="http://schemas.microsoft.com/office/drawing/2014/main" id="{02BD5F97-0D90-44B7-AD6D-5425F2F9CC6F}"/>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7B682035-D269-40D9-96DE-4509F723D0C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id="{0E9C1DD6-DEDF-471C-B851-5C1732C5CAB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64" name="Group 63">
            <a:extLst>
              <a:ext uri="{FF2B5EF4-FFF2-40B4-BE49-F238E27FC236}">
                <a16:creationId xmlns:a16="http://schemas.microsoft.com/office/drawing/2014/main" id="{AD61DA77-21EF-4C3F-A274-D3E81FD82593}"/>
              </a:ext>
            </a:extLst>
          </p:cNvPr>
          <p:cNvGrpSpPr/>
          <p:nvPr userDrawn="1"/>
        </p:nvGrpSpPr>
        <p:grpSpPr>
          <a:xfrm>
            <a:off x="10128448" y="648264"/>
            <a:ext cx="1791404" cy="2143919"/>
            <a:chOff x="10688638" y="2747963"/>
            <a:chExt cx="3040062" cy="4324350"/>
          </a:xfrm>
        </p:grpSpPr>
        <p:sp>
          <p:nvSpPr>
            <p:cNvPr id="65" name="AutoShape 176">
              <a:extLst>
                <a:ext uri="{FF2B5EF4-FFF2-40B4-BE49-F238E27FC236}">
                  <a16:creationId xmlns:a16="http://schemas.microsoft.com/office/drawing/2014/main" id="{7CE9B428-2870-4AC2-910B-DF6B3C2E6C22}"/>
                </a:ext>
              </a:extLst>
            </p:cNvPr>
            <p:cNvSpPr>
              <a:spLocks noChangeAspect="1" noChangeArrowheads="1" noTextEdit="1"/>
            </p:cNvSpPr>
            <p:nvPr/>
          </p:nvSpPr>
          <p:spPr bwMode="auto">
            <a:xfrm>
              <a:off x="10688638" y="2751138"/>
              <a:ext cx="3036887" cy="432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Freeform 178">
              <a:extLst>
                <a:ext uri="{FF2B5EF4-FFF2-40B4-BE49-F238E27FC236}">
                  <a16:creationId xmlns:a16="http://schemas.microsoft.com/office/drawing/2014/main" id="{4C9A2C52-D7BC-485C-B827-22291A865873}"/>
                </a:ext>
              </a:extLst>
            </p:cNvPr>
            <p:cNvSpPr>
              <a:spLocks/>
            </p:cNvSpPr>
            <p:nvPr/>
          </p:nvSpPr>
          <p:spPr bwMode="auto">
            <a:xfrm>
              <a:off x="11407775" y="3402013"/>
              <a:ext cx="1139825" cy="1527175"/>
            </a:xfrm>
            <a:custGeom>
              <a:avLst/>
              <a:gdLst>
                <a:gd name="T0" fmla="*/ 86 w 303"/>
                <a:gd name="T1" fmla="*/ 11 h 406"/>
                <a:gd name="T2" fmla="*/ 159 w 303"/>
                <a:gd name="T3" fmla="*/ 34 h 406"/>
                <a:gd name="T4" fmla="*/ 158 w 303"/>
                <a:gd name="T5" fmla="*/ 180 h 406"/>
                <a:gd name="T6" fmla="*/ 183 w 303"/>
                <a:gd name="T7" fmla="*/ 250 h 406"/>
                <a:gd name="T8" fmla="*/ 303 w 303"/>
                <a:gd name="T9" fmla="*/ 406 h 406"/>
                <a:gd name="T10" fmla="*/ 83 w 303"/>
                <a:gd name="T11" fmla="*/ 378 h 406"/>
                <a:gd name="T12" fmla="*/ 26 w 303"/>
                <a:gd name="T13" fmla="*/ 149 h 406"/>
                <a:gd name="T14" fmla="*/ 3 w 303"/>
                <a:gd name="T15" fmla="*/ 74 h 406"/>
                <a:gd name="T16" fmla="*/ 27 w 303"/>
                <a:gd name="T17" fmla="*/ 29 h 406"/>
                <a:gd name="T18" fmla="*/ 86 w 303"/>
                <a:gd name="T19" fmla="*/ 1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406">
                  <a:moveTo>
                    <a:pt x="86" y="11"/>
                  </a:moveTo>
                  <a:cubicBezTo>
                    <a:pt x="100" y="10"/>
                    <a:pt x="136" y="0"/>
                    <a:pt x="159" y="34"/>
                  </a:cubicBezTo>
                  <a:cubicBezTo>
                    <a:pt x="173" y="55"/>
                    <a:pt x="155" y="136"/>
                    <a:pt x="158" y="180"/>
                  </a:cubicBezTo>
                  <a:cubicBezTo>
                    <a:pt x="159" y="194"/>
                    <a:pt x="176" y="235"/>
                    <a:pt x="183" y="250"/>
                  </a:cubicBezTo>
                  <a:cubicBezTo>
                    <a:pt x="303" y="406"/>
                    <a:pt x="303" y="406"/>
                    <a:pt x="303" y="406"/>
                  </a:cubicBezTo>
                  <a:cubicBezTo>
                    <a:pt x="279" y="404"/>
                    <a:pt x="91" y="383"/>
                    <a:pt x="83" y="378"/>
                  </a:cubicBezTo>
                  <a:cubicBezTo>
                    <a:pt x="79" y="354"/>
                    <a:pt x="40" y="180"/>
                    <a:pt x="26" y="149"/>
                  </a:cubicBezTo>
                  <a:cubicBezTo>
                    <a:pt x="13" y="119"/>
                    <a:pt x="0" y="97"/>
                    <a:pt x="3" y="74"/>
                  </a:cubicBezTo>
                  <a:cubicBezTo>
                    <a:pt x="6" y="49"/>
                    <a:pt x="27" y="29"/>
                    <a:pt x="27" y="29"/>
                  </a:cubicBezTo>
                  <a:cubicBezTo>
                    <a:pt x="86" y="11"/>
                    <a:pt x="86" y="11"/>
                    <a:pt x="86" y="11"/>
                  </a:cubicBez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Freeform 179">
              <a:extLst>
                <a:ext uri="{FF2B5EF4-FFF2-40B4-BE49-F238E27FC236}">
                  <a16:creationId xmlns:a16="http://schemas.microsoft.com/office/drawing/2014/main" id="{E23714D6-0D2F-4DEA-A6A3-378813AE1BF9}"/>
                </a:ext>
              </a:extLst>
            </p:cNvPr>
            <p:cNvSpPr>
              <a:spLocks/>
            </p:cNvSpPr>
            <p:nvPr/>
          </p:nvSpPr>
          <p:spPr bwMode="auto">
            <a:xfrm>
              <a:off x="12492038" y="6808788"/>
              <a:ext cx="266700" cy="260350"/>
            </a:xfrm>
            <a:custGeom>
              <a:avLst/>
              <a:gdLst>
                <a:gd name="T0" fmla="*/ 54 w 71"/>
                <a:gd name="T1" fmla="*/ 0 h 69"/>
                <a:gd name="T2" fmla="*/ 71 w 71"/>
                <a:gd name="T3" fmla="*/ 20 h 69"/>
                <a:gd name="T4" fmla="*/ 57 w 71"/>
                <a:gd name="T5" fmla="*/ 37 h 69"/>
                <a:gd name="T6" fmla="*/ 53 w 71"/>
                <a:gd name="T7" fmla="*/ 35 h 69"/>
                <a:gd name="T8" fmla="*/ 47 w 71"/>
                <a:gd name="T9" fmla="*/ 50 h 69"/>
                <a:gd name="T10" fmla="*/ 34 w 71"/>
                <a:gd name="T11" fmla="*/ 67 h 69"/>
                <a:gd name="T12" fmla="*/ 6 w 71"/>
                <a:gd name="T13" fmla="*/ 69 h 69"/>
                <a:gd name="T14" fmla="*/ 2 w 71"/>
                <a:gd name="T15" fmla="*/ 61 h 69"/>
                <a:gd name="T16" fmla="*/ 26 w 71"/>
                <a:gd name="T17" fmla="*/ 44 h 69"/>
                <a:gd name="T18" fmla="*/ 37 w 71"/>
                <a:gd name="T19" fmla="*/ 14 h 69"/>
                <a:gd name="T20" fmla="*/ 54 w 71"/>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69">
                  <a:moveTo>
                    <a:pt x="54" y="0"/>
                  </a:moveTo>
                  <a:cubicBezTo>
                    <a:pt x="71" y="20"/>
                    <a:pt x="71" y="20"/>
                    <a:pt x="71" y="20"/>
                  </a:cubicBezTo>
                  <a:cubicBezTo>
                    <a:pt x="57" y="37"/>
                    <a:pt x="57" y="37"/>
                    <a:pt x="57" y="37"/>
                  </a:cubicBezTo>
                  <a:cubicBezTo>
                    <a:pt x="53" y="35"/>
                    <a:pt x="53" y="35"/>
                    <a:pt x="53" y="35"/>
                  </a:cubicBezTo>
                  <a:cubicBezTo>
                    <a:pt x="47" y="50"/>
                    <a:pt x="47" y="50"/>
                    <a:pt x="47" y="50"/>
                  </a:cubicBezTo>
                  <a:cubicBezTo>
                    <a:pt x="46" y="52"/>
                    <a:pt x="40" y="60"/>
                    <a:pt x="34" y="67"/>
                  </a:cubicBezTo>
                  <a:cubicBezTo>
                    <a:pt x="30" y="68"/>
                    <a:pt x="8" y="69"/>
                    <a:pt x="6" y="69"/>
                  </a:cubicBezTo>
                  <a:cubicBezTo>
                    <a:pt x="4" y="69"/>
                    <a:pt x="0" y="65"/>
                    <a:pt x="2" y="61"/>
                  </a:cubicBezTo>
                  <a:cubicBezTo>
                    <a:pt x="6" y="55"/>
                    <a:pt x="21" y="54"/>
                    <a:pt x="26" y="44"/>
                  </a:cubicBezTo>
                  <a:cubicBezTo>
                    <a:pt x="32" y="34"/>
                    <a:pt x="37" y="16"/>
                    <a:pt x="37" y="14"/>
                  </a:cubicBezTo>
                  <a:cubicBezTo>
                    <a:pt x="54" y="0"/>
                    <a:pt x="54" y="0"/>
                    <a:pt x="54" y="0"/>
                  </a:cubicBez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Freeform 180">
              <a:extLst>
                <a:ext uri="{FF2B5EF4-FFF2-40B4-BE49-F238E27FC236}">
                  <a16:creationId xmlns:a16="http://schemas.microsoft.com/office/drawing/2014/main" id="{680E03C9-60B0-4A5C-8F89-DA7BFFFD5157}"/>
                </a:ext>
              </a:extLst>
            </p:cNvPr>
            <p:cNvSpPr>
              <a:spLocks/>
            </p:cNvSpPr>
            <p:nvPr/>
          </p:nvSpPr>
          <p:spPr bwMode="auto">
            <a:xfrm>
              <a:off x="11660188" y="4660901"/>
              <a:ext cx="1041400" cy="2205038"/>
            </a:xfrm>
            <a:custGeom>
              <a:avLst/>
              <a:gdLst>
                <a:gd name="T0" fmla="*/ 112 w 277"/>
                <a:gd name="T1" fmla="*/ 354 h 586"/>
                <a:gd name="T2" fmla="*/ 53 w 277"/>
                <a:gd name="T3" fmla="*/ 312 h 586"/>
                <a:gd name="T4" fmla="*/ 147 w 277"/>
                <a:gd name="T5" fmla="*/ 62 h 586"/>
                <a:gd name="T6" fmla="*/ 60 w 277"/>
                <a:gd name="T7" fmla="*/ 23 h 586"/>
                <a:gd name="T8" fmla="*/ 1 w 277"/>
                <a:gd name="T9" fmla="*/ 311 h 586"/>
                <a:gd name="T10" fmla="*/ 5 w 277"/>
                <a:gd name="T11" fmla="*/ 330 h 586"/>
                <a:gd name="T12" fmla="*/ 257 w 277"/>
                <a:gd name="T13" fmla="*/ 586 h 586"/>
                <a:gd name="T14" fmla="*/ 277 w 277"/>
                <a:gd name="T15" fmla="*/ 569 h 586"/>
                <a:gd name="T16" fmla="*/ 112 w 277"/>
                <a:gd name="T17" fmla="*/ 35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7" h="586">
                  <a:moveTo>
                    <a:pt x="112" y="354"/>
                  </a:moveTo>
                  <a:cubicBezTo>
                    <a:pt x="107" y="350"/>
                    <a:pt x="75" y="327"/>
                    <a:pt x="53" y="312"/>
                  </a:cubicBezTo>
                  <a:cubicBezTo>
                    <a:pt x="79" y="264"/>
                    <a:pt x="157" y="114"/>
                    <a:pt x="147" y="62"/>
                  </a:cubicBezTo>
                  <a:cubicBezTo>
                    <a:pt x="136" y="0"/>
                    <a:pt x="65" y="10"/>
                    <a:pt x="60" y="23"/>
                  </a:cubicBezTo>
                  <a:cubicBezTo>
                    <a:pt x="56" y="35"/>
                    <a:pt x="7" y="287"/>
                    <a:pt x="1" y="311"/>
                  </a:cubicBezTo>
                  <a:cubicBezTo>
                    <a:pt x="0" y="315"/>
                    <a:pt x="1" y="324"/>
                    <a:pt x="5" y="330"/>
                  </a:cubicBezTo>
                  <a:cubicBezTo>
                    <a:pt x="21" y="351"/>
                    <a:pt x="257" y="586"/>
                    <a:pt x="257" y="586"/>
                  </a:cubicBezTo>
                  <a:cubicBezTo>
                    <a:pt x="277" y="569"/>
                    <a:pt x="277" y="569"/>
                    <a:pt x="277" y="569"/>
                  </a:cubicBezTo>
                  <a:cubicBezTo>
                    <a:pt x="277" y="569"/>
                    <a:pt x="118" y="360"/>
                    <a:pt x="112" y="354"/>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Freeform 181">
              <a:extLst>
                <a:ext uri="{FF2B5EF4-FFF2-40B4-BE49-F238E27FC236}">
                  <a16:creationId xmlns:a16="http://schemas.microsoft.com/office/drawing/2014/main" id="{F9F8B024-0603-4E4D-95D8-47A81B7A7945}"/>
                </a:ext>
              </a:extLst>
            </p:cNvPr>
            <p:cNvSpPr>
              <a:spLocks/>
            </p:cNvSpPr>
            <p:nvPr/>
          </p:nvSpPr>
          <p:spPr bwMode="auto">
            <a:xfrm>
              <a:off x="10771188" y="6913563"/>
              <a:ext cx="334962" cy="155575"/>
            </a:xfrm>
            <a:custGeom>
              <a:avLst/>
              <a:gdLst>
                <a:gd name="T0" fmla="*/ 89 w 89"/>
                <a:gd name="T1" fmla="*/ 14 h 41"/>
                <a:gd name="T2" fmla="*/ 85 w 89"/>
                <a:gd name="T3" fmla="*/ 36 h 41"/>
                <a:gd name="T4" fmla="*/ 65 w 89"/>
                <a:gd name="T5" fmla="*/ 38 h 41"/>
                <a:gd name="T6" fmla="*/ 62 w 89"/>
                <a:gd name="T7" fmla="*/ 34 h 41"/>
                <a:gd name="T8" fmla="*/ 56 w 89"/>
                <a:gd name="T9" fmla="*/ 39 h 41"/>
                <a:gd name="T10" fmla="*/ 3 w 89"/>
                <a:gd name="T11" fmla="*/ 41 h 41"/>
                <a:gd name="T12" fmla="*/ 5 w 89"/>
                <a:gd name="T13" fmla="*/ 33 h 41"/>
                <a:gd name="T14" fmla="*/ 43 w 89"/>
                <a:gd name="T15" fmla="*/ 21 h 41"/>
                <a:gd name="T16" fmla="*/ 66 w 89"/>
                <a:gd name="T17" fmla="*/ 0 h 41"/>
                <a:gd name="T18" fmla="*/ 89 w 89"/>
                <a:gd name="T19"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41">
                  <a:moveTo>
                    <a:pt x="89" y="14"/>
                  </a:moveTo>
                  <a:cubicBezTo>
                    <a:pt x="85" y="36"/>
                    <a:pt x="85" y="36"/>
                    <a:pt x="85" y="36"/>
                  </a:cubicBezTo>
                  <a:cubicBezTo>
                    <a:pt x="65" y="38"/>
                    <a:pt x="65" y="38"/>
                    <a:pt x="65" y="38"/>
                  </a:cubicBezTo>
                  <a:cubicBezTo>
                    <a:pt x="62" y="34"/>
                    <a:pt x="62" y="34"/>
                    <a:pt x="62" y="34"/>
                  </a:cubicBezTo>
                  <a:cubicBezTo>
                    <a:pt x="56" y="39"/>
                    <a:pt x="56" y="39"/>
                    <a:pt x="56" y="39"/>
                  </a:cubicBezTo>
                  <a:cubicBezTo>
                    <a:pt x="44" y="40"/>
                    <a:pt x="7" y="40"/>
                    <a:pt x="3" y="41"/>
                  </a:cubicBezTo>
                  <a:cubicBezTo>
                    <a:pt x="2" y="41"/>
                    <a:pt x="0" y="35"/>
                    <a:pt x="5" y="33"/>
                  </a:cubicBezTo>
                  <a:cubicBezTo>
                    <a:pt x="16" y="29"/>
                    <a:pt x="32" y="25"/>
                    <a:pt x="43" y="21"/>
                  </a:cubicBezTo>
                  <a:cubicBezTo>
                    <a:pt x="54" y="17"/>
                    <a:pt x="65" y="2"/>
                    <a:pt x="66" y="0"/>
                  </a:cubicBezTo>
                  <a:cubicBezTo>
                    <a:pt x="89" y="14"/>
                    <a:pt x="89" y="14"/>
                    <a:pt x="89" y="14"/>
                  </a:cubicBez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Freeform 182">
              <a:extLst>
                <a:ext uri="{FF2B5EF4-FFF2-40B4-BE49-F238E27FC236}">
                  <a16:creationId xmlns:a16="http://schemas.microsoft.com/office/drawing/2014/main" id="{69CCB43B-8508-4C00-B07B-BF1660174F5A}"/>
                </a:ext>
              </a:extLst>
            </p:cNvPr>
            <p:cNvSpPr>
              <a:spLocks/>
            </p:cNvSpPr>
            <p:nvPr/>
          </p:nvSpPr>
          <p:spPr bwMode="auto">
            <a:xfrm>
              <a:off x="11015663" y="4691063"/>
              <a:ext cx="985837" cy="2276475"/>
            </a:xfrm>
            <a:custGeom>
              <a:avLst/>
              <a:gdLst>
                <a:gd name="T0" fmla="*/ 262 w 262"/>
                <a:gd name="T1" fmla="*/ 66 h 605"/>
                <a:gd name="T2" fmla="*/ 184 w 262"/>
                <a:gd name="T3" fmla="*/ 11 h 605"/>
                <a:gd name="T4" fmla="*/ 73 w 262"/>
                <a:gd name="T5" fmla="*/ 274 h 605"/>
                <a:gd name="T6" fmla="*/ 67 w 262"/>
                <a:gd name="T7" fmla="*/ 296 h 605"/>
                <a:gd name="T8" fmla="*/ 0 w 262"/>
                <a:gd name="T9" fmla="*/ 593 h 605"/>
                <a:gd name="T10" fmla="*/ 24 w 262"/>
                <a:gd name="T11" fmla="*/ 605 h 605"/>
                <a:gd name="T12" fmla="*/ 108 w 262"/>
                <a:gd name="T13" fmla="*/ 391 h 605"/>
                <a:gd name="T14" fmla="*/ 112 w 262"/>
                <a:gd name="T15" fmla="*/ 305 h 605"/>
                <a:gd name="T16" fmla="*/ 262 w 262"/>
                <a:gd name="T17" fmla="*/ 6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 h="605">
                  <a:moveTo>
                    <a:pt x="262" y="66"/>
                  </a:moveTo>
                  <a:cubicBezTo>
                    <a:pt x="262" y="3"/>
                    <a:pt x="191" y="0"/>
                    <a:pt x="184" y="11"/>
                  </a:cubicBezTo>
                  <a:cubicBezTo>
                    <a:pt x="178" y="22"/>
                    <a:pt x="90" y="233"/>
                    <a:pt x="73" y="274"/>
                  </a:cubicBezTo>
                  <a:cubicBezTo>
                    <a:pt x="72" y="276"/>
                    <a:pt x="69" y="288"/>
                    <a:pt x="67" y="296"/>
                  </a:cubicBezTo>
                  <a:cubicBezTo>
                    <a:pt x="64" y="304"/>
                    <a:pt x="4" y="575"/>
                    <a:pt x="0" y="593"/>
                  </a:cubicBezTo>
                  <a:cubicBezTo>
                    <a:pt x="24" y="605"/>
                    <a:pt x="24" y="605"/>
                    <a:pt x="24" y="605"/>
                  </a:cubicBezTo>
                  <a:cubicBezTo>
                    <a:pt x="24" y="605"/>
                    <a:pt x="107" y="400"/>
                    <a:pt x="108" y="391"/>
                  </a:cubicBezTo>
                  <a:cubicBezTo>
                    <a:pt x="109" y="382"/>
                    <a:pt x="112" y="320"/>
                    <a:pt x="112" y="305"/>
                  </a:cubicBezTo>
                  <a:cubicBezTo>
                    <a:pt x="126" y="287"/>
                    <a:pt x="261" y="126"/>
                    <a:pt x="262" y="66"/>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Freeform 184">
              <a:extLst>
                <a:ext uri="{FF2B5EF4-FFF2-40B4-BE49-F238E27FC236}">
                  <a16:creationId xmlns:a16="http://schemas.microsoft.com/office/drawing/2014/main" id="{B2BEEE70-AD3F-4E33-9C90-CFD269E0EBE2}"/>
                </a:ext>
              </a:extLst>
            </p:cNvPr>
            <p:cNvSpPr>
              <a:spLocks/>
            </p:cNvSpPr>
            <p:nvPr/>
          </p:nvSpPr>
          <p:spPr bwMode="auto">
            <a:xfrm>
              <a:off x="12965113" y="4429126"/>
              <a:ext cx="192087" cy="153988"/>
            </a:xfrm>
            <a:custGeom>
              <a:avLst/>
              <a:gdLst>
                <a:gd name="T0" fmla="*/ 3 w 51"/>
                <a:gd name="T1" fmla="*/ 40 h 41"/>
                <a:gd name="T2" fmla="*/ 7 w 51"/>
                <a:gd name="T3" fmla="*/ 38 h 41"/>
                <a:gd name="T4" fmla="*/ 48 w 51"/>
                <a:gd name="T5" fmla="*/ 7 h 41"/>
                <a:gd name="T6" fmla="*/ 51 w 51"/>
                <a:gd name="T7" fmla="*/ 3 h 41"/>
                <a:gd name="T8" fmla="*/ 47 w 51"/>
                <a:gd name="T9" fmla="*/ 0 h 41"/>
                <a:gd name="T10" fmla="*/ 1 w 51"/>
                <a:gd name="T11" fmla="*/ 36 h 41"/>
                <a:gd name="T12" fmla="*/ 3 w 51"/>
                <a:gd name="T13" fmla="*/ 40 h 41"/>
              </a:gdLst>
              <a:ahLst/>
              <a:cxnLst>
                <a:cxn ang="0">
                  <a:pos x="T0" y="T1"/>
                </a:cxn>
                <a:cxn ang="0">
                  <a:pos x="T2" y="T3"/>
                </a:cxn>
                <a:cxn ang="0">
                  <a:pos x="T4" y="T5"/>
                </a:cxn>
                <a:cxn ang="0">
                  <a:pos x="T6" y="T7"/>
                </a:cxn>
                <a:cxn ang="0">
                  <a:pos x="T8" y="T9"/>
                </a:cxn>
                <a:cxn ang="0">
                  <a:pos x="T10" y="T11"/>
                </a:cxn>
                <a:cxn ang="0">
                  <a:pos x="T12" y="T13"/>
                </a:cxn>
              </a:cxnLst>
              <a:rect l="0" t="0" r="r" b="b"/>
              <a:pathLst>
                <a:path w="51" h="41">
                  <a:moveTo>
                    <a:pt x="3" y="40"/>
                  </a:moveTo>
                  <a:cubicBezTo>
                    <a:pt x="4" y="41"/>
                    <a:pt x="6" y="40"/>
                    <a:pt x="7" y="38"/>
                  </a:cubicBezTo>
                  <a:cubicBezTo>
                    <a:pt x="14" y="22"/>
                    <a:pt x="30" y="10"/>
                    <a:pt x="48" y="7"/>
                  </a:cubicBezTo>
                  <a:cubicBezTo>
                    <a:pt x="49" y="7"/>
                    <a:pt x="51" y="5"/>
                    <a:pt x="51" y="3"/>
                  </a:cubicBezTo>
                  <a:cubicBezTo>
                    <a:pt x="51" y="1"/>
                    <a:pt x="49" y="0"/>
                    <a:pt x="47" y="0"/>
                  </a:cubicBezTo>
                  <a:cubicBezTo>
                    <a:pt x="26" y="4"/>
                    <a:pt x="9" y="17"/>
                    <a:pt x="1" y="36"/>
                  </a:cubicBezTo>
                  <a:cubicBezTo>
                    <a:pt x="0" y="38"/>
                    <a:pt x="1" y="40"/>
                    <a:pt x="3" y="40"/>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Freeform 185">
              <a:extLst>
                <a:ext uri="{FF2B5EF4-FFF2-40B4-BE49-F238E27FC236}">
                  <a16:creationId xmlns:a16="http://schemas.microsoft.com/office/drawing/2014/main" id="{1BA99AC0-73E5-4A40-B1DA-E1708AA06202}"/>
                </a:ext>
              </a:extLst>
            </p:cNvPr>
            <p:cNvSpPr>
              <a:spLocks/>
            </p:cNvSpPr>
            <p:nvPr/>
          </p:nvSpPr>
          <p:spPr bwMode="auto">
            <a:xfrm>
              <a:off x="13130213" y="4429126"/>
              <a:ext cx="46037" cy="47625"/>
            </a:xfrm>
            <a:custGeom>
              <a:avLst/>
              <a:gdLst>
                <a:gd name="T0" fmla="*/ 6 w 12"/>
                <a:gd name="T1" fmla="*/ 11 h 13"/>
                <a:gd name="T2" fmla="*/ 10 w 12"/>
                <a:gd name="T3" fmla="*/ 12 h 13"/>
                <a:gd name="T4" fmla="*/ 11 w 12"/>
                <a:gd name="T5" fmla="*/ 7 h 13"/>
                <a:gd name="T6" fmla="*/ 7 w 12"/>
                <a:gd name="T7" fmla="*/ 2 h 13"/>
                <a:gd name="T8" fmla="*/ 2 w 12"/>
                <a:gd name="T9" fmla="*/ 1 h 13"/>
                <a:gd name="T10" fmla="*/ 2 w 12"/>
                <a:gd name="T11" fmla="*/ 6 h 13"/>
                <a:gd name="T12" fmla="*/ 6 w 12"/>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6" y="11"/>
                  </a:moveTo>
                  <a:cubicBezTo>
                    <a:pt x="7" y="13"/>
                    <a:pt x="9" y="13"/>
                    <a:pt x="10" y="12"/>
                  </a:cubicBezTo>
                  <a:cubicBezTo>
                    <a:pt x="12" y="11"/>
                    <a:pt x="12" y="9"/>
                    <a:pt x="11" y="7"/>
                  </a:cubicBezTo>
                  <a:cubicBezTo>
                    <a:pt x="7" y="2"/>
                    <a:pt x="7" y="2"/>
                    <a:pt x="7" y="2"/>
                  </a:cubicBezTo>
                  <a:cubicBezTo>
                    <a:pt x="6" y="1"/>
                    <a:pt x="4" y="0"/>
                    <a:pt x="2" y="1"/>
                  </a:cubicBezTo>
                  <a:cubicBezTo>
                    <a:pt x="1" y="3"/>
                    <a:pt x="0" y="5"/>
                    <a:pt x="2" y="6"/>
                  </a:cubicBezTo>
                  <a:cubicBezTo>
                    <a:pt x="6" y="11"/>
                    <a:pt x="6" y="11"/>
                    <a:pt x="6" y="11"/>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Freeform 186">
              <a:extLst>
                <a:ext uri="{FF2B5EF4-FFF2-40B4-BE49-F238E27FC236}">
                  <a16:creationId xmlns:a16="http://schemas.microsoft.com/office/drawing/2014/main" id="{961E1483-9807-42E4-B215-93CDEBC14172}"/>
                </a:ext>
              </a:extLst>
            </p:cNvPr>
            <p:cNvSpPr>
              <a:spLocks/>
            </p:cNvSpPr>
            <p:nvPr/>
          </p:nvSpPr>
          <p:spPr bwMode="auto">
            <a:xfrm>
              <a:off x="12965113" y="4556126"/>
              <a:ext cx="46037" cy="49213"/>
            </a:xfrm>
            <a:custGeom>
              <a:avLst/>
              <a:gdLst>
                <a:gd name="T0" fmla="*/ 5 w 12"/>
                <a:gd name="T1" fmla="*/ 11 h 13"/>
                <a:gd name="T2" fmla="*/ 10 w 12"/>
                <a:gd name="T3" fmla="*/ 11 h 13"/>
                <a:gd name="T4" fmla="*/ 11 w 12"/>
                <a:gd name="T5" fmla="*/ 7 h 13"/>
                <a:gd name="T6" fmla="*/ 7 w 12"/>
                <a:gd name="T7" fmla="*/ 2 h 13"/>
                <a:gd name="T8" fmla="*/ 2 w 12"/>
                <a:gd name="T9" fmla="*/ 1 h 13"/>
                <a:gd name="T10" fmla="*/ 1 w 12"/>
                <a:gd name="T11" fmla="*/ 6 h 13"/>
                <a:gd name="T12" fmla="*/ 5 w 12"/>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5" y="11"/>
                  </a:moveTo>
                  <a:cubicBezTo>
                    <a:pt x="7" y="12"/>
                    <a:pt x="9" y="13"/>
                    <a:pt x="10" y="11"/>
                  </a:cubicBezTo>
                  <a:cubicBezTo>
                    <a:pt x="12" y="10"/>
                    <a:pt x="12" y="8"/>
                    <a:pt x="11" y="7"/>
                  </a:cubicBezTo>
                  <a:cubicBezTo>
                    <a:pt x="7" y="2"/>
                    <a:pt x="7" y="2"/>
                    <a:pt x="7" y="2"/>
                  </a:cubicBezTo>
                  <a:cubicBezTo>
                    <a:pt x="5" y="0"/>
                    <a:pt x="3" y="0"/>
                    <a:pt x="2" y="1"/>
                  </a:cubicBezTo>
                  <a:cubicBezTo>
                    <a:pt x="0" y="2"/>
                    <a:pt x="0" y="4"/>
                    <a:pt x="1" y="6"/>
                  </a:cubicBezTo>
                  <a:cubicBezTo>
                    <a:pt x="5" y="11"/>
                    <a:pt x="5" y="11"/>
                    <a:pt x="5" y="11"/>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4" name="Freeform 187">
              <a:extLst>
                <a:ext uri="{FF2B5EF4-FFF2-40B4-BE49-F238E27FC236}">
                  <a16:creationId xmlns:a16="http://schemas.microsoft.com/office/drawing/2014/main" id="{67DDBE5C-671C-4FC4-A55B-F1747920043D}"/>
                </a:ext>
              </a:extLst>
            </p:cNvPr>
            <p:cNvSpPr>
              <a:spLocks/>
            </p:cNvSpPr>
            <p:nvPr/>
          </p:nvSpPr>
          <p:spPr bwMode="auto">
            <a:xfrm>
              <a:off x="13149263" y="4454526"/>
              <a:ext cx="38100" cy="33338"/>
            </a:xfrm>
            <a:custGeom>
              <a:avLst/>
              <a:gdLst>
                <a:gd name="T0" fmla="*/ 0 w 10"/>
                <a:gd name="T1" fmla="*/ 8 h 9"/>
                <a:gd name="T2" fmla="*/ 2 w 10"/>
                <a:gd name="T3" fmla="*/ 8 h 9"/>
                <a:gd name="T4" fmla="*/ 9 w 10"/>
                <a:gd name="T5" fmla="*/ 2 h 9"/>
                <a:gd name="T6" fmla="*/ 10 w 10"/>
                <a:gd name="T7" fmla="*/ 1 h 9"/>
                <a:gd name="T8" fmla="*/ 8 w 10"/>
                <a:gd name="T9" fmla="*/ 0 h 9"/>
                <a:gd name="T10" fmla="*/ 1 w 10"/>
                <a:gd name="T11" fmla="*/ 6 h 9"/>
                <a:gd name="T12" fmla="*/ 0 w 10"/>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0" y="8"/>
                  </a:moveTo>
                  <a:cubicBezTo>
                    <a:pt x="1" y="8"/>
                    <a:pt x="2" y="9"/>
                    <a:pt x="2" y="8"/>
                  </a:cubicBezTo>
                  <a:cubicBezTo>
                    <a:pt x="9" y="2"/>
                    <a:pt x="9" y="2"/>
                    <a:pt x="9" y="2"/>
                  </a:cubicBezTo>
                  <a:cubicBezTo>
                    <a:pt x="10" y="2"/>
                    <a:pt x="10" y="1"/>
                    <a:pt x="10" y="1"/>
                  </a:cubicBezTo>
                  <a:cubicBezTo>
                    <a:pt x="9" y="0"/>
                    <a:pt x="8" y="0"/>
                    <a:pt x="8" y="0"/>
                  </a:cubicBezTo>
                  <a:cubicBezTo>
                    <a:pt x="1" y="6"/>
                    <a:pt x="1" y="6"/>
                    <a:pt x="1" y="6"/>
                  </a:cubicBezTo>
                  <a:cubicBezTo>
                    <a:pt x="0" y="6"/>
                    <a:pt x="0" y="7"/>
                    <a:pt x="0" y="8"/>
                  </a:cubicBezTo>
                  <a:close/>
                </a:path>
              </a:pathLst>
            </a:custGeom>
            <a:solidFill>
              <a:srgbClr val="1834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188">
              <a:extLst>
                <a:ext uri="{FF2B5EF4-FFF2-40B4-BE49-F238E27FC236}">
                  <a16:creationId xmlns:a16="http://schemas.microsoft.com/office/drawing/2014/main" id="{556A0280-8E04-402F-A8D2-3F246790290C}"/>
                </a:ext>
              </a:extLst>
            </p:cNvPr>
            <p:cNvSpPr>
              <a:spLocks/>
            </p:cNvSpPr>
            <p:nvPr/>
          </p:nvSpPr>
          <p:spPr bwMode="auto">
            <a:xfrm>
              <a:off x="12984163" y="4583113"/>
              <a:ext cx="38100" cy="30163"/>
            </a:xfrm>
            <a:custGeom>
              <a:avLst/>
              <a:gdLst>
                <a:gd name="T0" fmla="*/ 0 w 10"/>
                <a:gd name="T1" fmla="*/ 8 h 8"/>
                <a:gd name="T2" fmla="*/ 2 w 10"/>
                <a:gd name="T3" fmla="*/ 8 h 8"/>
                <a:gd name="T4" fmla="*/ 9 w 10"/>
                <a:gd name="T5" fmla="*/ 2 h 8"/>
                <a:gd name="T6" fmla="*/ 9 w 10"/>
                <a:gd name="T7" fmla="*/ 0 h 8"/>
                <a:gd name="T8" fmla="*/ 7 w 10"/>
                <a:gd name="T9" fmla="*/ 0 h 8"/>
                <a:gd name="T10" fmla="*/ 0 w 10"/>
                <a:gd name="T11" fmla="*/ 6 h 8"/>
                <a:gd name="T12" fmla="*/ 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0" y="8"/>
                  </a:moveTo>
                  <a:cubicBezTo>
                    <a:pt x="1" y="8"/>
                    <a:pt x="1" y="8"/>
                    <a:pt x="2" y="8"/>
                  </a:cubicBezTo>
                  <a:cubicBezTo>
                    <a:pt x="9" y="2"/>
                    <a:pt x="9" y="2"/>
                    <a:pt x="9" y="2"/>
                  </a:cubicBezTo>
                  <a:cubicBezTo>
                    <a:pt x="10" y="2"/>
                    <a:pt x="10" y="1"/>
                    <a:pt x="9" y="0"/>
                  </a:cubicBezTo>
                  <a:cubicBezTo>
                    <a:pt x="9" y="0"/>
                    <a:pt x="8" y="0"/>
                    <a:pt x="7" y="0"/>
                  </a:cubicBezTo>
                  <a:cubicBezTo>
                    <a:pt x="0" y="6"/>
                    <a:pt x="0" y="6"/>
                    <a:pt x="0" y="6"/>
                  </a:cubicBezTo>
                  <a:cubicBezTo>
                    <a:pt x="0" y="6"/>
                    <a:pt x="0" y="7"/>
                    <a:pt x="0" y="8"/>
                  </a:cubicBezTo>
                  <a:close/>
                </a:path>
              </a:pathLst>
            </a:custGeom>
            <a:solidFill>
              <a:srgbClr val="1834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189">
              <a:extLst>
                <a:ext uri="{FF2B5EF4-FFF2-40B4-BE49-F238E27FC236}">
                  <a16:creationId xmlns:a16="http://schemas.microsoft.com/office/drawing/2014/main" id="{98D85EBD-C03F-4F9D-BB1E-B5AF16A68DD3}"/>
                </a:ext>
              </a:extLst>
            </p:cNvPr>
            <p:cNvSpPr>
              <a:spLocks/>
            </p:cNvSpPr>
            <p:nvPr/>
          </p:nvSpPr>
          <p:spPr bwMode="auto">
            <a:xfrm>
              <a:off x="12773025" y="4308476"/>
              <a:ext cx="955675" cy="901700"/>
            </a:xfrm>
            <a:custGeom>
              <a:avLst/>
              <a:gdLst>
                <a:gd name="T0" fmla="*/ 250 w 254"/>
                <a:gd name="T1" fmla="*/ 103 h 240"/>
                <a:gd name="T2" fmla="*/ 248 w 254"/>
                <a:gd name="T3" fmla="*/ 120 h 240"/>
                <a:gd name="T4" fmla="*/ 96 w 254"/>
                <a:gd name="T5" fmla="*/ 236 h 240"/>
                <a:gd name="T6" fmla="*/ 78 w 254"/>
                <a:gd name="T7" fmla="*/ 234 h 240"/>
                <a:gd name="T8" fmla="*/ 5 w 254"/>
                <a:gd name="T9" fmla="*/ 137 h 240"/>
                <a:gd name="T10" fmla="*/ 7 w 254"/>
                <a:gd name="T11" fmla="*/ 119 h 240"/>
                <a:gd name="T12" fmla="*/ 159 w 254"/>
                <a:gd name="T13" fmla="*/ 4 h 240"/>
                <a:gd name="T14" fmla="*/ 177 w 254"/>
                <a:gd name="T15" fmla="*/ 6 h 240"/>
                <a:gd name="T16" fmla="*/ 250 w 254"/>
                <a:gd name="T17" fmla="*/ 10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40">
                  <a:moveTo>
                    <a:pt x="250" y="103"/>
                  </a:moveTo>
                  <a:cubicBezTo>
                    <a:pt x="254" y="108"/>
                    <a:pt x="253" y="116"/>
                    <a:pt x="248" y="120"/>
                  </a:cubicBezTo>
                  <a:cubicBezTo>
                    <a:pt x="96" y="236"/>
                    <a:pt x="96" y="236"/>
                    <a:pt x="96" y="236"/>
                  </a:cubicBezTo>
                  <a:cubicBezTo>
                    <a:pt x="90" y="240"/>
                    <a:pt x="82" y="239"/>
                    <a:pt x="78" y="234"/>
                  </a:cubicBezTo>
                  <a:cubicBezTo>
                    <a:pt x="5" y="137"/>
                    <a:pt x="5" y="137"/>
                    <a:pt x="5" y="137"/>
                  </a:cubicBezTo>
                  <a:cubicBezTo>
                    <a:pt x="0" y="131"/>
                    <a:pt x="2" y="124"/>
                    <a:pt x="7" y="119"/>
                  </a:cubicBezTo>
                  <a:cubicBezTo>
                    <a:pt x="159" y="4"/>
                    <a:pt x="159" y="4"/>
                    <a:pt x="159" y="4"/>
                  </a:cubicBezTo>
                  <a:cubicBezTo>
                    <a:pt x="165" y="0"/>
                    <a:pt x="173" y="1"/>
                    <a:pt x="177" y="6"/>
                  </a:cubicBezTo>
                  <a:cubicBezTo>
                    <a:pt x="250" y="103"/>
                    <a:pt x="250" y="103"/>
                    <a:pt x="250" y="103"/>
                  </a:cubicBez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190">
              <a:extLst>
                <a:ext uri="{FF2B5EF4-FFF2-40B4-BE49-F238E27FC236}">
                  <a16:creationId xmlns:a16="http://schemas.microsoft.com/office/drawing/2014/main" id="{6A2FB4C5-E118-4A5B-93AD-21901A3F5368}"/>
                </a:ext>
              </a:extLst>
            </p:cNvPr>
            <p:cNvSpPr>
              <a:spLocks/>
            </p:cNvSpPr>
            <p:nvPr/>
          </p:nvSpPr>
          <p:spPr bwMode="auto">
            <a:xfrm>
              <a:off x="12780963" y="4311651"/>
              <a:ext cx="941387" cy="892175"/>
            </a:xfrm>
            <a:custGeom>
              <a:avLst/>
              <a:gdLst>
                <a:gd name="T0" fmla="*/ 246 w 250"/>
                <a:gd name="T1" fmla="*/ 102 h 237"/>
                <a:gd name="T2" fmla="*/ 243 w 250"/>
                <a:gd name="T3" fmla="*/ 119 h 237"/>
                <a:gd name="T4" fmla="*/ 94 w 250"/>
                <a:gd name="T5" fmla="*/ 233 h 237"/>
                <a:gd name="T6" fmla="*/ 77 w 250"/>
                <a:gd name="T7" fmla="*/ 230 h 237"/>
                <a:gd name="T8" fmla="*/ 5 w 250"/>
                <a:gd name="T9" fmla="*/ 135 h 237"/>
                <a:gd name="T10" fmla="*/ 7 w 250"/>
                <a:gd name="T11" fmla="*/ 117 h 237"/>
                <a:gd name="T12" fmla="*/ 156 w 250"/>
                <a:gd name="T13" fmla="*/ 4 h 237"/>
                <a:gd name="T14" fmla="*/ 173 w 250"/>
                <a:gd name="T15" fmla="*/ 7 h 237"/>
                <a:gd name="T16" fmla="*/ 246 w 250"/>
                <a:gd name="T17" fmla="*/ 102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237">
                  <a:moveTo>
                    <a:pt x="246" y="102"/>
                  </a:moveTo>
                  <a:cubicBezTo>
                    <a:pt x="250" y="108"/>
                    <a:pt x="249" y="115"/>
                    <a:pt x="243" y="119"/>
                  </a:cubicBezTo>
                  <a:cubicBezTo>
                    <a:pt x="94" y="233"/>
                    <a:pt x="94" y="233"/>
                    <a:pt x="94" y="233"/>
                  </a:cubicBezTo>
                  <a:cubicBezTo>
                    <a:pt x="89" y="237"/>
                    <a:pt x="81" y="236"/>
                    <a:pt x="77" y="230"/>
                  </a:cubicBezTo>
                  <a:cubicBezTo>
                    <a:pt x="5" y="135"/>
                    <a:pt x="5" y="135"/>
                    <a:pt x="5" y="135"/>
                  </a:cubicBezTo>
                  <a:cubicBezTo>
                    <a:pt x="0" y="129"/>
                    <a:pt x="2" y="122"/>
                    <a:pt x="7" y="117"/>
                  </a:cubicBezTo>
                  <a:cubicBezTo>
                    <a:pt x="156" y="4"/>
                    <a:pt x="156" y="4"/>
                    <a:pt x="156" y="4"/>
                  </a:cubicBezTo>
                  <a:cubicBezTo>
                    <a:pt x="161" y="0"/>
                    <a:pt x="169" y="1"/>
                    <a:pt x="173" y="7"/>
                  </a:cubicBezTo>
                  <a:cubicBezTo>
                    <a:pt x="246" y="102"/>
                    <a:pt x="246" y="102"/>
                    <a:pt x="246" y="102"/>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191">
              <a:extLst>
                <a:ext uri="{FF2B5EF4-FFF2-40B4-BE49-F238E27FC236}">
                  <a16:creationId xmlns:a16="http://schemas.microsoft.com/office/drawing/2014/main" id="{B14B2EE6-C324-4FFF-A248-C797F9B38354}"/>
                </a:ext>
              </a:extLst>
            </p:cNvPr>
            <p:cNvSpPr>
              <a:spLocks/>
            </p:cNvSpPr>
            <p:nvPr/>
          </p:nvSpPr>
          <p:spPr bwMode="auto">
            <a:xfrm>
              <a:off x="12811125" y="4344988"/>
              <a:ext cx="779462" cy="685800"/>
            </a:xfrm>
            <a:custGeom>
              <a:avLst/>
              <a:gdLst>
                <a:gd name="T0" fmla="*/ 0 w 491"/>
                <a:gd name="T1" fmla="*/ 285 h 432"/>
                <a:gd name="T2" fmla="*/ 377 w 491"/>
                <a:gd name="T3" fmla="*/ 0 h 432"/>
                <a:gd name="T4" fmla="*/ 491 w 491"/>
                <a:gd name="T5" fmla="*/ 152 h 432"/>
                <a:gd name="T6" fmla="*/ 327 w 491"/>
                <a:gd name="T7" fmla="*/ 254 h 432"/>
                <a:gd name="T8" fmla="*/ 261 w 491"/>
                <a:gd name="T9" fmla="*/ 306 h 432"/>
                <a:gd name="T10" fmla="*/ 111 w 491"/>
                <a:gd name="T11" fmla="*/ 432 h 432"/>
                <a:gd name="T12" fmla="*/ 0 w 491"/>
                <a:gd name="T13" fmla="*/ 285 h 432"/>
                <a:gd name="T14" fmla="*/ 0 w 491"/>
                <a:gd name="T15" fmla="*/ 285 h 4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1" h="432">
                  <a:moveTo>
                    <a:pt x="0" y="285"/>
                  </a:moveTo>
                  <a:lnTo>
                    <a:pt x="377" y="0"/>
                  </a:lnTo>
                  <a:lnTo>
                    <a:pt x="491" y="152"/>
                  </a:lnTo>
                  <a:lnTo>
                    <a:pt x="327" y="254"/>
                  </a:lnTo>
                  <a:lnTo>
                    <a:pt x="261" y="306"/>
                  </a:lnTo>
                  <a:lnTo>
                    <a:pt x="111" y="432"/>
                  </a:lnTo>
                  <a:lnTo>
                    <a:pt x="0" y="285"/>
                  </a:lnTo>
                  <a:lnTo>
                    <a:pt x="0" y="285"/>
                  </a:lnTo>
                  <a:close/>
                </a:path>
              </a:pathLst>
            </a:custGeom>
            <a:solidFill>
              <a:srgbClr val="4701A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192">
              <a:extLst>
                <a:ext uri="{FF2B5EF4-FFF2-40B4-BE49-F238E27FC236}">
                  <a16:creationId xmlns:a16="http://schemas.microsoft.com/office/drawing/2014/main" id="{6FA80499-A327-49A3-AC7C-4CFB6AA87409}"/>
                </a:ext>
              </a:extLst>
            </p:cNvPr>
            <p:cNvSpPr>
              <a:spLocks/>
            </p:cNvSpPr>
            <p:nvPr/>
          </p:nvSpPr>
          <p:spPr bwMode="auto">
            <a:xfrm>
              <a:off x="12766675" y="4297363"/>
              <a:ext cx="812800" cy="706438"/>
            </a:xfrm>
            <a:custGeom>
              <a:avLst/>
              <a:gdLst>
                <a:gd name="T0" fmla="*/ 214 w 216"/>
                <a:gd name="T1" fmla="*/ 53 h 188"/>
                <a:gd name="T2" fmla="*/ 208 w 216"/>
                <a:gd name="T3" fmla="*/ 66 h 188"/>
                <a:gd name="T4" fmla="*/ 54 w 216"/>
                <a:gd name="T5" fmla="*/ 183 h 188"/>
                <a:gd name="T6" fmla="*/ 40 w 216"/>
                <a:gd name="T7" fmla="*/ 185 h 188"/>
                <a:gd name="T8" fmla="*/ 2 w 216"/>
                <a:gd name="T9" fmla="*/ 135 h 188"/>
                <a:gd name="T10" fmla="*/ 8 w 216"/>
                <a:gd name="T11" fmla="*/ 122 h 188"/>
                <a:gd name="T12" fmla="*/ 162 w 216"/>
                <a:gd name="T13" fmla="*/ 6 h 188"/>
                <a:gd name="T14" fmla="*/ 176 w 216"/>
                <a:gd name="T15" fmla="*/ 3 h 188"/>
                <a:gd name="T16" fmla="*/ 214 w 216"/>
                <a:gd name="T17" fmla="*/ 5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88">
                  <a:moveTo>
                    <a:pt x="214" y="53"/>
                  </a:moveTo>
                  <a:cubicBezTo>
                    <a:pt x="216" y="56"/>
                    <a:pt x="214" y="62"/>
                    <a:pt x="208" y="66"/>
                  </a:cubicBezTo>
                  <a:cubicBezTo>
                    <a:pt x="54" y="183"/>
                    <a:pt x="54" y="183"/>
                    <a:pt x="54" y="183"/>
                  </a:cubicBezTo>
                  <a:cubicBezTo>
                    <a:pt x="49" y="187"/>
                    <a:pt x="42" y="188"/>
                    <a:pt x="40" y="185"/>
                  </a:cubicBezTo>
                  <a:cubicBezTo>
                    <a:pt x="2" y="135"/>
                    <a:pt x="2" y="135"/>
                    <a:pt x="2" y="135"/>
                  </a:cubicBezTo>
                  <a:cubicBezTo>
                    <a:pt x="0" y="132"/>
                    <a:pt x="3" y="127"/>
                    <a:pt x="8" y="122"/>
                  </a:cubicBezTo>
                  <a:cubicBezTo>
                    <a:pt x="162" y="6"/>
                    <a:pt x="162" y="6"/>
                    <a:pt x="162" y="6"/>
                  </a:cubicBezTo>
                  <a:cubicBezTo>
                    <a:pt x="168" y="1"/>
                    <a:pt x="174" y="0"/>
                    <a:pt x="176" y="3"/>
                  </a:cubicBezTo>
                  <a:cubicBezTo>
                    <a:pt x="214" y="53"/>
                    <a:pt x="214" y="53"/>
                    <a:pt x="214" y="53"/>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0" name="Freeform 193">
              <a:extLst>
                <a:ext uri="{FF2B5EF4-FFF2-40B4-BE49-F238E27FC236}">
                  <a16:creationId xmlns:a16="http://schemas.microsoft.com/office/drawing/2014/main" id="{CD400B96-D1C7-46A5-967D-AD05947199B2}"/>
                </a:ext>
              </a:extLst>
            </p:cNvPr>
            <p:cNvSpPr>
              <a:spLocks/>
            </p:cNvSpPr>
            <p:nvPr/>
          </p:nvSpPr>
          <p:spPr bwMode="auto">
            <a:xfrm>
              <a:off x="13203238" y="4718051"/>
              <a:ext cx="149225" cy="139700"/>
            </a:xfrm>
            <a:custGeom>
              <a:avLst/>
              <a:gdLst>
                <a:gd name="T0" fmla="*/ 7 w 40"/>
                <a:gd name="T1" fmla="*/ 34 h 37"/>
                <a:gd name="T2" fmla="*/ 15 w 40"/>
                <a:gd name="T3" fmla="*/ 35 h 37"/>
                <a:gd name="T4" fmla="*/ 36 w 40"/>
                <a:gd name="T5" fmla="*/ 19 h 37"/>
                <a:gd name="T6" fmla="*/ 38 w 40"/>
                <a:gd name="T7" fmla="*/ 11 h 37"/>
                <a:gd name="T8" fmla="*/ 32 w 40"/>
                <a:gd name="T9" fmla="*/ 3 h 37"/>
                <a:gd name="T10" fmla="*/ 24 w 40"/>
                <a:gd name="T11" fmla="*/ 2 h 37"/>
                <a:gd name="T12" fmla="*/ 3 w 40"/>
                <a:gd name="T13" fmla="*/ 18 h 37"/>
                <a:gd name="T14" fmla="*/ 2 w 40"/>
                <a:gd name="T15" fmla="*/ 26 h 37"/>
                <a:gd name="T16" fmla="*/ 7 w 40"/>
                <a:gd name="T1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7">
                  <a:moveTo>
                    <a:pt x="7" y="34"/>
                  </a:moveTo>
                  <a:cubicBezTo>
                    <a:pt x="9" y="36"/>
                    <a:pt x="13" y="37"/>
                    <a:pt x="15" y="35"/>
                  </a:cubicBezTo>
                  <a:cubicBezTo>
                    <a:pt x="36" y="19"/>
                    <a:pt x="36" y="19"/>
                    <a:pt x="36" y="19"/>
                  </a:cubicBezTo>
                  <a:cubicBezTo>
                    <a:pt x="39" y="17"/>
                    <a:pt x="40" y="13"/>
                    <a:pt x="38" y="11"/>
                  </a:cubicBezTo>
                  <a:cubicBezTo>
                    <a:pt x="32" y="3"/>
                    <a:pt x="32" y="3"/>
                    <a:pt x="32" y="3"/>
                  </a:cubicBezTo>
                  <a:cubicBezTo>
                    <a:pt x="30" y="1"/>
                    <a:pt x="26" y="0"/>
                    <a:pt x="24" y="2"/>
                  </a:cubicBezTo>
                  <a:cubicBezTo>
                    <a:pt x="3" y="18"/>
                    <a:pt x="3" y="18"/>
                    <a:pt x="3" y="18"/>
                  </a:cubicBezTo>
                  <a:cubicBezTo>
                    <a:pt x="0" y="20"/>
                    <a:pt x="0" y="24"/>
                    <a:pt x="2" y="26"/>
                  </a:cubicBezTo>
                  <a:cubicBezTo>
                    <a:pt x="7" y="34"/>
                    <a:pt x="7" y="34"/>
                    <a:pt x="7" y="34"/>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1" name="Freeform 194">
              <a:extLst>
                <a:ext uri="{FF2B5EF4-FFF2-40B4-BE49-F238E27FC236}">
                  <a16:creationId xmlns:a16="http://schemas.microsoft.com/office/drawing/2014/main" id="{209144A9-ED07-434B-A181-F1FFF6B36457}"/>
                </a:ext>
              </a:extLst>
            </p:cNvPr>
            <p:cNvSpPr>
              <a:spLocks/>
            </p:cNvSpPr>
            <p:nvPr/>
          </p:nvSpPr>
          <p:spPr bwMode="auto">
            <a:xfrm>
              <a:off x="13187363" y="4703763"/>
              <a:ext cx="158750" cy="146050"/>
            </a:xfrm>
            <a:custGeom>
              <a:avLst/>
              <a:gdLst>
                <a:gd name="T0" fmla="*/ 9 w 42"/>
                <a:gd name="T1" fmla="*/ 35 h 39"/>
                <a:gd name="T2" fmla="*/ 18 w 42"/>
                <a:gd name="T3" fmla="*/ 37 h 39"/>
                <a:gd name="T4" fmla="*/ 39 w 42"/>
                <a:gd name="T5" fmla="*/ 21 h 39"/>
                <a:gd name="T6" fmla="*/ 39 w 42"/>
                <a:gd name="T7" fmla="*/ 12 h 39"/>
                <a:gd name="T8" fmla="*/ 33 w 42"/>
                <a:gd name="T9" fmla="*/ 3 h 39"/>
                <a:gd name="T10" fmla="*/ 24 w 42"/>
                <a:gd name="T11" fmla="*/ 2 h 39"/>
                <a:gd name="T12" fmla="*/ 3 w 42"/>
                <a:gd name="T13" fmla="*/ 17 h 39"/>
                <a:gd name="T14" fmla="*/ 3 w 42"/>
                <a:gd name="T15" fmla="*/ 26 h 39"/>
                <a:gd name="T16" fmla="*/ 9 w 42"/>
                <a:gd name="T17" fmla="*/ 3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9">
                  <a:moveTo>
                    <a:pt x="9" y="35"/>
                  </a:moveTo>
                  <a:cubicBezTo>
                    <a:pt x="11" y="38"/>
                    <a:pt x="15" y="39"/>
                    <a:pt x="18" y="37"/>
                  </a:cubicBezTo>
                  <a:cubicBezTo>
                    <a:pt x="39" y="21"/>
                    <a:pt x="39" y="21"/>
                    <a:pt x="39" y="21"/>
                  </a:cubicBezTo>
                  <a:cubicBezTo>
                    <a:pt x="41" y="19"/>
                    <a:pt x="42" y="15"/>
                    <a:pt x="39" y="12"/>
                  </a:cubicBezTo>
                  <a:cubicBezTo>
                    <a:pt x="33" y="3"/>
                    <a:pt x="33" y="3"/>
                    <a:pt x="33" y="3"/>
                  </a:cubicBezTo>
                  <a:cubicBezTo>
                    <a:pt x="31" y="0"/>
                    <a:pt x="27" y="0"/>
                    <a:pt x="24" y="2"/>
                  </a:cubicBezTo>
                  <a:cubicBezTo>
                    <a:pt x="3" y="17"/>
                    <a:pt x="3" y="17"/>
                    <a:pt x="3" y="17"/>
                  </a:cubicBezTo>
                  <a:cubicBezTo>
                    <a:pt x="1" y="19"/>
                    <a:pt x="0" y="23"/>
                    <a:pt x="3" y="26"/>
                  </a:cubicBezTo>
                  <a:cubicBezTo>
                    <a:pt x="9" y="35"/>
                    <a:pt x="9" y="35"/>
                    <a:pt x="9"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2" name="Freeform 195">
              <a:extLst>
                <a:ext uri="{FF2B5EF4-FFF2-40B4-BE49-F238E27FC236}">
                  <a16:creationId xmlns:a16="http://schemas.microsoft.com/office/drawing/2014/main" id="{A696D323-5372-4708-8FA0-BFF0DBD0C8B9}"/>
                </a:ext>
              </a:extLst>
            </p:cNvPr>
            <p:cNvSpPr>
              <a:spLocks/>
            </p:cNvSpPr>
            <p:nvPr/>
          </p:nvSpPr>
          <p:spPr bwMode="auto">
            <a:xfrm>
              <a:off x="12946063" y="4364038"/>
              <a:ext cx="200025" cy="211138"/>
            </a:xfrm>
            <a:custGeom>
              <a:avLst/>
              <a:gdLst>
                <a:gd name="T0" fmla="*/ 1 w 53"/>
                <a:gd name="T1" fmla="*/ 50 h 56"/>
                <a:gd name="T2" fmla="*/ 3 w 53"/>
                <a:gd name="T3" fmla="*/ 41 h 56"/>
                <a:gd name="T4" fmla="*/ 3 w 53"/>
                <a:gd name="T5" fmla="*/ 31 h 56"/>
                <a:gd name="T6" fmla="*/ 10 w 53"/>
                <a:gd name="T7" fmla="*/ 19 h 56"/>
                <a:gd name="T8" fmla="*/ 7 w 53"/>
                <a:gd name="T9" fmla="*/ 15 h 56"/>
                <a:gd name="T10" fmla="*/ 22 w 53"/>
                <a:gd name="T11" fmla="*/ 0 h 56"/>
                <a:gd name="T12" fmla="*/ 27 w 53"/>
                <a:gd name="T13" fmla="*/ 5 h 56"/>
                <a:gd name="T14" fmla="*/ 37 w 53"/>
                <a:gd name="T15" fmla="*/ 8 h 56"/>
                <a:gd name="T16" fmla="*/ 41 w 53"/>
                <a:gd name="T17" fmla="*/ 13 h 56"/>
                <a:gd name="T18" fmla="*/ 43 w 53"/>
                <a:gd name="T19" fmla="*/ 16 h 56"/>
                <a:gd name="T20" fmla="*/ 51 w 53"/>
                <a:gd name="T21" fmla="*/ 25 h 56"/>
                <a:gd name="T22" fmla="*/ 51 w 53"/>
                <a:gd name="T23" fmla="*/ 26 h 56"/>
                <a:gd name="T24" fmla="*/ 51 w 53"/>
                <a:gd name="T25" fmla="*/ 30 h 56"/>
                <a:gd name="T26" fmla="*/ 49 w 53"/>
                <a:gd name="T27" fmla="*/ 32 h 56"/>
                <a:gd name="T28" fmla="*/ 45 w 53"/>
                <a:gd name="T29" fmla="*/ 31 h 56"/>
                <a:gd name="T30" fmla="*/ 45 w 53"/>
                <a:gd name="T31" fmla="*/ 31 h 56"/>
                <a:gd name="T32" fmla="*/ 45 w 53"/>
                <a:gd name="T33" fmla="*/ 32 h 56"/>
                <a:gd name="T34" fmla="*/ 45 w 53"/>
                <a:gd name="T35" fmla="*/ 37 h 56"/>
                <a:gd name="T36" fmla="*/ 42 w 53"/>
                <a:gd name="T37" fmla="*/ 39 h 56"/>
                <a:gd name="T38" fmla="*/ 38 w 53"/>
                <a:gd name="T39" fmla="*/ 38 h 56"/>
                <a:gd name="T40" fmla="*/ 38 w 53"/>
                <a:gd name="T41" fmla="*/ 38 h 56"/>
                <a:gd name="T42" fmla="*/ 38 w 53"/>
                <a:gd name="T43" fmla="*/ 39 h 56"/>
                <a:gd name="T44" fmla="*/ 39 w 53"/>
                <a:gd name="T45" fmla="*/ 43 h 56"/>
                <a:gd name="T46" fmla="*/ 36 w 53"/>
                <a:gd name="T47" fmla="*/ 46 h 56"/>
                <a:gd name="T48" fmla="*/ 31 w 53"/>
                <a:gd name="T49" fmla="*/ 44 h 56"/>
                <a:gd name="T50" fmla="*/ 31 w 53"/>
                <a:gd name="T51" fmla="*/ 44 h 56"/>
                <a:gd name="T52" fmla="*/ 31 w 53"/>
                <a:gd name="T53" fmla="*/ 44 h 56"/>
                <a:gd name="T54" fmla="*/ 32 w 53"/>
                <a:gd name="T55" fmla="*/ 46 h 56"/>
                <a:gd name="T56" fmla="*/ 32 w 53"/>
                <a:gd name="T57" fmla="*/ 50 h 56"/>
                <a:gd name="T58" fmla="*/ 29 w 53"/>
                <a:gd name="T59" fmla="*/ 53 h 56"/>
                <a:gd name="T60" fmla="*/ 25 w 53"/>
                <a:gd name="T61" fmla="*/ 51 h 56"/>
                <a:gd name="T62" fmla="*/ 23 w 53"/>
                <a:gd name="T63" fmla="*/ 49 h 56"/>
                <a:gd name="T64" fmla="*/ 15 w 53"/>
                <a:gd name="T65" fmla="*/ 39 h 56"/>
                <a:gd name="T66" fmla="*/ 13 w 53"/>
                <a:gd name="T67" fmla="*/ 40 h 56"/>
                <a:gd name="T68" fmla="*/ 12 w 53"/>
                <a:gd name="T69" fmla="*/ 44 h 56"/>
                <a:gd name="T70" fmla="*/ 1 w 53"/>
                <a:gd name="T71" fmla="*/ 5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56">
                  <a:moveTo>
                    <a:pt x="1" y="50"/>
                  </a:moveTo>
                  <a:cubicBezTo>
                    <a:pt x="3" y="41"/>
                    <a:pt x="3" y="41"/>
                    <a:pt x="3" y="41"/>
                  </a:cubicBezTo>
                  <a:cubicBezTo>
                    <a:pt x="3" y="31"/>
                    <a:pt x="3" y="31"/>
                    <a:pt x="3" y="31"/>
                  </a:cubicBezTo>
                  <a:cubicBezTo>
                    <a:pt x="10" y="19"/>
                    <a:pt x="10" y="19"/>
                    <a:pt x="10" y="19"/>
                  </a:cubicBezTo>
                  <a:cubicBezTo>
                    <a:pt x="7" y="15"/>
                    <a:pt x="7" y="15"/>
                    <a:pt x="7" y="15"/>
                  </a:cubicBezTo>
                  <a:cubicBezTo>
                    <a:pt x="22" y="0"/>
                    <a:pt x="22" y="0"/>
                    <a:pt x="22" y="0"/>
                  </a:cubicBezTo>
                  <a:cubicBezTo>
                    <a:pt x="27" y="5"/>
                    <a:pt x="27" y="5"/>
                    <a:pt x="27" y="5"/>
                  </a:cubicBezTo>
                  <a:cubicBezTo>
                    <a:pt x="37" y="8"/>
                    <a:pt x="37" y="8"/>
                    <a:pt x="37" y="8"/>
                  </a:cubicBezTo>
                  <a:cubicBezTo>
                    <a:pt x="41" y="13"/>
                    <a:pt x="41" y="13"/>
                    <a:pt x="41" y="13"/>
                  </a:cubicBezTo>
                  <a:cubicBezTo>
                    <a:pt x="43" y="16"/>
                    <a:pt x="43" y="16"/>
                    <a:pt x="43" y="16"/>
                  </a:cubicBezTo>
                  <a:cubicBezTo>
                    <a:pt x="51" y="25"/>
                    <a:pt x="51" y="25"/>
                    <a:pt x="51" y="25"/>
                  </a:cubicBezTo>
                  <a:cubicBezTo>
                    <a:pt x="51" y="26"/>
                    <a:pt x="51" y="26"/>
                    <a:pt x="51" y="26"/>
                  </a:cubicBezTo>
                  <a:cubicBezTo>
                    <a:pt x="52" y="27"/>
                    <a:pt x="53" y="29"/>
                    <a:pt x="51" y="30"/>
                  </a:cubicBezTo>
                  <a:cubicBezTo>
                    <a:pt x="49" y="32"/>
                    <a:pt x="49" y="32"/>
                    <a:pt x="49" y="32"/>
                  </a:cubicBezTo>
                  <a:cubicBezTo>
                    <a:pt x="48" y="33"/>
                    <a:pt x="46" y="32"/>
                    <a:pt x="45" y="31"/>
                  </a:cubicBezTo>
                  <a:cubicBezTo>
                    <a:pt x="45" y="31"/>
                    <a:pt x="45" y="31"/>
                    <a:pt x="45" y="31"/>
                  </a:cubicBezTo>
                  <a:cubicBezTo>
                    <a:pt x="45" y="32"/>
                    <a:pt x="45" y="32"/>
                    <a:pt x="45" y="32"/>
                  </a:cubicBezTo>
                  <a:cubicBezTo>
                    <a:pt x="46" y="33"/>
                    <a:pt x="46" y="36"/>
                    <a:pt x="45" y="37"/>
                  </a:cubicBezTo>
                  <a:cubicBezTo>
                    <a:pt x="42" y="39"/>
                    <a:pt x="42" y="39"/>
                    <a:pt x="42" y="39"/>
                  </a:cubicBezTo>
                  <a:cubicBezTo>
                    <a:pt x="41" y="40"/>
                    <a:pt x="39" y="39"/>
                    <a:pt x="38" y="38"/>
                  </a:cubicBezTo>
                  <a:cubicBezTo>
                    <a:pt x="38" y="38"/>
                    <a:pt x="38" y="38"/>
                    <a:pt x="38" y="38"/>
                  </a:cubicBezTo>
                  <a:cubicBezTo>
                    <a:pt x="38" y="39"/>
                    <a:pt x="38" y="39"/>
                    <a:pt x="38" y="39"/>
                  </a:cubicBezTo>
                  <a:cubicBezTo>
                    <a:pt x="40" y="40"/>
                    <a:pt x="40" y="43"/>
                    <a:pt x="39" y="43"/>
                  </a:cubicBezTo>
                  <a:cubicBezTo>
                    <a:pt x="36" y="46"/>
                    <a:pt x="36" y="46"/>
                    <a:pt x="36" y="46"/>
                  </a:cubicBezTo>
                  <a:cubicBezTo>
                    <a:pt x="35" y="47"/>
                    <a:pt x="33" y="46"/>
                    <a:pt x="31" y="44"/>
                  </a:cubicBezTo>
                  <a:cubicBezTo>
                    <a:pt x="31" y="44"/>
                    <a:pt x="31" y="44"/>
                    <a:pt x="31" y="44"/>
                  </a:cubicBezTo>
                  <a:cubicBezTo>
                    <a:pt x="31" y="44"/>
                    <a:pt x="31" y="44"/>
                    <a:pt x="31" y="44"/>
                  </a:cubicBezTo>
                  <a:cubicBezTo>
                    <a:pt x="32" y="46"/>
                    <a:pt x="32" y="46"/>
                    <a:pt x="32" y="46"/>
                  </a:cubicBezTo>
                  <a:cubicBezTo>
                    <a:pt x="33" y="47"/>
                    <a:pt x="33" y="49"/>
                    <a:pt x="32" y="50"/>
                  </a:cubicBezTo>
                  <a:cubicBezTo>
                    <a:pt x="29" y="53"/>
                    <a:pt x="29" y="53"/>
                    <a:pt x="29" y="53"/>
                  </a:cubicBezTo>
                  <a:cubicBezTo>
                    <a:pt x="28" y="53"/>
                    <a:pt x="26" y="53"/>
                    <a:pt x="25" y="51"/>
                  </a:cubicBezTo>
                  <a:cubicBezTo>
                    <a:pt x="23" y="49"/>
                    <a:pt x="23" y="49"/>
                    <a:pt x="23" y="49"/>
                  </a:cubicBezTo>
                  <a:cubicBezTo>
                    <a:pt x="15" y="39"/>
                    <a:pt x="15" y="39"/>
                    <a:pt x="15" y="39"/>
                  </a:cubicBezTo>
                  <a:cubicBezTo>
                    <a:pt x="13" y="40"/>
                    <a:pt x="13" y="40"/>
                    <a:pt x="13" y="40"/>
                  </a:cubicBezTo>
                  <a:cubicBezTo>
                    <a:pt x="12" y="44"/>
                    <a:pt x="12" y="44"/>
                    <a:pt x="12" y="44"/>
                  </a:cubicBezTo>
                  <a:cubicBezTo>
                    <a:pt x="7" y="56"/>
                    <a:pt x="0" y="51"/>
                    <a:pt x="1" y="50"/>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3" name="Freeform 196">
              <a:extLst>
                <a:ext uri="{FF2B5EF4-FFF2-40B4-BE49-F238E27FC236}">
                  <a16:creationId xmlns:a16="http://schemas.microsoft.com/office/drawing/2014/main" id="{CB5E4528-07C5-4490-9FC5-86D94C284FD1}"/>
                </a:ext>
              </a:extLst>
            </p:cNvPr>
            <p:cNvSpPr>
              <a:spLocks noEditPoints="1"/>
            </p:cNvSpPr>
            <p:nvPr/>
          </p:nvSpPr>
          <p:spPr bwMode="auto">
            <a:xfrm>
              <a:off x="10775950" y="3273426"/>
              <a:ext cx="187325" cy="233363"/>
            </a:xfrm>
            <a:custGeom>
              <a:avLst/>
              <a:gdLst>
                <a:gd name="T0" fmla="*/ 34 w 50"/>
                <a:gd name="T1" fmla="*/ 62 h 62"/>
                <a:gd name="T2" fmla="*/ 22 w 50"/>
                <a:gd name="T3" fmla="*/ 46 h 62"/>
                <a:gd name="T4" fmla="*/ 22 w 50"/>
                <a:gd name="T5" fmla="*/ 46 h 62"/>
                <a:gd name="T6" fmla="*/ 32 w 50"/>
                <a:gd name="T7" fmla="*/ 30 h 62"/>
                <a:gd name="T8" fmla="*/ 38 w 50"/>
                <a:gd name="T9" fmla="*/ 20 h 62"/>
                <a:gd name="T10" fmla="*/ 42 w 50"/>
                <a:gd name="T11" fmla="*/ 13 h 62"/>
                <a:gd name="T12" fmla="*/ 43 w 50"/>
                <a:gd name="T13" fmla="*/ 14 h 62"/>
                <a:gd name="T14" fmla="*/ 44 w 50"/>
                <a:gd name="T15" fmla="*/ 23 h 62"/>
                <a:gd name="T16" fmla="*/ 40 w 50"/>
                <a:gd name="T17" fmla="*/ 36 h 62"/>
                <a:gd name="T18" fmla="*/ 50 w 50"/>
                <a:gd name="T19" fmla="*/ 51 h 62"/>
                <a:gd name="T20" fmla="*/ 34 w 50"/>
                <a:gd name="T21" fmla="*/ 62 h 62"/>
                <a:gd name="T22" fmla="*/ 7 w 50"/>
                <a:gd name="T23" fmla="*/ 33 h 62"/>
                <a:gd name="T24" fmla="*/ 3 w 50"/>
                <a:gd name="T25" fmla="*/ 29 h 62"/>
                <a:gd name="T26" fmla="*/ 0 w 50"/>
                <a:gd name="T27" fmla="*/ 24 h 62"/>
                <a:gd name="T28" fmla="*/ 0 w 50"/>
                <a:gd name="T29" fmla="*/ 24 h 62"/>
                <a:gd name="T30" fmla="*/ 8 w 50"/>
                <a:gd name="T31" fmla="*/ 31 h 62"/>
                <a:gd name="T32" fmla="*/ 7 w 50"/>
                <a:gd name="T33" fmla="*/ 33 h 62"/>
                <a:gd name="T34" fmla="*/ 0 w 50"/>
                <a:gd name="T35" fmla="*/ 24 h 62"/>
                <a:gd name="T36" fmla="*/ 0 w 50"/>
                <a:gd name="T37" fmla="*/ 23 h 62"/>
                <a:gd name="T38" fmla="*/ 2 w 50"/>
                <a:gd name="T39" fmla="*/ 19 h 62"/>
                <a:gd name="T40" fmla="*/ 0 w 50"/>
                <a:gd name="T41" fmla="*/ 24 h 62"/>
                <a:gd name="T42" fmla="*/ 5 w 50"/>
                <a:gd name="T43" fmla="*/ 16 h 62"/>
                <a:gd name="T44" fmla="*/ 10 w 50"/>
                <a:gd name="T45" fmla="*/ 11 h 62"/>
                <a:gd name="T46" fmla="*/ 5 w 50"/>
                <a:gd name="T47" fmla="*/ 16 h 62"/>
                <a:gd name="T48" fmla="*/ 12 w 50"/>
                <a:gd name="T49" fmla="*/ 10 h 62"/>
                <a:gd name="T50" fmla="*/ 12 w 50"/>
                <a:gd name="T51" fmla="*/ 10 h 62"/>
                <a:gd name="T52" fmla="*/ 19 w 50"/>
                <a:gd name="T53" fmla="*/ 4 h 62"/>
                <a:gd name="T54" fmla="*/ 12 w 50"/>
                <a:gd name="T55" fmla="*/ 10 h 62"/>
                <a:gd name="T56" fmla="*/ 22 w 50"/>
                <a:gd name="T57" fmla="*/ 3 h 62"/>
                <a:gd name="T58" fmla="*/ 25 w 50"/>
                <a:gd name="T59" fmla="*/ 1 h 62"/>
                <a:gd name="T60" fmla="*/ 28 w 50"/>
                <a:gd name="T61" fmla="*/ 0 h 62"/>
                <a:gd name="T62" fmla="*/ 30 w 50"/>
                <a:gd name="T63" fmla="*/ 0 h 62"/>
                <a:gd name="T64" fmla="*/ 29 w 50"/>
                <a:gd name="T65" fmla="*/ 1 h 62"/>
                <a:gd name="T66" fmla="*/ 22 w 50"/>
                <a:gd name="T67" fmla="*/ 3 h 62"/>
                <a:gd name="T68" fmla="*/ 22 w 50"/>
                <a:gd name="T69" fmla="*/ 3 h 62"/>
                <a:gd name="T70" fmla="*/ 22 w 50"/>
                <a:gd name="T71"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62">
                  <a:moveTo>
                    <a:pt x="34" y="62"/>
                  </a:moveTo>
                  <a:cubicBezTo>
                    <a:pt x="31" y="58"/>
                    <a:pt x="25" y="49"/>
                    <a:pt x="22" y="46"/>
                  </a:cubicBezTo>
                  <a:cubicBezTo>
                    <a:pt x="22" y="46"/>
                    <a:pt x="22" y="46"/>
                    <a:pt x="22" y="46"/>
                  </a:cubicBezTo>
                  <a:cubicBezTo>
                    <a:pt x="32" y="30"/>
                    <a:pt x="32" y="30"/>
                    <a:pt x="32" y="30"/>
                  </a:cubicBezTo>
                  <a:cubicBezTo>
                    <a:pt x="35" y="26"/>
                    <a:pt x="37" y="22"/>
                    <a:pt x="38" y="20"/>
                  </a:cubicBezTo>
                  <a:cubicBezTo>
                    <a:pt x="42" y="13"/>
                    <a:pt x="42" y="13"/>
                    <a:pt x="42" y="13"/>
                  </a:cubicBezTo>
                  <a:cubicBezTo>
                    <a:pt x="42" y="14"/>
                    <a:pt x="43" y="14"/>
                    <a:pt x="43" y="14"/>
                  </a:cubicBezTo>
                  <a:cubicBezTo>
                    <a:pt x="45" y="16"/>
                    <a:pt x="46" y="18"/>
                    <a:pt x="44" y="23"/>
                  </a:cubicBezTo>
                  <a:cubicBezTo>
                    <a:pt x="43" y="26"/>
                    <a:pt x="39" y="31"/>
                    <a:pt x="40" y="36"/>
                  </a:cubicBezTo>
                  <a:cubicBezTo>
                    <a:pt x="50" y="51"/>
                    <a:pt x="50" y="51"/>
                    <a:pt x="50" y="51"/>
                  </a:cubicBezTo>
                  <a:cubicBezTo>
                    <a:pt x="34" y="62"/>
                    <a:pt x="34" y="62"/>
                    <a:pt x="34" y="62"/>
                  </a:cubicBezTo>
                  <a:moveTo>
                    <a:pt x="7" y="33"/>
                  </a:moveTo>
                  <a:cubicBezTo>
                    <a:pt x="5" y="31"/>
                    <a:pt x="4" y="29"/>
                    <a:pt x="3" y="29"/>
                  </a:cubicBezTo>
                  <a:cubicBezTo>
                    <a:pt x="2" y="27"/>
                    <a:pt x="0" y="25"/>
                    <a:pt x="0" y="24"/>
                  </a:cubicBezTo>
                  <a:cubicBezTo>
                    <a:pt x="0" y="24"/>
                    <a:pt x="0" y="24"/>
                    <a:pt x="0" y="24"/>
                  </a:cubicBezTo>
                  <a:cubicBezTo>
                    <a:pt x="1" y="25"/>
                    <a:pt x="7" y="30"/>
                    <a:pt x="8" y="31"/>
                  </a:cubicBezTo>
                  <a:cubicBezTo>
                    <a:pt x="7" y="33"/>
                    <a:pt x="7" y="33"/>
                    <a:pt x="7" y="33"/>
                  </a:cubicBezTo>
                  <a:moveTo>
                    <a:pt x="0" y="24"/>
                  </a:moveTo>
                  <a:cubicBezTo>
                    <a:pt x="0" y="23"/>
                    <a:pt x="0" y="23"/>
                    <a:pt x="0" y="23"/>
                  </a:cubicBezTo>
                  <a:cubicBezTo>
                    <a:pt x="0" y="22"/>
                    <a:pt x="1" y="20"/>
                    <a:pt x="2" y="19"/>
                  </a:cubicBezTo>
                  <a:cubicBezTo>
                    <a:pt x="1" y="21"/>
                    <a:pt x="0" y="23"/>
                    <a:pt x="0" y="24"/>
                  </a:cubicBezTo>
                  <a:moveTo>
                    <a:pt x="5" y="16"/>
                  </a:moveTo>
                  <a:cubicBezTo>
                    <a:pt x="5" y="14"/>
                    <a:pt x="9" y="11"/>
                    <a:pt x="10" y="11"/>
                  </a:cubicBezTo>
                  <a:cubicBezTo>
                    <a:pt x="8" y="13"/>
                    <a:pt x="6" y="15"/>
                    <a:pt x="5" y="16"/>
                  </a:cubicBezTo>
                  <a:moveTo>
                    <a:pt x="12" y="10"/>
                  </a:moveTo>
                  <a:cubicBezTo>
                    <a:pt x="12" y="10"/>
                    <a:pt x="12" y="10"/>
                    <a:pt x="12" y="10"/>
                  </a:cubicBezTo>
                  <a:cubicBezTo>
                    <a:pt x="12" y="7"/>
                    <a:pt x="16" y="4"/>
                    <a:pt x="19" y="4"/>
                  </a:cubicBezTo>
                  <a:cubicBezTo>
                    <a:pt x="17" y="6"/>
                    <a:pt x="14" y="8"/>
                    <a:pt x="12" y="10"/>
                  </a:cubicBezTo>
                  <a:moveTo>
                    <a:pt x="22" y="3"/>
                  </a:moveTo>
                  <a:cubicBezTo>
                    <a:pt x="22" y="2"/>
                    <a:pt x="23" y="1"/>
                    <a:pt x="25" y="1"/>
                  </a:cubicBezTo>
                  <a:cubicBezTo>
                    <a:pt x="26" y="0"/>
                    <a:pt x="27" y="0"/>
                    <a:pt x="28" y="0"/>
                  </a:cubicBezTo>
                  <a:cubicBezTo>
                    <a:pt x="29" y="0"/>
                    <a:pt x="29" y="0"/>
                    <a:pt x="30" y="0"/>
                  </a:cubicBezTo>
                  <a:cubicBezTo>
                    <a:pt x="29" y="1"/>
                    <a:pt x="29" y="1"/>
                    <a:pt x="29" y="1"/>
                  </a:cubicBezTo>
                  <a:cubicBezTo>
                    <a:pt x="26" y="1"/>
                    <a:pt x="22" y="2"/>
                    <a:pt x="22" y="3"/>
                  </a:cubicBezTo>
                  <a:cubicBezTo>
                    <a:pt x="22" y="3"/>
                    <a:pt x="22" y="3"/>
                    <a:pt x="22" y="3"/>
                  </a:cubicBezTo>
                  <a:cubicBezTo>
                    <a:pt x="22" y="3"/>
                    <a:pt x="22" y="3"/>
                    <a:pt x="22" y="3"/>
                  </a:cubicBezTo>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4" name="Freeform 197">
              <a:extLst>
                <a:ext uri="{FF2B5EF4-FFF2-40B4-BE49-F238E27FC236}">
                  <a16:creationId xmlns:a16="http://schemas.microsoft.com/office/drawing/2014/main" id="{26D28B9A-6DA0-4ADD-90DA-B57604ED6E2A}"/>
                </a:ext>
              </a:extLst>
            </p:cNvPr>
            <p:cNvSpPr>
              <a:spLocks/>
            </p:cNvSpPr>
            <p:nvPr/>
          </p:nvSpPr>
          <p:spPr bwMode="auto">
            <a:xfrm>
              <a:off x="10861675" y="3165476"/>
              <a:ext cx="142875" cy="179388"/>
            </a:xfrm>
            <a:custGeom>
              <a:avLst/>
              <a:gdLst>
                <a:gd name="T0" fmla="*/ 31 w 90"/>
                <a:gd name="T1" fmla="*/ 113 h 113"/>
                <a:gd name="T2" fmla="*/ 0 w 90"/>
                <a:gd name="T3" fmla="*/ 94 h 113"/>
                <a:gd name="T4" fmla="*/ 59 w 90"/>
                <a:gd name="T5" fmla="*/ 0 h 113"/>
                <a:gd name="T6" fmla="*/ 90 w 90"/>
                <a:gd name="T7" fmla="*/ 19 h 113"/>
                <a:gd name="T8" fmla="*/ 31 w 90"/>
                <a:gd name="T9" fmla="*/ 113 h 113"/>
              </a:gdLst>
              <a:ahLst/>
              <a:cxnLst>
                <a:cxn ang="0">
                  <a:pos x="T0" y="T1"/>
                </a:cxn>
                <a:cxn ang="0">
                  <a:pos x="T2" y="T3"/>
                </a:cxn>
                <a:cxn ang="0">
                  <a:pos x="T4" y="T5"/>
                </a:cxn>
                <a:cxn ang="0">
                  <a:pos x="T6" y="T7"/>
                </a:cxn>
                <a:cxn ang="0">
                  <a:pos x="T8" y="T9"/>
                </a:cxn>
              </a:cxnLst>
              <a:rect l="0" t="0" r="r" b="b"/>
              <a:pathLst>
                <a:path w="90" h="113">
                  <a:moveTo>
                    <a:pt x="31" y="113"/>
                  </a:moveTo>
                  <a:lnTo>
                    <a:pt x="0" y="94"/>
                  </a:lnTo>
                  <a:lnTo>
                    <a:pt x="59" y="0"/>
                  </a:lnTo>
                  <a:lnTo>
                    <a:pt x="90" y="19"/>
                  </a:lnTo>
                  <a:lnTo>
                    <a:pt x="31" y="11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5" name="Freeform 198">
              <a:extLst>
                <a:ext uri="{FF2B5EF4-FFF2-40B4-BE49-F238E27FC236}">
                  <a16:creationId xmlns:a16="http://schemas.microsoft.com/office/drawing/2014/main" id="{2362FEA2-4857-4060-9397-311D31075462}"/>
                </a:ext>
              </a:extLst>
            </p:cNvPr>
            <p:cNvSpPr>
              <a:spLocks/>
            </p:cNvSpPr>
            <p:nvPr/>
          </p:nvSpPr>
          <p:spPr bwMode="auto">
            <a:xfrm>
              <a:off x="10861675" y="3165476"/>
              <a:ext cx="142875" cy="179388"/>
            </a:xfrm>
            <a:custGeom>
              <a:avLst/>
              <a:gdLst>
                <a:gd name="T0" fmla="*/ 31 w 90"/>
                <a:gd name="T1" fmla="*/ 113 h 113"/>
                <a:gd name="T2" fmla="*/ 0 w 90"/>
                <a:gd name="T3" fmla="*/ 94 h 113"/>
                <a:gd name="T4" fmla="*/ 59 w 90"/>
                <a:gd name="T5" fmla="*/ 0 h 113"/>
                <a:gd name="T6" fmla="*/ 90 w 90"/>
                <a:gd name="T7" fmla="*/ 19 h 113"/>
                <a:gd name="T8" fmla="*/ 31 w 90"/>
                <a:gd name="T9" fmla="*/ 113 h 113"/>
              </a:gdLst>
              <a:ahLst/>
              <a:cxnLst>
                <a:cxn ang="0">
                  <a:pos x="T0" y="T1"/>
                </a:cxn>
                <a:cxn ang="0">
                  <a:pos x="T2" y="T3"/>
                </a:cxn>
                <a:cxn ang="0">
                  <a:pos x="T4" y="T5"/>
                </a:cxn>
                <a:cxn ang="0">
                  <a:pos x="T6" y="T7"/>
                </a:cxn>
                <a:cxn ang="0">
                  <a:pos x="T8" y="T9"/>
                </a:cxn>
              </a:cxnLst>
              <a:rect l="0" t="0" r="r" b="b"/>
              <a:pathLst>
                <a:path w="90" h="113">
                  <a:moveTo>
                    <a:pt x="31" y="113"/>
                  </a:moveTo>
                  <a:lnTo>
                    <a:pt x="0" y="94"/>
                  </a:lnTo>
                  <a:lnTo>
                    <a:pt x="59" y="0"/>
                  </a:lnTo>
                  <a:lnTo>
                    <a:pt x="90" y="19"/>
                  </a:lnTo>
                  <a:lnTo>
                    <a:pt x="31"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6" name="Freeform 199">
              <a:extLst>
                <a:ext uri="{FF2B5EF4-FFF2-40B4-BE49-F238E27FC236}">
                  <a16:creationId xmlns:a16="http://schemas.microsoft.com/office/drawing/2014/main" id="{8A2AEE8B-C982-45C0-B50F-76CB5052E56F}"/>
                </a:ext>
              </a:extLst>
            </p:cNvPr>
            <p:cNvSpPr>
              <a:spLocks/>
            </p:cNvSpPr>
            <p:nvPr/>
          </p:nvSpPr>
          <p:spPr bwMode="auto">
            <a:xfrm>
              <a:off x="10688638" y="3533776"/>
              <a:ext cx="76200" cy="79375"/>
            </a:xfrm>
            <a:custGeom>
              <a:avLst/>
              <a:gdLst>
                <a:gd name="T0" fmla="*/ 14 w 20"/>
                <a:gd name="T1" fmla="*/ 21 h 21"/>
                <a:gd name="T2" fmla="*/ 1 w 20"/>
                <a:gd name="T3" fmla="*/ 12 h 21"/>
                <a:gd name="T4" fmla="*/ 7 w 20"/>
                <a:gd name="T5" fmla="*/ 0 h 21"/>
                <a:gd name="T6" fmla="*/ 20 w 20"/>
                <a:gd name="T7" fmla="*/ 9 h 21"/>
                <a:gd name="T8" fmla="*/ 14 w 20"/>
                <a:gd name="T9" fmla="*/ 21 h 21"/>
              </a:gdLst>
              <a:ahLst/>
              <a:cxnLst>
                <a:cxn ang="0">
                  <a:pos x="T0" y="T1"/>
                </a:cxn>
                <a:cxn ang="0">
                  <a:pos x="T2" y="T3"/>
                </a:cxn>
                <a:cxn ang="0">
                  <a:pos x="T4" y="T5"/>
                </a:cxn>
                <a:cxn ang="0">
                  <a:pos x="T6" y="T7"/>
                </a:cxn>
                <a:cxn ang="0">
                  <a:pos x="T8" y="T9"/>
                </a:cxn>
              </a:cxnLst>
              <a:rect l="0" t="0" r="r" b="b"/>
              <a:pathLst>
                <a:path w="20" h="21">
                  <a:moveTo>
                    <a:pt x="14" y="21"/>
                  </a:moveTo>
                  <a:cubicBezTo>
                    <a:pt x="1" y="12"/>
                    <a:pt x="1" y="12"/>
                    <a:pt x="1" y="12"/>
                  </a:cubicBezTo>
                  <a:cubicBezTo>
                    <a:pt x="0" y="12"/>
                    <a:pt x="3" y="6"/>
                    <a:pt x="7" y="0"/>
                  </a:cubicBezTo>
                  <a:cubicBezTo>
                    <a:pt x="20" y="9"/>
                    <a:pt x="20" y="9"/>
                    <a:pt x="20" y="9"/>
                  </a:cubicBezTo>
                  <a:cubicBezTo>
                    <a:pt x="16" y="15"/>
                    <a:pt x="13" y="20"/>
                    <a:pt x="14" y="21"/>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7" name="Freeform 200">
              <a:extLst>
                <a:ext uri="{FF2B5EF4-FFF2-40B4-BE49-F238E27FC236}">
                  <a16:creationId xmlns:a16="http://schemas.microsoft.com/office/drawing/2014/main" id="{0153B6FF-673B-4724-A88A-AF0BC0DA33BC}"/>
                </a:ext>
              </a:extLst>
            </p:cNvPr>
            <p:cNvSpPr>
              <a:spLocks/>
            </p:cNvSpPr>
            <p:nvPr/>
          </p:nvSpPr>
          <p:spPr bwMode="auto">
            <a:xfrm>
              <a:off x="10715625" y="3352801"/>
              <a:ext cx="161925" cy="214313"/>
            </a:xfrm>
            <a:custGeom>
              <a:avLst/>
              <a:gdLst>
                <a:gd name="T0" fmla="*/ 31 w 102"/>
                <a:gd name="T1" fmla="*/ 135 h 135"/>
                <a:gd name="T2" fmla="*/ 0 w 102"/>
                <a:gd name="T3" fmla="*/ 114 h 135"/>
                <a:gd name="T4" fmla="*/ 73 w 102"/>
                <a:gd name="T5" fmla="*/ 0 h 135"/>
                <a:gd name="T6" fmla="*/ 102 w 102"/>
                <a:gd name="T7" fmla="*/ 21 h 135"/>
                <a:gd name="T8" fmla="*/ 31 w 102"/>
                <a:gd name="T9" fmla="*/ 135 h 135"/>
              </a:gdLst>
              <a:ahLst/>
              <a:cxnLst>
                <a:cxn ang="0">
                  <a:pos x="T0" y="T1"/>
                </a:cxn>
                <a:cxn ang="0">
                  <a:pos x="T2" y="T3"/>
                </a:cxn>
                <a:cxn ang="0">
                  <a:pos x="T4" y="T5"/>
                </a:cxn>
                <a:cxn ang="0">
                  <a:pos x="T6" y="T7"/>
                </a:cxn>
                <a:cxn ang="0">
                  <a:pos x="T8" y="T9"/>
                </a:cxn>
              </a:cxnLst>
              <a:rect l="0" t="0" r="r" b="b"/>
              <a:pathLst>
                <a:path w="102" h="135">
                  <a:moveTo>
                    <a:pt x="31" y="135"/>
                  </a:moveTo>
                  <a:lnTo>
                    <a:pt x="0" y="114"/>
                  </a:lnTo>
                  <a:lnTo>
                    <a:pt x="73" y="0"/>
                  </a:lnTo>
                  <a:lnTo>
                    <a:pt x="102" y="21"/>
                  </a:lnTo>
                  <a:lnTo>
                    <a:pt x="31" y="135"/>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 name="Freeform 201">
              <a:extLst>
                <a:ext uri="{FF2B5EF4-FFF2-40B4-BE49-F238E27FC236}">
                  <a16:creationId xmlns:a16="http://schemas.microsoft.com/office/drawing/2014/main" id="{5B348068-7552-4677-8603-764951155E5E}"/>
                </a:ext>
              </a:extLst>
            </p:cNvPr>
            <p:cNvSpPr>
              <a:spLocks/>
            </p:cNvSpPr>
            <p:nvPr/>
          </p:nvSpPr>
          <p:spPr bwMode="auto">
            <a:xfrm>
              <a:off x="10715625" y="3352801"/>
              <a:ext cx="161925" cy="214313"/>
            </a:xfrm>
            <a:custGeom>
              <a:avLst/>
              <a:gdLst>
                <a:gd name="T0" fmla="*/ 31 w 102"/>
                <a:gd name="T1" fmla="*/ 135 h 135"/>
                <a:gd name="T2" fmla="*/ 0 w 102"/>
                <a:gd name="T3" fmla="*/ 114 h 135"/>
                <a:gd name="T4" fmla="*/ 73 w 102"/>
                <a:gd name="T5" fmla="*/ 0 h 135"/>
                <a:gd name="T6" fmla="*/ 102 w 102"/>
                <a:gd name="T7" fmla="*/ 21 h 135"/>
                <a:gd name="T8" fmla="*/ 31 w 102"/>
                <a:gd name="T9" fmla="*/ 135 h 135"/>
              </a:gdLst>
              <a:ahLst/>
              <a:cxnLst>
                <a:cxn ang="0">
                  <a:pos x="T0" y="T1"/>
                </a:cxn>
                <a:cxn ang="0">
                  <a:pos x="T2" y="T3"/>
                </a:cxn>
                <a:cxn ang="0">
                  <a:pos x="T4" y="T5"/>
                </a:cxn>
                <a:cxn ang="0">
                  <a:pos x="T6" y="T7"/>
                </a:cxn>
                <a:cxn ang="0">
                  <a:pos x="T8" y="T9"/>
                </a:cxn>
              </a:cxnLst>
              <a:rect l="0" t="0" r="r" b="b"/>
              <a:pathLst>
                <a:path w="102" h="135">
                  <a:moveTo>
                    <a:pt x="31" y="135"/>
                  </a:moveTo>
                  <a:lnTo>
                    <a:pt x="0" y="114"/>
                  </a:lnTo>
                  <a:lnTo>
                    <a:pt x="73" y="0"/>
                  </a:lnTo>
                  <a:lnTo>
                    <a:pt x="102" y="21"/>
                  </a:lnTo>
                  <a:lnTo>
                    <a:pt x="31"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9" name="Freeform 202">
              <a:extLst>
                <a:ext uri="{FF2B5EF4-FFF2-40B4-BE49-F238E27FC236}">
                  <a16:creationId xmlns:a16="http://schemas.microsoft.com/office/drawing/2014/main" id="{0C6A3F6F-C882-4506-B563-AF59C8B8C1C4}"/>
                </a:ext>
              </a:extLst>
            </p:cNvPr>
            <p:cNvSpPr>
              <a:spLocks/>
            </p:cNvSpPr>
            <p:nvPr/>
          </p:nvSpPr>
          <p:spPr bwMode="auto">
            <a:xfrm>
              <a:off x="10831513" y="3308351"/>
              <a:ext cx="82550" cy="77788"/>
            </a:xfrm>
            <a:custGeom>
              <a:avLst/>
              <a:gdLst>
                <a:gd name="T0" fmla="*/ 12 w 22"/>
                <a:gd name="T1" fmla="*/ 21 h 21"/>
                <a:gd name="T2" fmla="*/ 0 w 22"/>
                <a:gd name="T3" fmla="*/ 12 h 21"/>
                <a:gd name="T4" fmla="*/ 7 w 22"/>
                <a:gd name="T5" fmla="*/ 1 h 21"/>
                <a:gd name="T6" fmla="*/ 9 w 22"/>
                <a:gd name="T7" fmla="*/ 0 h 21"/>
                <a:gd name="T8" fmla="*/ 22 w 22"/>
                <a:gd name="T9" fmla="*/ 9 h 21"/>
                <a:gd name="T10" fmla="*/ 21 w 22"/>
                <a:gd name="T11" fmla="*/ 10 h 21"/>
                <a:gd name="T12" fmla="*/ 12 w 2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12" y="21"/>
                  </a:moveTo>
                  <a:cubicBezTo>
                    <a:pt x="0" y="12"/>
                    <a:pt x="0" y="12"/>
                    <a:pt x="0" y="12"/>
                  </a:cubicBezTo>
                  <a:cubicBezTo>
                    <a:pt x="3" y="7"/>
                    <a:pt x="5" y="3"/>
                    <a:pt x="7" y="1"/>
                  </a:cubicBezTo>
                  <a:cubicBezTo>
                    <a:pt x="8" y="1"/>
                    <a:pt x="8" y="0"/>
                    <a:pt x="9" y="0"/>
                  </a:cubicBezTo>
                  <a:cubicBezTo>
                    <a:pt x="22" y="9"/>
                    <a:pt x="22" y="9"/>
                    <a:pt x="22" y="9"/>
                  </a:cubicBezTo>
                  <a:cubicBezTo>
                    <a:pt x="22" y="9"/>
                    <a:pt x="21" y="9"/>
                    <a:pt x="21" y="10"/>
                  </a:cubicBezTo>
                  <a:cubicBezTo>
                    <a:pt x="19" y="12"/>
                    <a:pt x="15" y="16"/>
                    <a:pt x="12" y="21"/>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0" name="Freeform 203">
              <a:extLst>
                <a:ext uri="{FF2B5EF4-FFF2-40B4-BE49-F238E27FC236}">
                  <a16:creationId xmlns:a16="http://schemas.microsoft.com/office/drawing/2014/main" id="{894A2EBA-6DED-4DD1-87AE-2D2FF4068398}"/>
                </a:ext>
              </a:extLst>
            </p:cNvPr>
            <p:cNvSpPr>
              <a:spLocks/>
            </p:cNvSpPr>
            <p:nvPr/>
          </p:nvSpPr>
          <p:spPr bwMode="auto">
            <a:xfrm>
              <a:off x="10952163" y="2747963"/>
              <a:ext cx="323850" cy="447675"/>
            </a:xfrm>
            <a:custGeom>
              <a:avLst/>
              <a:gdLst>
                <a:gd name="T0" fmla="*/ 74 w 86"/>
                <a:gd name="T1" fmla="*/ 1 h 119"/>
                <a:gd name="T2" fmla="*/ 86 w 86"/>
                <a:gd name="T3" fmla="*/ 9 h 119"/>
                <a:gd name="T4" fmla="*/ 86 w 86"/>
                <a:gd name="T5" fmla="*/ 9 h 119"/>
                <a:gd name="T6" fmla="*/ 68 w 86"/>
                <a:gd name="T7" fmla="*/ 26 h 119"/>
                <a:gd name="T8" fmla="*/ 18 w 86"/>
                <a:gd name="T9" fmla="*/ 104 h 119"/>
                <a:gd name="T10" fmla="*/ 14 w 86"/>
                <a:gd name="T11" fmla="*/ 119 h 119"/>
                <a:gd name="T12" fmla="*/ 1 w 86"/>
                <a:gd name="T13" fmla="*/ 111 h 119"/>
                <a:gd name="T14" fmla="*/ 5 w 86"/>
                <a:gd name="T15" fmla="*/ 96 h 119"/>
                <a:gd name="T16" fmla="*/ 55 w 86"/>
                <a:gd name="T17" fmla="*/ 17 h 119"/>
                <a:gd name="T18" fmla="*/ 73 w 86"/>
                <a:gd name="T19" fmla="*/ 1 h 119"/>
                <a:gd name="T20" fmla="*/ 74 w 86"/>
                <a:gd name="T21" fmla="*/ 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19">
                  <a:moveTo>
                    <a:pt x="74" y="1"/>
                  </a:moveTo>
                  <a:cubicBezTo>
                    <a:pt x="86" y="9"/>
                    <a:pt x="86" y="9"/>
                    <a:pt x="86" y="9"/>
                  </a:cubicBezTo>
                  <a:cubicBezTo>
                    <a:pt x="86" y="9"/>
                    <a:pt x="86" y="9"/>
                    <a:pt x="86" y="9"/>
                  </a:cubicBezTo>
                  <a:cubicBezTo>
                    <a:pt x="84" y="9"/>
                    <a:pt x="77" y="14"/>
                    <a:pt x="68" y="26"/>
                  </a:cubicBezTo>
                  <a:cubicBezTo>
                    <a:pt x="50" y="48"/>
                    <a:pt x="28" y="83"/>
                    <a:pt x="18" y="104"/>
                  </a:cubicBezTo>
                  <a:cubicBezTo>
                    <a:pt x="14" y="113"/>
                    <a:pt x="13" y="118"/>
                    <a:pt x="14" y="119"/>
                  </a:cubicBezTo>
                  <a:cubicBezTo>
                    <a:pt x="1" y="111"/>
                    <a:pt x="1" y="111"/>
                    <a:pt x="1" y="111"/>
                  </a:cubicBezTo>
                  <a:cubicBezTo>
                    <a:pt x="0" y="110"/>
                    <a:pt x="1" y="105"/>
                    <a:pt x="5" y="96"/>
                  </a:cubicBezTo>
                  <a:cubicBezTo>
                    <a:pt x="15" y="74"/>
                    <a:pt x="38" y="39"/>
                    <a:pt x="55" y="17"/>
                  </a:cubicBezTo>
                  <a:cubicBezTo>
                    <a:pt x="65" y="6"/>
                    <a:pt x="71" y="0"/>
                    <a:pt x="73" y="1"/>
                  </a:cubicBezTo>
                  <a:cubicBezTo>
                    <a:pt x="74" y="1"/>
                    <a:pt x="74" y="1"/>
                    <a:pt x="74" y="1"/>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1" name="Freeform 204">
              <a:extLst>
                <a:ext uri="{FF2B5EF4-FFF2-40B4-BE49-F238E27FC236}">
                  <a16:creationId xmlns:a16="http://schemas.microsoft.com/office/drawing/2014/main" id="{393E7D14-B24E-4B0F-BBBB-5CCE50CDF810}"/>
                </a:ext>
              </a:extLst>
            </p:cNvPr>
            <p:cNvSpPr>
              <a:spLocks noEditPoints="1"/>
            </p:cNvSpPr>
            <p:nvPr/>
          </p:nvSpPr>
          <p:spPr bwMode="auto">
            <a:xfrm>
              <a:off x="10737850" y="2781301"/>
              <a:ext cx="546100" cy="831850"/>
            </a:xfrm>
            <a:custGeom>
              <a:avLst/>
              <a:gdLst>
                <a:gd name="T0" fmla="*/ 77 w 145"/>
                <a:gd name="T1" fmla="*/ 102 h 221"/>
                <a:gd name="T2" fmla="*/ 80 w 145"/>
                <a:gd name="T3" fmla="*/ 89 h 221"/>
                <a:gd name="T4" fmla="*/ 122 w 145"/>
                <a:gd name="T5" fmla="*/ 23 h 221"/>
                <a:gd name="T6" fmla="*/ 137 w 145"/>
                <a:gd name="T7" fmla="*/ 9 h 221"/>
                <a:gd name="T8" fmla="*/ 134 w 145"/>
                <a:gd name="T9" fmla="*/ 22 h 221"/>
                <a:gd name="T10" fmla="*/ 92 w 145"/>
                <a:gd name="T11" fmla="*/ 88 h 221"/>
                <a:gd name="T12" fmla="*/ 77 w 145"/>
                <a:gd name="T13" fmla="*/ 102 h 221"/>
                <a:gd name="T14" fmla="*/ 11 w 145"/>
                <a:gd name="T15" fmla="*/ 209 h 221"/>
                <a:gd name="T16" fmla="*/ 42 w 145"/>
                <a:gd name="T17" fmla="*/ 161 h 221"/>
                <a:gd name="T18" fmla="*/ 48 w 145"/>
                <a:gd name="T19" fmla="*/ 151 h 221"/>
                <a:gd name="T20" fmla="*/ 73 w 145"/>
                <a:gd name="T21" fmla="*/ 111 h 221"/>
                <a:gd name="T22" fmla="*/ 90 w 145"/>
                <a:gd name="T23" fmla="*/ 94 h 221"/>
                <a:gd name="T24" fmla="*/ 140 w 145"/>
                <a:gd name="T25" fmla="*/ 16 h 221"/>
                <a:gd name="T26" fmla="*/ 143 w 145"/>
                <a:gd name="T27" fmla="*/ 0 h 221"/>
                <a:gd name="T28" fmla="*/ 125 w 145"/>
                <a:gd name="T29" fmla="*/ 17 h 221"/>
                <a:gd name="T30" fmla="*/ 75 w 145"/>
                <a:gd name="T31" fmla="*/ 95 h 221"/>
                <a:gd name="T32" fmla="*/ 71 w 145"/>
                <a:gd name="T33" fmla="*/ 110 h 221"/>
                <a:gd name="T34" fmla="*/ 46 w 145"/>
                <a:gd name="T35" fmla="*/ 150 h 221"/>
                <a:gd name="T36" fmla="*/ 37 w 145"/>
                <a:gd name="T37" fmla="*/ 161 h 221"/>
                <a:gd name="T38" fmla="*/ 7 w 145"/>
                <a:gd name="T39" fmla="*/ 209 h 221"/>
                <a:gd name="T40" fmla="*/ 1 w 145"/>
                <a:gd name="T41" fmla="*/ 221 h 221"/>
                <a:gd name="T42" fmla="*/ 11 w 145"/>
                <a:gd name="T43" fmla="*/ 20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 h="221">
                  <a:moveTo>
                    <a:pt x="77" y="102"/>
                  </a:moveTo>
                  <a:cubicBezTo>
                    <a:pt x="76" y="102"/>
                    <a:pt x="76" y="97"/>
                    <a:pt x="80" y="89"/>
                  </a:cubicBezTo>
                  <a:cubicBezTo>
                    <a:pt x="89" y="71"/>
                    <a:pt x="107" y="41"/>
                    <a:pt x="122" y="23"/>
                  </a:cubicBezTo>
                  <a:cubicBezTo>
                    <a:pt x="130" y="13"/>
                    <a:pt x="135" y="9"/>
                    <a:pt x="137" y="9"/>
                  </a:cubicBezTo>
                  <a:cubicBezTo>
                    <a:pt x="139" y="9"/>
                    <a:pt x="138" y="14"/>
                    <a:pt x="134" y="22"/>
                  </a:cubicBezTo>
                  <a:cubicBezTo>
                    <a:pt x="126" y="40"/>
                    <a:pt x="107" y="70"/>
                    <a:pt x="92" y="88"/>
                  </a:cubicBezTo>
                  <a:cubicBezTo>
                    <a:pt x="85" y="98"/>
                    <a:pt x="80" y="102"/>
                    <a:pt x="77" y="102"/>
                  </a:cubicBezTo>
                  <a:moveTo>
                    <a:pt x="11" y="209"/>
                  </a:moveTo>
                  <a:cubicBezTo>
                    <a:pt x="42" y="161"/>
                    <a:pt x="42" y="161"/>
                    <a:pt x="42" y="161"/>
                  </a:cubicBezTo>
                  <a:cubicBezTo>
                    <a:pt x="45" y="157"/>
                    <a:pt x="47" y="153"/>
                    <a:pt x="48" y="151"/>
                  </a:cubicBezTo>
                  <a:cubicBezTo>
                    <a:pt x="73" y="111"/>
                    <a:pt x="73" y="111"/>
                    <a:pt x="73" y="111"/>
                  </a:cubicBezTo>
                  <a:cubicBezTo>
                    <a:pt x="76" y="109"/>
                    <a:pt x="82" y="104"/>
                    <a:pt x="90" y="94"/>
                  </a:cubicBezTo>
                  <a:cubicBezTo>
                    <a:pt x="107" y="73"/>
                    <a:pt x="130" y="37"/>
                    <a:pt x="140" y="16"/>
                  </a:cubicBezTo>
                  <a:cubicBezTo>
                    <a:pt x="144" y="6"/>
                    <a:pt x="145" y="0"/>
                    <a:pt x="143" y="0"/>
                  </a:cubicBezTo>
                  <a:cubicBezTo>
                    <a:pt x="141" y="0"/>
                    <a:pt x="134" y="5"/>
                    <a:pt x="125" y="17"/>
                  </a:cubicBezTo>
                  <a:cubicBezTo>
                    <a:pt x="107" y="39"/>
                    <a:pt x="85" y="74"/>
                    <a:pt x="75" y="95"/>
                  </a:cubicBezTo>
                  <a:cubicBezTo>
                    <a:pt x="71" y="104"/>
                    <a:pt x="70" y="109"/>
                    <a:pt x="71" y="110"/>
                  </a:cubicBezTo>
                  <a:cubicBezTo>
                    <a:pt x="46" y="150"/>
                    <a:pt x="46" y="150"/>
                    <a:pt x="46" y="150"/>
                  </a:cubicBezTo>
                  <a:cubicBezTo>
                    <a:pt x="44" y="152"/>
                    <a:pt x="40" y="156"/>
                    <a:pt x="37" y="161"/>
                  </a:cubicBezTo>
                  <a:cubicBezTo>
                    <a:pt x="7" y="209"/>
                    <a:pt x="7" y="209"/>
                    <a:pt x="7" y="209"/>
                  </a:cubicBezTo>
                  <a:cubicBezTo>
                    <a:pt x="2" y="215"/>
                    <a:pt x="0" y="221"/>
                    <a:pt x="1" y="221"/>
                  </a:cubicBezTo>
                  <a:cubicBezTo>
                    <a:pt x="3" y="221"/>
                    <a:pt x="7" y="216"/>
                    <a:pt x="11" y="209"/>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2" name="Freeform 207">
              <a:extLst>
                <a:ext uri="{FF2B5EF4-FFF2-40B4-BE49-F238E27FC236}">
                  <a16:creationId xmlns:a16="http://schemas.microsoft.com/office/drawing/2014/main" id="{77430A92-30C8-4A41-939E-0B5F32B1E1AB}"/>
                </a:ext>
              </a:extLst>
            </p:cNvPr>
            <p:cNvSpPr>
              <a:spLocks/>
            </p:cNvSpPr>
            <p:nvPr/>
          </p:nvSpPr>
          <p:spPr bwMode="auto">
            <a:xfrm>
              <a:off x="10775950" y="3278188"/>
              <a:ext cx="107950" cy="112713"/>
            </a:xfrm>
            <a:custGeom>
              <a:avLst/>
              <a:gdLst>
                <a:gd name="T0" fmla="*/ 8 w 29"/>
                <a:gd name="T1" fmla="*/ 30 h 30"/>
                <a:gd name="T2" fmla="*/ 0 w 29"/>
                <a:gd name="T3" fmla="*/ 23 h 30"/>
                <a:gd name="T4" fmla="*/ 0 w 29"/>
                <a:gd name="T5" fmla="*/ 23 h 30"/>
                <a:gd name="T6" fmla="*/ 0 w 29"/>
                <a:gd name="T7" fmla="*/ 23 h 30"/>
                <a:gd name="T8" fmla="*/ 2 w 29"/>
                <a:gd name="T9" fmla="*/ 18 h 30"/>
                <a:gd name="T10" fmla="*/ 4 w 29"/>
                <a:gd name="T11" fmla="*/ 18 h 30"/>
                <a:gd name="T12" fmla="*/ 4 w 29"/>
                <a:gd name="T13" fmla="*/ 17 h 30"/>
                <a:gd name="T14" fmla="*/ 4 w 29"/>
                <a:gd name="T15" fmla="*/ 17 h 30"/>
                <a:gd name="T16" fmla="*/ 5 w 29"/>
                <a:gd name="T17" fmla="*/ 15 h 30"/>
                <a:gd name="T18" fmla="*/ 10 w 29"/>
                <a:gd name="T19" fmla="*/ 10 h 30"/>
                <a:gd name="T20" fmla="*/ 10 w 29"/>
                <a:gd name="T21" fmla="*/ 10 h 30"/>
                <a:gd name="T22" fmla="*/ 11 w 29"/>
                <a:gd name="T23" fmla="*/ 10 h 30"/>
                <a:gd name="T24" fmla="*/ 12 w 29"/>
                <a:gd name="T25" fmla="*/ 9 h 30"/>
                <a:gd name="T26" fmla="*/ 19 w 29"/>
                <a:gd name="T27" fmla="*/ 3 h 30"/>
                <a:gd name="T28" fmla="*/ 19 w 29"/>
                <a:gd name="T29" fmla="*/ 3 h 30"/>
                <a:gd name="T30" fmla="*/ 21 w 29"/>
                <a:gd name="T31" fmla="*/ 3 h 30"/>
                <a:gd name="T32" fmla="*/ 22 w 29"/>
                <a:gd name="T33" fmla="*/ 2 h 30"/>
                <a:gd name="T34" fmla="*/ 22 w 29"/>
                <a:gd name="T35" fmla="*/ 2 h 30"/>
                <a:gd name="T36" fmla="*/ 22 w 29"/>
                <a:gd name="T37" fmla="*/ 2 h 30"/>
                <a:gd name="T38" fmla="*/ 29 w 29"/>
                <a:gd name="T39" fmla="*/ 0 h 30"/>
                <a:gd name="T40" fmla="*/ 24 w 29"/>
                <a:gd name="T41" fmla="*/ 8 h 30"/>
                <a:gd name="T42" fmla="*/ 24 w 29"/>
                <a:gd name="T43" fmla="*/ 8 h 30"/>
                <a:gd name="T44" fmla="*/ 24 w 29"/>
                <a:gd name="T45" fmla="*/ 8 h 30"/>
                <a:gd name="T46" fmla="*/ 22 w 29"/>
                <a:gd name="T47" fmla="*/ 9 h 30"/>
                <a:gd name="T48" fmla="*/ 15 w 29"/>
                <a:gd name="T49" fmla="*/ 20 h 30"/>
                <a:gd name="T50" fmla="*/ 15 w 29"/>
                <a:gd name="T51" fmla="*/ 20 h 30"/>
                <a:gd name="T52" fmla="*/ 8 w 29"/>
                <a:gd name="T5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0">
                  <a:moveTo>
                    <a:pt x="8" y="30"/>
                  </a:moveTo>
                  <a:cubicBezTo>
                    <a:pt x="7" y="29"/>
                    <a:pt x="1" y="24"/>
                    <a:pt x="0" y="23"/>
                  </a:cubicBezTo>
                  <a:cubicBezTo>
                    <a:pt x="0" y="23"/>
                    <a:pt x="0" y="23"/>
                    <a:pt x="0" y="23"/>
                  </a:cubicBezTo>
                  <a:cubicBezTo>
                    <a:pt x="0" y="23"/>
                    <a:pt x="0" y="23"/>
                    <a:pt x="0" y="23"/>
                  </a:cubicBezTo>
                  <a:cubicBezTo>
                    <a:pt x="0" y="22"/>
                    <a:pt x="1" y="20"/>
                    <a:pt x="2" y="18"/>
                  </a:cubicBezTo>
                  <a:cubicBezTo>
                    <a:pt x="3" y="18"/>
                    <a:pt x="3" y="18"/>
                    <a:pt x="4" y="18"/>
                  </a:cubicBezTo>
                  <a:cubicBezTo>
                    <a:pt x="4" y="17"/>
                    <a:pt x="4" y="17"/>
                    <a:pt x="4" y="17"/>
                  </a:cubicBezTo>
                  <a:cubicBezTo>
                    <a:pt x="4" y="17"/>
                    <a:pt x="4" y="17"/>
                    <a:pt x="4" y="17"/>
                  </a:cubicBezTo>
                  <a:cubicBezTo>
                    <a:pt x="4" y="16"/>
                    <a:pt x="4" y="16"/>
                    <a:pt x="5" y="15"/>
                  </a:cubicBezTo>
                  <a:cubicBezTo>
                    <a:pt x="6" y="14"/>
                    <a:pt x="8" y="12"/>
                    <a:pt x="10" y="10"/>
                  </a:cubicBezTo>
                  <a:cubicBezTo>
                    <a:pt x="10" y="10"/>
                    <a:pt x="10" y="10"/>
                    <a:pt x="10" y="10"/>
                  </a:cubicBezTo>
                  <a:cubicBezTo>
                    <a:pt x="11" y="10"/>
                    <a:pt x="11" y="10"/>
                    <a:pt x="11" y="10"/>
                  </a:cubicBezTo>
                  <a:cubicBezTo>
                    <a:pt x="11" y="9"/>
                    <a:pt x="12" y="9"/>
                    <a:pt x="12" y="9"/>
                  </a:cubicBezTo>
                  <a:cubicBezTo>
                    <a:pt x="14" y="7"/>
                    <a:pt x="17" y="5"/>
                    <a:pt x="19" y="3"/>
                  </a:cubicBezTo>
                  <a:cubicBezTo>
                    <a:pt x="19" y="3"/>
                    <a:pt x="19" y="3"/>
                    <a:pt x="19" y="3"/>
                  </a:cubicBezTo>
                  <a:cubicBezTo>
                    <a:pt x="20" y="3"/>
                    <a:pt x="21" y="3"/>
                    <a:pt x="21" y="3"/>
                  </a:cubicBezTo>
                  <a:cubicBezTo>
                    <a:pt x="21" y="2"/>
                    <a:pt x="21" y="2"/>
                    <a:pt x="22" y="2"/>
                  </a:cubicBezTo>
                  <a:cubicBezTo>
                    <a:pt x="22" y="2"/>
                    <a:pt x="22" y="2"/>
                    <a:pt x="22" y="2"/>
                  </a:cubicBezTo>
                  <a:cubicBezTo>
                    <a:pt x="22" y="2"/>
                    <a:pt x="22" y="2"/>
                    <a:pt x="22" y="2"/>
                  </a:cubicBezTo>
                  <a:cubicBezTo>
                    <a:pt x="22" y="1"/>
                    <a:pt x="26" y="0"/>
                    <a:pt x="29" y="0"/>
                  </a:cubicBezTo>
                  <a:cubicBezTo>
                    <a:pt x="24" y="8"/>
                    <a:pt x="24" y="8"/>
                    <a:pt x="24" y="8"/>
                  </a:cubicBezTo>
                  <a:cubicBezTo>
                    <a:pt x="24" y="8"/>
                    <a:pt x="24" y="8"/>
                    <a:pt x="24" y="8"/>
                  </a:cubicBezTo>
                  <a:cubicBezTo>
                    <a:pt x="24" y="8"/>
                    <a:pt x="24" y="8"/>
                    <a:pt x="24" y="8"/>
                  </a:cubicBezTo>
                  <a:cubicBezTo>
                    <a:pt x="23" y="8"/>
                    <a:pt x="23" y="9"/>
                    <a:pt x="22" y="9"/>
                  </a:cubicBezTo>
                  <a:cubicBezTo>
                    <a:pt x="20" y="11"/>
                    <a:pt x="18" y="15"/>
                    <a:pt x="15" y="20"/>
                  </a:cubicBezTo>
                  <a:cubicBezTo>
                    <a:pt x="15" y="20"/>
                    <a:pt x="15" y="20"/>
                    <a:pt x="15" y="20"/>
                  </a:cubicBezTo>
                  <a:cubicBezTo>
                    <a:pt x="8" y="30"/>
                    <a:pt x="8" y="30"/>
                    <a:pt x="8" y="30"/>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3" name="Freeform 209">
              <a:extLst>
                <a:ext uri="{FF2B5EF4-FFF2-40B4-BE49-F238E27FC236}">
                  <a16:creationId xmlns:a16="http://schemas.microsoft.com/office/drawing/2014/main" id="{13CD878D-3C02-477E-8784-975DD4F969DF}"/>
                </a:ext>
              </a:extLst>
            </p:cNvPr>
            <p:cNvSpPr>
              <a:spLocks/>
            </p:cNvSpPr>
            <p:nvPr/>
          </p:nvSpPr>
          <p:spPr bwMode="auto">
            <a:xfrm>
              <a:off x="10806113" y="3352801"/>
              <a:ext cx="44450" cy="41275"/>
            </a:xfrm>
            <a:custGeom>
              <a:avLst/>
              <a:gdLst>
                <a:gd name="T0" fmla="*/ 1 w 12"/>
                <a:gd name="T1" fmla="*/ 11 h 11"/>
                <a:gd name="T2" fmla="*/ 1 w 12"/>
                <a:gd name="T3" fmla="*/ 10 h 11"/>
                <a:gd name="T4" fmla="*/ 0 w 12"/>
                <a:gd name="T5" fmla="*/ 10 h 11"/>
                <a:gd name="T6" fmla="*/ 7 w 12"/>
                <a:gd name="T7" fmla="*/ 0 h 11"/>
                <a:gd name="T8" fmla="*/ 7 w 12"/>
                <a:gd name="T9" fmla="*/ 0 h 11"/>
                <a:gd name="T10" fmla="*/ 12 w 12"/>
                <a:gd name="T11" fmla="*/ 4 h 11"/>
                <a:gd name="T12" fmla="*/ 7 w 12"/>
                <a:gd name="T13" fmla="*/ 6 h 11"/>
                <a:gd name="T14" fmla="*/ 7 w 12"/>
                <a:gd name="T15" fmla="*/ 6 h 11"/>
                <a:gd name="T16" fmla="*/ 6 w 12"/>
                <a:gd name="T17" fmla="*/ 7 h 11"/>
                <a:gd name="T18" fmla="*/ 1 w 12"/>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1">
                  <a:moveTo>
                    <a:pt x="1" y="11"/>
                  </a:moveTo>
                  <a:cubicBezTo>
                    <a:pt x="1" y="11"/>
                    <a:pt x="1" y="10"/>
                    <a:pt x="1" y="10"/>
                  </a:cubicBezTo>
                  <a:cubicBezTo>
                    <a:pt x="1" y="10"/>
                    <a:pt x="0" y="10"/>
                    <a:pt x="0" y="10"/>
                  </a:cubicBezTo>
                  <a:cubicBezTo>
                    <a:pt x="7" y="0"/>
                    <a:pt x="7" y="0"/>
                    <a:pt x="7" y="0"/>
                  </a:cubicBezTo>
                  <a:cubicBezTo>
                    <a:pt x="7" y="0"/>
                    <a:pt x="7" y="0"/>
                    <a:pt x="7" y="0"/>
                  </a:cubicBezTo>
                  <a:cubicBezTo>
                    <a:pt x="12" y="4"/>
                    <a:pt x="12" y="4"/>
                    <a:pt x="12" y="4"/>
                  </a:cubicBezTo>
                  <a:cubicBezTo>
                    <a:pt x="10" y="5"/>
                    <a:pt x="8" y="6"/>
                    <a:pt x="7" y="6"/>
                  </a:cubicBezTo>
                  <a:cubicBezTo>
                    <a:pt x="7" y="6"/>
                    <a:pt x="7" y="6"/>
                    <a:pt x="7" y="6"/>
                  </a:cubicBezTo>
                  <a:cubicBezTo>
                    <a:pt x="6" y="7"/>
                    <a:pt x="6" y="7"/>
                    <a:pt x="6" y="7"/>
                  </a:cubicBezTo>
                  <a:cubicBezTo>
                    <a:pt x="7" y="7"/>
                    <a:pt x="3" y="11"/>
                    <a:pt x="1" y="11"/>
                  </a:cubicBezTo>
                </a:path>
              </a:pathLst>
            </a:custGeom>
            <a:solidFill>
              <a:srgbClr val="4C5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4" name="Freeform 210">
              <a:extLst>
                <a:ext uri="{FF2B5EF4-FFF2-40B4-BE49-F238E27FC236}">
                  <a16:creationId xmlns:a16="http://schemas.microsoft.com/office/drawing/2014/main" id="{6FEE0ACD-BBFE-49E9-BA14-DB0DE1BC43A1}"/>
                </a:ext>
              </a:extLst>
            </p:cNvPr>
            <p:cNvSpPr>
              <a:spLocks/>
            </p:cNvSpPr>
            <p:nvPr/>
          </p:nvSpPr>
          <p:spPr bwMode="auto">
            <a:xfrm>
              <a:off x="10831513" y="3308351"/>
              <a:ext cx="76200" cy="60325"/>
            </a:xfrm>
            <a:custGeom>
              <a:avLst/>
              <a:gdLst>
                <a:gd name="T0" fmla="*/ 5 w 20"/>
                <a:gd name="T1" fmla="*/ 16 h 16"/>
                <a:gd name="T2" fmla="*/ 0 w 20"/>
                <a:gd name="T3" fmla="*/ 12 h 16"/>
                <a:gd name="T4" fmla="*/ 0 w 20"/>
                <a:gd name="T5" fmla="*/ 12 h 16"/>
                <a:gd name="T6" fmla="*/ 7 w 20"/>
                <a:gd name="T7" fmla="*/ 1 h 16"/>
                <a:gd name="T8" fmla="*/ 9 w 20"/>
                <a:gd name="T9" fmla="*/ 0 h 16"/>
                <a:gd name="T10" fmla="*/ 9 w 20"/>
                <a:gd name="T11" fmla="*/ 0 h 16"/>
                <a:gd name="T12" fmla="*/ 9 w 20"/>
                <a:gd name="T13" fmla="*/ 0 h 16"/>
                <a:gd name="T14" fmla="*/ 20 w 20"/>
                <a:gd name="T15" fmla="*/ 7 h 16"/>
                <a:gd name="T16" fmla="*/ 16 w 20"/>
                <a:gd name="T17" fmla="*/ 9 h 16"/>
                <a:gd name="T18" fmla="*/ 15 w 20"/>
                <a:gd name="T19" fmla="*/ 9 h 16"/>
                <a:gd name="T20" fmla="*/ 15 w 20"/>
                <a:gd name="T21" fmla="*/ 9 h 16"/>
                <a:gd name="T22" fmla="*/ 7 w 20"/>
                <a:gd name="T23" fmla="*/ 14 h 16"/>
                <a:gd name="T24" fmla="*/ 7 w 20"/>
                <a:gd name="T25" fmla="*/ 14 h 16"/>
                <a:gd name="T26" fmla="*/ 6 w 20"/>
                <a:gd name="T27" fmla="*/ 14 h 16"/>
                <a:gd name="T28" fmla="*/ 5 w 20"/>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
                  <a:moveTo>
                    <a:pt x="5" y="16"/>
                  </a:moveTo>
                  <a:cubicBezTo>
                    <a:pt x="0" y="12"/>
                    <a:pt x="0" y="12"/>
                    <a:pt x="0" y="12"/>
                  </a:cubicBezTo>
                  <a:cubicBezTo>
                    <a:pt x="0" y="12"/>
                    <a:pt x="0" y="12"/>
                    <a:pt x="0" y="12"/>
                  </a:cubicBezTo>
                  <a:cubicBezTo>
                    <a:pt x="3" y="7"/>
                    <a:pt x="5" y="3"/>
                    <a:pt x="7" y="1"/>
                  </a:cubicBezTo>
                  <a:cubicBezTo>
                    <a:pt x="8" y="1"/>
                    <a:pt x="8" y="0"/>
                    <a:pt x="9" y="0"/>
                  </a:cubicBezTo>
                  <a:cubicBezTo>
                    <a:pt x="9" y="0"/>
                    <a:pt x="9" y="0"/>
                    <a:pt x="9" y="0"/>
                  </a:cubicBezTo>
                  <a:cubicBezTo>
                    <a:pt x="9" y="0"/>
                    <a:pt x="9" y="0"/>
                    <a:pt x="9" y="0"/>
                  </a:cubicBezTo>
                  <a:cubicBezTo>
                    <a:pt x="20" y="7"/>
                    <a:pt x="20" y="7"/>
                    <a:pt x="20" y="7"/>
                  </a:cubicBezTo>
                  <a:cubicBezTo>
                    <a:pt x="19" y="8"/>
                    <a:pt x="17" y="9"/>
                    <a:pt x="16" y="9"/>
                  </a:cubicBezTo>
                  <a:cubicBezTo>
                    <a:pt x="15" y="9"/>
                    <a:pt x="15" y="9"/>
                    <a:pt x="15" y="9"/>
                  </a:cubicBezTo>
                  <a:cubicBezTo>
                    <a:pt x="15" y="9"/>
                    <a:pt x="15" y="9"/>
                    <a:pt x="15" y="9"/>
                  </a:cubicBezTo>
                  <a:cubicBezTo>
                    <a:pt x="14" y="10"/>
                    <a:pt x="9" y="14"/>
                    <a:pt x="7" y="14"/>
                  </a:cubicBezTo>
                  <a:cubicBezTo>
                    <a:pt x="7" y="14"/>
                    <a:pt x="7" y="14"/>
                    <a:pt x="7" y="14"/>
                  </a:cubicBezTo>
                  <a:cubicBezTo>
                    <a:pt x="6" y="14"/>
                    <a:pt x="6" y="14"/>
                    <a:pt x="6" y="14"/>
                  </a:cubicBezTo>
                  <a:cubicBezTo>
                    <a:pt x="6" y="14"/>
                    <a:pt x="6" y="15"/>
                    <a:pt x="5" y="16"/>
                  </a:cubicBezTo>
                </a:path>
              </a:pathLst>
            </a:custGeom>
            <a:solidFill>
              <a:srgbClr val="4C5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5" name="Freeform 211">
              <a:extLst>
                <a:ext uri="{FF2B5EF4-FFF2-40B4-BE49-F238E27FC236}">
                  <a16:creationId xmlns:a16="http://schemas.microsoft.com/office/drawing/2014/main" id="{99110C35-EB69-4B90-946C-644C63E6DB4B}"/>
                </a:ext>
              </a:extLst>
            </p:cNvPr>
            <p:cNvSpPr>
              <a:spLocks/>
            </p:cNvSpPr>
            <p:nvPr/>
          </p:nvSpPr>
          <p:spPr bwMode="auto">
            <a:xfrm>
              <a:off x="10861675" y="3262313"/>
              <a:ext cx="49212" cy="76200"/>
            </a:xfrm>
            <a:custGeom>
              <a:avLst/>
              <a:gdLst>
                <a:gd name="T0" fmla="*/ 8 w 13"/>
                <a:gd name="T1" fmla="*/ 2 h 20"/>
                <a:gd name="T2" fmla="*/ 13 w 13"/>
                <a:gd name="T3" fmla="*/ 17 h 20"/>
                <a:gd name="T4" fmla="*/ 6 w 13"/>
                <a:gd name="T5" fmla="*/ 19 h 20"/>
                <a:gd name="T6" fmla="*/ 0 w 13"/>
                <a:gd name="T7" fmla="*/ 6 h 20"/>
                <a:gd name="T8" fmla="*/ 8 w 13"/>
                <a:gd name="T9" fmla="*/ 2 h 20"/>
              </a:gdLst>
              <a:ahLst/>
              <a:cxnLst>
                <a:cxn ang="0">
                  <a:pos x="T0" y="T1"/>
                </a:cxn>
                <a:cxn ang="0">
                  <a:pos x="T2" y="T3"/>
                </a:cxn>
                <a:cxn ang="0">
                  <a:pos x="T4" y="T5"/>
                </a:cxn>
                <a:cxn ang="0">
                  <a:pos x="T6" y="T7"/>
                </a:cxn>
                <a:cxn ang="0">
                  <a:pos x="T8" y="T9"/>
                </a:cxn>
              </a:cxnLst>
              <a:rect l="0" t="0" r="r" b="b"/>
              <a:pathLst>
                <a:path w="13" h="20">
                  <a:moveTo>
                    <a:pt x="8" y="2"/>
                  </a:moveTo>
                  <a:cubicBezTo>
                    <a:pt x="9" y="4"/>
                    <a:pt x="12" y="15"/>
                    <a:pt x="13" y="17"/>
                  </a:cubicBezTo>
                  <a:cubicBezTo>
                    <a:pt x="12" y="18"/>
                    <a:pt x="8" y="20"/>
                    <a:pt x="6" y="19"/>
                  </a:cubicBezTo>
                  <a:cubicBezTo>
                    <a:pt x="5" y="17"/>
                    <a:pt x="1" y="9"/>
                    <a:pt x="0" y="6"/>
                  </a:cubicBezTo>
                  <a:cubicBezTo>
                    <a:pt x="0" y="3"/>
                    <a:pt x="6" y="0"/>
                    <a:pt x="8" y="2"/>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6" name="Freeform 212">
              <a:extLst>
                <a:ext uri="{FF2B5EF4-FFF2-40B4-BE49-F238E27FC236}">
                  <a16:creationId xmlns:a16="http://schemas.microsoft.com/office/drawing/2014/main" id="{8CF01647-A3F1-4C0B-882A-8238556DCC8B}"/>
                </a:ext>
              </a:extLst>
            </p:cNvPr>
            <p:cNvSpPr>
              <a:spLocks/>
            </p:cNvSpPr>
            <p:nvPr/>
          </p:nvSpPr>
          <p:spPr bwMode="auto">
            <a:xfrm>
              <a:off x="10768013" y="3333751"/>
              <a:ext cx="55562" cy="57150"/>
            </a:xfrm>
            <a:custGeom>
              <a:avLst/>
              <a:gdLst>
                <a:gd name="T0" fmla="*/ 6 w 15"/>
                <a:gd name="T1" fmla="*/ 1 h 15"/>
                <a:gd name="T2" fmla="*/ 7 w 15"/>
                <a:gd name="T3" fmla="*/ 2 h 15"/>
                <a:gd name="T4" fmla="*/ 15 w 15"/>
                <a:gd name="T5" fmla="*/ 10 h 15"/>
                <a:gd name="T6" fmla="*/ 11 w 15"/>
                <a:gd name="T7" fmla="*/ 14 h 15"/>
                <a:gd name="T8" fmla="*/ 5 w 15"/>
                <a:gd name="T9" fmla="*/ 10 h 15"/>
                <a:gd name="T10" fmla="*/ 0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7" y="2"/>
                    <a:pt x="7" y="2"/>
                    <a:pt x="7" y="2"/>
                  </a:cubicBezTo>
                  <a:cubicBezTo>
                    <a:pt x="9" y="4"/>
                    <a:pt x="14" y="9"/>
                    <a:pt x="15" y="10"/>
                  </a:cubicBezTo>
                  <a:cubicBezTo>
                    <a:pt x="15" y="12"/>
                    <a:pt x="12" y="15"/>
                    <a:pt x="11" y="14"/>
                  </a:cubicBezTo>
                  <a:cubicBezTo>
                    <a:pt x="10" y="13"/>
                    <a:pt x="7" y="12"/>
                    <a:pt x="5" y="10"/>
                  </a:cubicBezTo>
                  <a:cubicBezTo>
                    <a:pt x="3" y="9"/>
                    <a:pt x="1" y="7"/>
                    <a:pt x="0" y="6"/>
                  </a:cubicBezTo>
                  <a:cubicBezTo>
                    <a:pt x="0" y="4"/>
                    <a:pt x="3" y="0"/>
                    <a:pt x="6" y="1"/>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7" name="Freeform 213">
              <a:extLst>
                <a:ext uri="{FF2B5EF4-FFF2-40B4-BE49-F238E27FC236}">
                  <a16:creationId xmlns:a16="http://schemas.microsoft.com/office/drawing/2014/main" id="{F3314F86-A151-42E1-A533-C1E58B1D90A7}"/>
                </a:ext>
              </a:extLst>
            </p:cNvPr>
            <p:cNvSpPr>
              <a:spLocks/>
            </p:cNvSpPr>
            <p:nvPr/>
          </p:nvSpPr>
          <p:spPr bwMode="auto">
            <a:xfrm>
              <a:off x="10820400" y="3278188"/>
              <a:ext cx="60325" cy="82550"/>
            </a:xfrm>
            <a:custGeom>
              <a:avLst/>
              <a:gdLst>
                <a:gd name="T0" fmla="*/ 10 w 16"/>
                <a:gd name="T1" fmla="*/ 2 h 22"/>
                <a:gd name="T2" fmla="*/ 16 w 16"/>
                <a:gd name="T3" fmla="*/ 17 h 22"/>
                <a:gd name="T4" fmla="*/ 10 w 16"/>
                <a:gd name="T5" fmla="*/ 21 h 22"/>
                <a:gd name="T6" fmla="*/ 0 w 16"/>
                <a:gd name="T7" fmla="*/ 6 h 22"/>
                <a:gd name="T8" fmla="*/ 10 w 16"/>
                <a:gd name="T9" fmla="*/ 2 h 22"/>
              </a:gdLst>
              <a:ahLst/>
              <a:cxnLst>
                <a:cxn ang="0">
                  <a:pos x="T0" y="T1"/>
                </a:cxn>
                <a:cxn ang="0">
                  <a:pos x="T2" y="T3"/>
                </a:cxn>
                <a:cxn ang="0">
                  <a:pos x="T4" y="T5"/>
                </a:cxn>
                <a:cxn ang="0">
                  <a:pos x="T6" y="T7"/>
                </a:cxn>
                <a:cxn ang="0">
                  <a:pos x="T8" y="T9"/>
                </a:cxn>
              </a:cxnLst>
              <a:rect l="0" t="0" r="r" b="b"/>
              <a:pathLst>
                <a:path w="16" h="22">
                  <a:moveTo>
                    <a:pt x="10" y="2"/>
                  </a:moveTo>
                  <a:cubicBezTo>
                    <a:pt x="11" y="4"/>
                    <a:pt x="16" y="15"/>
                    <a:pt x="16" y="17"/>
                  </a:cubicBezTo>
                  <a:cubicBezTo>
                    <a:pt x="16" y="19"/>
                    <a:pt x="12" y="22"/>
                    <a:pt x="10" y="21"/>
                  </a:cubicBezTo>
                  <a:cubicBezTo>
                    <a:pt x="8" y="18"/>
                    <a:pt x="2" y="10"/>
                    <a:pt x="0" y="6"/>
                  </a:cubicBezTo>
                  <a:cubicBezTo>
                    <a:pt x="1" y="4"/>
                    <a:pt x="8" y="0"/>
                    <a:pt x="10" y="2"/>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8" name="Freeform 214">
              <a:extLst>
                <a:ext uri="{FF2B5EF4-FFF2-40B4-BE49-F238E27FC236}">
                  <a16:creationId xmlns:a16="http://schemas.microsoft.com/office/drawing/2014/main" id="{050E2C65-0A3A-47C1-BFBB-173196F5BD7B}"/>
                </a:ext>
              </a:extLst>
            </p:cNvPr>
            <p:cNvSpPr>
              <a:spLocks/>
            </p:cNvSpPr>
            <p:nvPr/>
          </p:nvSpPr>
          <p:spPr bwMode="auto">
            <a:xfrm>
              <a:off x="10790238" y="3303588"/>
              <a:ext cx="60325" cy="68263"/>
            </a:xfrm>
            <a:custGeom>
              <a:avLst/>
              <a:gdLst>
                <a:gd name="T0" fmla="*/ 8 w 16"/>
                <a:gd name="T1" fmla="*/ 2 h 18"/>
                <a:gd name="T2" fmla="*/ 16 w 16"/>
                <a:gd name="T3" fmla="*/ 14 h 18"/>
                <a:gd name="T4" fmla="*/ 11 w 16"/>
                <a:gd name="T5" fmla="*/ 18 h 18"/>
                <a:gd name="T6" fmla="*/ 0 w 16"/>
                <a:gd name="T7" fmla="*/ 7 h 18"/>
                <a:gd name="T8" fmla="*/ 8 w 16"/>
                <a:gd name="T9" fmla="*/ 2 h 18"/>
              </a:gdLst>
              <a:ahLst/>
              <a:cxnLst>
                <a:cxn ang="0">
                  <a:pos x="T0" y="T1"/>
                </a:cxn>
                <a:cxn ang="0">
                  <a:pos x="T2" y="T3"/>
                </a:cxn>
                <a:cxn ang="0">
                  <a:pos x="T4" y="T5"/>
                </a:cxn>
                <a:cxn ang="0">
                  <a:pos x="T6" y="T7"/>
                </a:cxn>
                <a:cxn ang="0">
                  <a:pos x="T8" y="T9"/>
                </a:cxn>
              </a:cxnLst>
              <a:rect l="0" t="0" r="r" b="b"/>
              <a:pathLst>
                <a:path w="16" h="18">
                  <a:moveTo>
                    <a:pt x="8" y="2"/>
                  </a:moveTo>
                  <a:cubicBezTo>
                    <a:pt x="9" y="3"/>
                    <a:pt x="16" y="13"/>
                    <a:pt x="16" y="14"/>
                  </a:cubicBezTo>
                  <a:cubicBezTo>
                    <a:pt x="16" y="16"/>
                    <a:pt x="12" y="18"/>
                    <a:pt x="11" y="18"/>
                  </a:cubicBezTo>
                  <a:cubicBezTo>
                    <a:pt x="9" y="16"/>
                    <a:pt x="2" y="10"/>
                    <a:pt x="0" y="7"/>
                  </a:cubicBezTo>
                  <a:cubicBezTo>
                    <a:pt x="0" y="4"/>
                    <a:pt x="6" y="0"/>
                    <a:pt x="8" y="2"/>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9" name="Freeform 215">
              <a:extLst>
                <a:ext uri="{FF2B5EF4-FFF2-40B4-BE49-F238E27FC236}">
                  <a16:creationId xmlns:a16="http://schemas.microsoft.com/office/drawing/2014/main" id="{99472319-4665-4EB0-ADDD-AB2A7F06E2A5}"/>
                </a:ext>
              </a:extLst>
            </p:cNvPr>
            <p:cNvSpPr>
              <a:spLocks/>
            </p:cNvSpPr>
            <p:nvPr/>
          </p:nvSpPr>
          <p:spPr bwMode="auto">
            <a:xfrm>
              <a:off x="10850563" y="3303588"/>
              <a:ext cx="112712" cy="184150"/>
            </a:xfrm>
            <a:custGeom>
              <a:avLst/>
              <a:gdLst>
                <a:gd name="T0" fmla="*/ 25 w 30"/>
                <a:gd name="T1" fmla="*/ 9 h 49"/>
                <a:gd name="T2" fmla="*/ 17 w 30"/>
                <a:gd name="T3" fmla="*/ 2 h 49"/>
                <a:gd name="T4" fmla="*/ 10 w 30"/>
                <a:gd name="T5" fmla="*/ 2 h 49"/>
                <a:gd name="T6" fmla="*/ 4 w 30"/>
                <a:gd name="T7" fmla="*/ 0 h 49"/>
                <a:gd name="T8" fmla="*/ 7 w 30"/>
                <a:gd name="T9" fmla="*/ 9 h 49"/>
                <a:gd name="T10" fmla="*/ 12 w 30"/>
                <a:gd name="T11" fmla="*/ 9 h 49"/>
                <a:gd name="T12" fmla="*/ 14 w 30"/>
                <a:gd name="T13" fmla="*/ 11 h 49"/>
                <a:gd name="T14" fmla="*/ 22 w 30"/>
                <a:gd name="T15" fmla="*/ 49 h 49"/>
                <a:gd name="T16" fmla="*/ 30 w 30"/>
                <a:gd name="T17" fmla="*/ 43 h 49"/>
                <a:gd name="T18" fmla="*/ 20 w 30"/>
                <a:gd name="T19" fmla="*/ 28 h 49"/>
                <a:gd name="T20" fmla="*/ 25 w 30"/>
                <a:gd name="T2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49">
                  <a:moveTo>
                    <a:pt x="25" y="9"/>
                  </a:moveTo>
                  <a:cubicBezTo>
                    <a:pt x="24" y="5"/>
                    <a:pt x="17" y="2"/>
                    <a:pt x="17" y="2"/>
                  </a:cubicBezTo>
                  <a:cubicBezTo>
                    <a:pt x="10" y="2"/>
                    <a:pt x="10" y="2"/>
                    <a:pt x="10" y="2"/>
                  </a:cubicBezTo>
                  <a:cubicBezTo>
                    <a:pt x="4" y="0"/>
                    <a:pt x="4" y="0"/>
                    <a:pt x="4" y="0"/>
                  </a:cubicBezTo>
                  <a:cubicBezTo>
                    <a:pt x="4" y="0"/>
                    <a:pt x="0" y="5"/>
                    <a:pt x="7" y="9"/>
                  </a:cubicBezTo>
                  <a:cubicBezTo>
                    <a:pt x="12" y="9"/>
                    <a:pt x="12" y="9"/>
                    <a:pt x="12" y="9"/>
                  </a:cubicBezTo>
                  <a:cubicBezTo>
                    <a:pt x="12" y="9"/>
                    <a:pt x="13" y="10"/>
                    <a:pt x="14" y="11"/>
                  </a:cubicBezTo>
                  <a:cubicBezTo>
                    <a:pt x="3" y="22"/>
                    <a:pt x="12" y="34"/>
                    <a:pt x="22" y="49"/>
                  </a:cubicBezTo>
                  <a:cubicBezTo>
                    <a:pt x="30" y="43"/>
                    <a:pt x="30" y="43"/>
                    <a:pt x="30" y="43"/>
                  </a:cubicBezTo>
                  <a:cubicBezTo>
                    <a:pt x="28" y="39"/>
                    <a:pt x="20" y="28"/>
                    <a:pt x="20" y="28"/>
                  </a:cubicBezTo>
                  <a:cubicBezTo>
                    <a:pt x="20" y="19"/>
                    <a:pt x="26" y="13"/>
                    <a:pt x="25" y="9"/>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0" name="Freeform 216">
              <a:extLst>
                <a:ext uri="{FF2B5EF4-FFF2-40B4-BE49-F238E27FC236}">
                  <a16:creationId xmlns:a16="http://schemas.microsoft.com/office/drawing/2014/main" id="{25F4DA03-289C-4328-A3BB-C2BCAC3BE18D}"/>
                </a:ext>
              </a:extLst>
            </p:cNvPr>
            <p:cNvSpPr>
              <a:spLocks/>
            </p:cNvSpPr>
            <p:nvPr/>
          </p:nvSpPr>
          <p:spPr bwMode="auto">
            <a:xfrm>
              <a:off x="10847388" y="3303588"/>
              <a:ext cx="90487" cy="101600"/>
            </a:xfrm>
            <a:custGeom>
              <a:avLst/>
              <a:gdLst>
                <a:gd name="T0" fmla="*/ 15 w 24"/>
                <a:gd name="T1" fmla="*/ 11 h 27"/>
                <a:gd name="T2" fmla="*/ 13 w 24"/>
                <a:gd name="T3" fmla="*/ 9 h 27"/>
                <a:gd name="T4" fmla="*/ 8 w 24"/>
                <a:gd name="T5" fmla="*/ 9 h 27"/>
                <a:gd name="T6" fmla="*/ 5 w 24"/>
                <a:gd name="T7" fmla="*/ 0 h 27"/>
                <a:gd name="T8" fmla="*/ 11 w 24"/>
                <a:gd name="T9" fmla="*/ 2 h 27"/>
                <a:gd name="T10" fmla="*/ 18 w 24"/>
                <a:gd name="T11" fmla="*/ 2 h 27"/>
                <a:gd name="T12" fmla="*/ 24 w 24"/>
                <a:gd name="T13" fmla="*/ 6 h 27"/>
                <a:gd name="T14" fmla="*/ 18 w 24"/>
                <a:gd name="T15" fmla="*/ 2 h 27"/>
                <a:gd name="T16" fmla="*/ 11 w 24"/>
                <a:gd name="T17" fmla="*/ 2 h 27"/>
                <a:gd name="T18" fmla="*/ 5 w 24"/>
                <a:gd name="T19" fmla="*/ 0 h 27"/>
                <a:gd name="T20" fmla="*/ 8 w 24"/>
                <a:gd name="T21" fmla="*/ 9 h 27"/>
                <a:gd name="T22" fmla="*/ 12 w 24"/>
                <a:gd name="T23" fmla="*/ 10 h 27"/>
                <a:gd name="T24" fmla="*/ 14 w 24"/>
                <a:gd name="T25" fmla="*/ 11 h 27"/>
                <a:gd name="T26" fmla="*/ 11 w 24"/>
                <a:gd name="T27" fmla="*/ 27 h 27"/>
                <a:gd name="T28" fmla="*/ 11 w 24"/>
                <a:gd name="T29" fmla="*/ 27 h 27"/>
                <a:gd name="T30" fmla="*/ 15 w 24"/>
                <a:gd name="T3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7">
                  <a:moveTo>
                    <a:pt x="15" y="11"/>
                  </a:moveTo>
                  <a:cubicBezTo>
                    <a:pt x="14" y="10"/>
                    <a:pt x="13" y="9"/>
                    <a:pt x="13" y="9"/>
                  </a:cubicBezTo>
                  <a:cubicBezTo>
                    <a:pt x="8" y="9"/>
                    <a:pt x="8" y="9"/>
                    <a:pt x="8" y="9"/>
                  </a:cubicBezTo>
                  <a:cubicBezTo>
                    <a:pt x="1" y="5"/>
                    <a:pt x="5" y="0"/>
                    <a:pt x="5" y="0"/>
                  </a:cubicBezTo>
                  <a:cubicBezTo>
                    <a:pt x="11" y="2"/>
                    <a:pt x="11" y="2"/>
                    <a:pt x="11" y="2"/>
                  </a:cubicBezTo>
                  <a:cubicBezTo>
                    <a:pt x="18" y="2"/>
                    <a:pt x="18" y="2"/>
                    <a:pt x="18" y="2"/>
                  </a:cubicBezTo>
                  <a:cubicBezTo>
                    <a:pt x="18" y="2"/>
                    <a:pt x="21" y="4"/>
                    <a:pt x="24" y="6"/>
                  </a:cubicBezTo>
                  <a:cubicBezTo>
                    <a:pt x="21" y="3"/>
                    <a:pt x="18" y="2"/>
                    <a:pt x="18" y="2"/>
                  </a:cubicBezTo>
                  <a:cubicBezTo>
                    <a:pt x="11" y="2"/>
                    <a:pt x="11" y="2"/>
                    <a:pt x="11" y="2"/>
                  </a:cubicBezTo>
                  <a:cubicBezTo>
                    <a:pt x="5" y="0"/>
                    <a:pt x="5" y="0"/>
                    <a:pt x="5" y="0"/>
                  </a:cubicBezTo>
                  <a:cubicBezTo>
                    <a:pt x="4" y="0"/>
                    <a:pt x="0" y="5"/>
                    <a:pt x="8" y="9"/>
                  </a:cubicBezTo>
                  <a:cubicBezTo>
                    <a:pt x="12" y="10"/>
                    <a:pt x="12" y="10"/>
                    <a:pt x="12" y="10"/>
                  </a:cubicBezTo>
                  <a:cubicBezTo>
                    <a:pt x="12" y="10"/>
                    <a:pt x="14" y="11"/>
                    <a:pt x="14" y="11"/>
                  </a:cubicBezTo>
                  <a:cubicBezTo>
                    <a:pt x="10" y="16"/>
                    <a:pt x="9" y="22"/>
                    <a:pt x="11" y="27"/>
                  </a:cubicBezTo>
                  <a:cubicBezTo>
                    <a:pt x="11" y="27"/>
                    <a:pt x="11" y="27"/>
                    <a:pt x="11" y="27"/>
                  </a:cubicBezTo>
                  <a:cubicBezTo>
                    <a:pt x="9" y="22"/>
                    <a:pt x="10" y="16"/>
                    <a:pt x="15" y="11"/>
                  </a:cubicBezTo>
                  <a:close/>
                </a:path>
              </a:pathLst>
            </a:custGeom>
            <a:solidFill>
              <a:srgbClr val="F28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1" name="Freeform 217">
              <a:extLst>
                <a:ext uri="{FF2B5EF4-FFF2-40B4-BE49-F238E27FC236}">
                  <a16:creationId xmlns:a16="http://schemas.microsoft.com/office/drawing/2014/main" id="{02323544-A74D-4F18-876C-B8E3CB961B97}"/>
                </a:ext>
              </a:extLst>
            </p:cNvPr>
            <p:cNvSpPr>
              <a:spLocks/>
            </p:cNvSpPr>
            <p:nvPr/>
          </p:nvSpPr>
          <p:spPr bwMode="auto">
            <a:xfrm>
              <a:off x="10877550" y="3421063"/>
              <a:ext cx="917575" cy="766763"/>
            </a:xfrm>
            <a:custGeom>
              <a:avLst/>
              <a:gdLst>
                <a:gd name="T0" fmla="*/ 228 w 244"/>
                <a:gd name="T1" fmla="*/ 16 h 204"/>
                <a:gd name="T2" fmla="*/ 178 w 244"/>
                <a:gd name="T3" fmla="*/ 16 h 204"/>
                <a:gd name="T4" fmla="*/ 108 w 244"/>
                <a:gd name="T5" fmla="*/ 133 h 204"/>
                <a:gd name="T6" fmla="*/ 23 w 244"/>
                <a:gd name="T7" fmla="*/ 6 h 204"/>
                <a:gd name="T8" fmla="*/ 0 w 244"/>
                <a:gd name="T9" fmla="*/ 19 h 204"/>
                <a:gd name="T10" fmla="*/ 93 w 244"/>
                <a:gd name="T11" fmla="*/ 191 h 204"/>
                <a:gd name="T12" fmla="*/ 135 w 244"/>
                <a:gd name="T13" fmla="*/ 190 h 204"/>
                <a:gd name="T14" fmla="*/ 234 w 244"/>
                <a:gd name="T15" fmla="*/ 67 h 204"/>
                <a:gd name="T16" fmla="*/ 228 w 244"/>
                <a:gd name="T17" fmla="*/ 1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204">
                  <a:moveTo>
                    <a:pt x="228" y="16"/>
                  </a:moveTo>
                  <a:cubicBezTo>
                    <a:pt x="212" y="0"/>
                    <a:pt x="191" y="6"/>
                    <a:pt x="178" y="16"/>
                  </a:cubicBezTo>
                  <a:cubicBezTo>
                    <a:pt x="154" y="36"/>
                    <a:pt x="125" y="95"/>
                    <a:pt x="108" y="133"/>
                  </a:cubicBezTo>
                  <a:cubicBezTo>
                    <a:pt x="75" y="82"/>
                    <a:pt x="23" y="6"/>
                    <a:pt x="23" y="6"/>
                  </a:cubicBezTo>
                  <a:cubicBezTo>
                    <a:pt x="0" y="19"/>
                    <a:pt x="0" y="19"/>
                    <a:pt x="0" y="19"/>
                  </a:cubicBezTo>
                  <a:cubicBezTo>
                    <a:pt x="0" y="19"/>
                    <a:pt x="86" y="180"/>
                    <a:pt x="93" y="191"/>
                  </a:cubicBezTo>
                  <a:cubicBezTo>
                    <a:pt x="101" y="204"/>
                    <a:pt x="125" y="200"/>
                    <a:pt x="135" y="190"/>
                  </a:cubicBezTo>
                  <a:cubicBezTo>
                    <a:pt x="146" y="181"/>
                    <a:pt x="221" y="89"/>
                    <a:pt x="234" y="67"/>
                  </a:cubicBezTo>
                  <a:cubicBezTo>
                    <a:pt x="244" y="50"/>
                    <a:pt x="242" y="28"/>
                    <a:pt x="228" y="16"/>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2" name="Freeform 218">
              <a:extLst>
                <a:ext uri="{FF2B5EF4-FFF2-40B4-BE49-F238E27FC236}">
                  <a16:creationId xmlns:a16="http://schemas.microsoft.com/office/drawing/2014/main" id="{7C5A7127-DE67-40F0-8AF1-654ECB15EED6}"/>
                </a:ext>
              </a:extLst>
            </p:cNvPr>
            <p:cNvSpPr>
              <a:spLocks/>
            </p:cNvSpPr>
            <p:nvPr/>
          </p:nvSpPr>
          <p:spPr bwMode="auto">
            <a:xfrm>
              <a:off x="11399838" y="3402013"/>
              <a:ext cx="744537" cy="1343025"/>
            </a:xfrm>
            <a:custGeom>
              <a:avLst/>
              <a:gdLst>
                <a:gd name="T0" fmla="*/ 88 w 198"/>
                <a:gd name="T1" fmla="*/ 11 h 357"/>
                <a:gd name="T2" fmla="*/ 161 w 198"/>
                <a:gd name="T3" fmla="*/ 34 h 357"/>
                <a:gd name="T4" fmla="*/ 160 w 198"/>
                <a:gd name="T5" fmla="*/ 180 h 357"/>
                <a:gd name="T6" fmla="*/ 198 w 198"/>
                <a:gd name="T7" fmla="*/ 345 h 357"/>
                <a:gd name="T8" fmla="*/ 88 w 198"/>
                <a:gd name="T9" fmla="*/ 350 h 357"/>
                <a:gd name="T10" fmla="*/ 53 w 198"/>
                <a:gd name="T11" fmla="*/ 205 h 357"/>
                <a:gd name="T12" fmla="*/ 5 w 198"/>
                <a:gd name="T13" fmla="*/ 74 h 357"/>
                <a:gd name="T14" fmla="*/ 29 w 198"/>
                <a:gd name="T15" fmla="*/ 29 h 357"/>
                <a:gd name="T16" fmla="*/ 88 w 198"/>
                <a:gd name="T17" fmla="*/ 1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357">
                  <a:moveTo>
                    <a:pt x="88" y="11"/>
                  </a:moveTo>
                  <a:cubicBezTo>
                    <a:pt x="102" y="10"/>
                    <a:pt x="138" y="0"/>
                    <a:pt x="161" y="34"/>
                  </a:cubicBezTo>
                  <a:cubicBezTo>
                    <a:pt x="175" y="55"/>
                    <a:pt x="157" y="136"/>
                    <a:pt x="160" y="180"/>
                  </a:cubicBezTo>
                  <a:cubicBezTo>
                    <a:pt x="162" y="210"/>
                    <a:pt x="196" y="332"/>
                    <a:pt x="198" y="345"/>
                  </a:cubicBezTo>
                  <a:cubicBezTo>
                    <a:pt x="144" y="357"/>
                    <a:pt x="93" y="357"/>
                    <a:pt x="88" y="350"/>
                  </a:cubicBezTo>
                  <a:cubicBezTo>
                    <a:pt x="84" y="335"/>
                    <a:pt x="61" y="225"/>
                    <a:pt x="53" y="205"/>
                  </a:cubicBezTo>
                  <a:cubicBezTo>
                    <a:pt x="46" y="187"/>
                    <a:pt x="0" y="105"/>
                    <a:pt x="5" y="74"/>
                  </a:cubicBezTo>
                  <a:cubicBezTo>
                    <a:pt x="9" y="44"/>
                    <a:pt x="29" y="29"/>
                    <a:pt x="29" y="29"/>
                  </a:cubicBezTo>
                  <a:cubicBezTo>
                    <a:pt x="88" y="11"/>
                    <a:pt x="88" y="11"/>
                    <a:pt x="88" y="1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3" name="Freeform 219">
              <a:extLst>
                <a:ext uri="{FF2B5EF4-FFF2-40B4-BE49-F238E27FC236}">
                  <a16:creationId xmlns:a16="http://schemas.microsoft.com/office/drawing/2014/main" id="{4BCCC0AC-AE21-4B02-86B4-371F4BBD02DB}"/>
                </a:ext>
              </a:extLst>
            </p:cNvPr>
            <p:cNvSpPr>
              <a:spLocks/>
            </p:cNvSpPr>
            <p:nvPr/>
          </p:nvSpPr>
          <p:spPr bwMode="auto">
            <a:xfrm>
              <a:off x="11701463" y="3402013"/>
              <a:ext cx="846137" cy="1527175"/>
            </a:xfrm>
            <a:custGeom>
              <a:avLst/>
              <a:gdLst>
                <a:gd name="T0" fmla="*/ 105 w 225"/>
                <a:gd name="T1" fmla="*/ 250 h 406"/>
                <a:gd name="T2" fmla="*/ 155 w 225"/>
                <a:gd name="T3" fmla="*/ 361 h 406"/>
                <a:gd name="T4" fmla="*/ 225 w 225"/>
                <a:gd name="T5" fmla="*/ 406 h 406"/>
                <a:gd name="T6" fmla="*/ 87 w 225"/>
                <a:gd name="T7" fmla="*/ 178 h 406"/>
                <a:gd name="T8" fmla="*/ 81 w 225"/>
                <a:gd name="T9" fmla="*/ 34 h 406"/>
                <a:gd name="T10" fmla="*/ 8 w 225"/>
                <a:gd name="T11" fmla="*/ 11 h 406"/>
                <a:gd name="T12" fmla="*/ 7 w 225"/>
                <a:gd name="T13" fmla="*/ 11 h 406"/>
                <a:gd name="T14" fmla="*/ 31 w 225"/>
                <a:gd name="T15" fmla="*/ 131 h 406"/>
                <a:gd name="T16" fmla="*/ 105 w 225"/>
                <a:gd name="T17" fmla="*/ 25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406">
                  <a:moveTo>
                    <a:pt x="105" y="250"/>
                  </a:moveTo>
                  <a:cubicBezTo>
                    <a:pt x="155" y="361"/>
                    <a:pt x="155" y="361"/>
                    <a:pt x="155" y="361"/>
                  </a:cubicBezTo>
                  <a:cubicBezTo>
                    <a:pt x="225" y="406"/>
                    <a:pt x="225" y="406"/>
                    <a:pt x="225" y="406"/>
                  </a:cubicBezTo>
                  <a:cubicBezTo>
                    <a:pt x="209" y="392"/>
                    <a:pt x="90" y="195"/>
                    <a:pt x="87" y="178"/>
                  </a:cubicBezTo>
                  <a:cubicBezTo>
                    <a:pt x="78" y="135"/>
                    <a:pt x="95" y="55"/>
                    <a:pt x="81" y="34"/>
                  </a:cubicBezTo>
                  <a:cubicBezTo>
                    <a:pt x="58" y="0"/>
                    <a:pt x="22" y="10"/>
                    <a:pt x="8" y="11"/>
                  </a:cubicBezTo>
                  <a:cubicBezTo>
                    <a:pt x="7" y="11"/>
                    <a:pt x="7" y="11"/>
                    <a:pt x="7" y="11"/>
                  </a:cubicBezTo>
                  <a:cubicBezTo>
                    <a:pt x="0" y="51"/>
                    <a:pt x="20" y="107"/>
                    <a:pt x="31" y="131"/>
                  </a:cubicBezTo>
                  <a:cubicBezTo>
                    <a:pt x="44" y="159"/>
                    <a:pt x="105" y="250"/>
                    <a:pt x="105" y="250"/>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4" name="Freeform 220">
              <a:extLst>
                <a:ext uri="{FF2B5EF4-FFF2-40B4-BE49-F238E27FC236}">
                  <a16:creationId xmlns:a16="http://schemas.microsoft.com/office/drawing/2014/main" id="{CC350228-DA21-42C6-B6DE-6845585A527F}"/>
                </a:ext>
              </a:extLst>
            </p:cNvPr>
            <p:cNvSpPr>
              <a:spLocks/>
            </p:cNvSpPr>
            <p:nvPr/>
          </p:nvSpPr>
          <p:spPr bwMode="auto">
            <a:xfrm>
              <a:off x="11709400" y="3394076"/>
              <a:ext cx="1327150" cy="1035050"/>
            </a:xfrm>
            <a:custGeom>
              <a:avLst/>
              <a:gdLst>
                <a:gd name="T0" fmla="*/ 204 w 353"/>
                <a:gd name="T1" fmla="*/ 107 h 275"/>
                <a:gd name="T2" fmla="*/ 65 w 353"/>
                <a:gd name="T3" fmla="*/ 9 h 275"/>
                <a:gd name="T4" fmla="*/ 14 w 353"/>
                <a:gd name="T5" fmla="*/ 18 h 275"/>
                <a:gd name="T6" fmla="*/ 17 w 353"/>
                <a:gd name="T7" fmla="*/ 68 h 275"/>
                <a:gd name="T8" fmla="*/ 180 w 353"/>
                <a:gd name="T9" fmla="*/ 146 h 275"/>
                <a:gd name="T10" fmla="*/ 334 w 353"/>
                <a:gd name="T11" fmla="*/ 275 h 275"/>
                <a:gd name="T12" fmla="*/ 353 w 353"/>
                <a:gd name="T13" fmla="*/ 257 h 275"/>
                <a:gd name="T14" fmla="*/ 204 w 353"/>
                <a:gd name="T15" fmla="*/ 107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3" h="275">
                  <a:moveTo>
                    <a:pt x="204" y="107"/>
                  </a:moveTo>
                  <a:cubicBezTo>
                    <a:pt x="189" y="94"/>
                    <a:pt x="88" y="22"/>
                    <a:pt x="65" y="9"/>
                  </a:cubicBezTo>
                  <a:cubicBezTo>
                    <a:pt x="47" y="0"/>
                    <a:pt x="26" y="4"/>
                    <a:pt x="14" y="18"/>
                  </a:cubicBezTo>
                  <a:cubicBezTo>
                    <a:pt x="0" y="35"/>
                    <a:pt x="7" y="56"/>
                    <a:pt x="17" y="68"/>
                  </a:cubicBezTo>
                  <a:cubicBezTo>
                    <a:pt x="47" y="101"/>
                    <a:pt x="173" y="143"/>
                    <a:pt x="180" y="146"/>
                  </a:cubicBezTo>
                  <a:cubicBezTo>
                    <a:pt x="186" y="154"/>
                    <a:pt x="334" y="275"/>
                    <a:pt x="334" y="275"/>
                  </a:cubicBezTo>
                  <a:cubicBezTo>
                    <a:pt x="353" y="257"/>
                    <a:pt x="353" y="257"/>
                    <a:pt x="353" y="257"/>
                  </a:cubicBezTo>
                  <a:cubicBezTo>
                    <a:pt x="353" y="257"/>
                    <a:pt x="220" y="121"/>
                    <a:pt x="204" y="107"/>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5" name="Freeform 221">
              <a:extLst>
                <a:ext uri="{FF2B5EF4-FFF2-40B4-BE49-F238E27FC236}">
                  <a16:creationId xmlns:a16="http://schemas.microsoft.com/office/drawing/2014/main" id="{FFED8A00-5738-4944-9540-86633C1CDEF1}"/>
                </a:ext>
              </a:extLst>
            </p:cNvPr>
            <p:cNvSpPr>
              <a:spLocks/>
            </p:cNvSpPr>
            <p:nvPr/>
          </p:nvSpPr>
          <p:spPr bwMode="auto">
            <a:xfrm>
              <a:off x="11404600" y="3548063"/>
              <a:ext cx="925512" cy="601663"/>
            </a:xfrm>
            <a:custGeom>
              <a:avLst/>
              <a:gdLst>
                <a:gd name="T0" fmla="*/ 23 w 246"/>
                <a:gd name="T1" fmla="*/ 20 h 160"/>
                <a:gd name="T2" fmla="*/ 22 w 246"/>
                <a:gd name="T3" fmla="*/ 7 h 160"/>
                <a:gd name="T4" fmla="*/ 28 w 246"/>
                <a:gd name="T5" fmla="*/ 0 h 160"/>
                <a:gd name="T6" fmla="*/ 34 w 246"/>
                <a:gd name="T7" fmla="*/ 1 h 160"/>
                <a:gd name="T8" fmla="*/ 40 w 246"/>
                <a:gd name="T9" fmla="*/ 10 h 160"/>
                <a:gd name="T10" fmla="*/ 31 w 246"/>
                <a:gd name="T11" fmla="*/ 21 h 160"/>
                <a:gd name="T12" fmla="*/ 242 w 246"/>
                <a:gd name="T13" fmla="*/ 141 h 160"/>
                <a:gd name="T14" fmla="*/ 246 w 246"/>
                <a:gd name="T15" fmla="*/ 160 h 160"/>
                <a:gd name="T16" fmla="*/ 214 w 246"/>
                <a:gd name="T17" fmla="*/ 154 h 160"/>
                <a:gd name="T18" fmla="*/ 23 w 246"/>
                <a:gd name="T19" fmla="*/ 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160">
                  <a:moveTo>
                    <a:pt x="23" y="20"/>
                  </a:moveTo>
                  <a:cubicBezTo>
                    <a:pt x="22" y="7"/>
                    <a:pt x="22" y="7"/>
                    <a:pt x="22" y="7"/>
                  </a:cubicBezTo>
                  <a:cubicBezTo>
                    <a:pt x="28" y="0"/>
                    <a:pt x="28" y="0"/>
                    <a:pt x="28" y="0"/>
                  </a:cubicBezTo>
                  <a:cubicBezTo>
                    <a:pt x="34" y="1"/>
                    <a:pt x="34" y="1"/>
                    <a:pt x="34" y="1"/>
                  </a:cubicBezTo>
                  <a:cubicBezTo>
                    <a:pt x="40" y="10"/>
                    <a:pt x="40" y="10"/>
                    <a:pt x="40" y="10"/>
                  </a:cubicBezTo>
                  <a:cubicBezTo>
                    <a:pt x="31" y="21"/>
                    <a:pt x="31" y="21"/>
                    <a:pt x="31" y="21"/>
                  </a:cubicBezTo>
                  <a:cubicBezTo>
                    <a:pt x="0" y="47"/>
                    <a:pt x="236" y="79"/>
                    <a:pt x="242" y="141"/>
                  </a:cubicBezTo>
                  <a:cubicBezTo>
                    <a:pt x="246" y="160"/>
                    <a:pt x="246" y="160"/>
                    <a:pt x="246" y="160"/>
                  </a:cubicBezTo>
                  <a:cubicBezTo>
                    <a:pt x="214" y="154"/>
                    <a:pt x="214" y="154"/>
                    <a:pt x="214" y="154"/>
                  </a:cubicBezTo>
                  <a:cubicBezTo>
                    <a:pt x="152" y="84"/>
                    <a:pt x="13" y="66"/>
                    <a:pt x="23" y="20"/>
                  </a:cubicBez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6" name="Freeform 222">
              <a:extLst>
                <a:ext uri="{FF2B5EF4-FFF2-40B4-BE49-F238E27FC236}">
                  <a16:creationId xmlns:a16="http://schemas.microsoft.com/office/drawing/2014/main" id="{7780F680-E1C5-43DC-843E-117AC4AF1FAF}"/>
                </a:ext>
              </a:extLst>
            </p:cNvPr>
            <p:cNvSpPr>
              <a:spLocks/>
            </p:cNvSpPr>
            <p:nvPr/>
          </p:nvSpPr>
          <p:spPr bwMode="auto">
            <a:xfrm>
              <a:off x="11445875" y="3067051"/>
              <a:ext cx="334962" cy="492125"/>
            </a:xfrm>
            <a:custGeom>
              <a:avLst/>
              <a:gdLst>
                <a:gd name="T0" fmla="*/ 72 w 89"/>
                <a:gd name="T1" fmla="*/ 102 h 131"/>
                <a:gd name="T2" fmla="*/ 68 w 89"/>
                <a:gd name="T3" fmla="*/ 90 h 131"/>
                <a:gd name="T4" fmla="*/ 84 w 89"/>
                <a:gd name="T5" fmla="*/ 32 h 131"/>
                <a:gd name="T6" fmla="*/ 15 w 89"/>
                <a:gd name="T7" fmla="*/ 22 h 131"/>
                <a:gd name="T8" fmla="*/ 12 w 89"/>
                <a:gd name="T9" fmla="*/ 42 h 131"/>
                <a:gd name="T10" fmla="*/ 2 w 89"/>
                <a:gd name="T11" fmla="*/ 58 h 131"/>
                <a:gd name="T12" fmla="*/ 2 w 89"/>
                <a:gd name="T13" fmla="*/ 63 h 131"/>
                <a:gd name="T14" fmla="*/ 8 w 89"/>
                <a:gd name="T15" fmla="*/ 65 h 131"/>
                <a:gd name="T16" fmla="*/ 7 w 89"/>
                <a:gd name="T17" fmla="*/ 71 h 131"/>
                <a:gd name="T18" fmla="*/ 8 w 89"/>
                <a:gd name="T19" fmla="*/ 76 h 131"/>
                <a:gd name="T20" fmla="*/ 6 w 89"/>
                <a:gd name="T21" fmla="*/ 80 h 131"/>
                <a:gd name="T22" fmla="*/ 7 w 89"/>
                <a:gd name="T23" fmla="*/ 83 h 131"/>
                <a:gd name="T24" fmla="*/ 9 w 89"/>
                <a:gd name="T25" fmla="*/ 96 h 131"/>
                <a:gd name="T26" fmla="*/ 19 w 89"/>
                <a:gd name="T27" fmla="*/ 98 h 131"/>
                <a:gd name="T28" fmla="*/ 16 w 89"/>
                <a:gd name="T29" fmla="*/ 125 h 131"/>
                <a:gd name="T30" fmla="*/ 20 w 89"/>
                <a:gd name="T31" fmla="*/ 131 h 131"/>
                <a:gd name="T32" fmla="*/ 72 w 89"/>
                <a:gd name="T33" fmla="*/ 10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31">
                  <a:moveTo>
                    <a:pt x="72" y="102"/>
                  </a:moveTo>
                  <a:cubicBezTo>
                    <a:pt x="68" y="90"/>
                    <a:pt x="68" y="90"/>
                    <a:pt x="68" y="90"/>
                  </a:cubicBezTo>
                  <a:cubicBezTo>
                    <a:pt x="78" y="67"/>
                    <a:pt x="89" y="49"/>
                    <a:pt x="84" y="32"/>
                  </a:cubicBezTo>
                  <a:cubicBezTo>
                    <a:pt x="76" y="4"/>
                    <a:pt x="20" y="0"/>
                    <a:pt x="15" y="22"/>
                  </a:cubicBezTo>
                  <a:cubicBezTo>
                    <a:pt x="15" y="25"/>
                    <a:pt x="15" y="38"/>
                    <a:pt x="12" y="42"/>
                  </a:cubicBezTo>
                  <a:cubicBezTo>
                    <a:pt x="7" y="49"/>
                    <a:pt x="4" y="54"/>
                    <a:pt x="2" y="58"/>
                  </a:cubicBezTo>
                  <a:cubicBezTo>
                    <a:pt x="1" y="59"/>
                    <a:pt x="0" y="62"/>
                    <a:pt x="2" y="63"/>
                  </a:cubicBezTo>
                  <a:cubicBezTo>
                    <a:pt x="4" y="64"/>
                    <a:pt x="8" y="65"/>
                    <a:pt x="8" y="65"/>
                  </a:cubicBezTo>
                  <a:cubicBezTo>
                    <a:pt x="8" y="65"/>
                    <a:pt x="7" y="68"/>
                    <a:pt x="7" y="71"/>
                  </a:cubicBezTo>
                  <a:cubicBezTo>
                    <a:pt x="5" y="75"/>
                    <a:pt x="8" y="75"/>
                    <a:pt x="8" y="76"/>
                  </a:cubicBezTo>
                  <a:cubicBezTo>
                    <a:pt x="8" y="77"/>
                    <a:pt x="7" y="77"/>
                    <a:pt x="6" y="80"/>
                  </a:cubicBezTo>
                  <a:cubicBezTo>
                    <a:pt x="6" y="81"/>
                    <a:pt x="7" y="82"/>
                    <a:pt x="7" y="83"/>
                  </a:cubicBezTo>
                  <a:cubicBezTo>
                    <a:pt x="6" y="88"/>
                    <a:pt x="6" y="95"/>
                    <a:pt x="9" y="96"/>
                  </a:cubicBezTo>
                  <a:cubicBezTo>
                    <a:pt x="11" y="96"/>
                    <a:pt x="19" y="98"/>
                    <a:pt x="19" y="98"/>
                  </a:cubicBezTo>
                  <a:cubicBezTo>
                    <a:pt x="16" y="125"/>
                    <a:pt x="16" y="125"/>
                    <a:pt x="16" y="125"/>
                  </a:cubicBezTo>
                  <a:cubicBezTo>
                    <a:pt x="20" y="131"/>
                    <a:pt x="20" y="131"/>
                    <a:pt x="20" y="131"/>
                  </a:cubicBezTo>
                  <a:cubicBezTo>
                    <a:pt x="72" y="102"/>
                    <a:pt x="72" y="102"/>
                    <a:pt x="72" y="102"/>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7" name="Freeform 223">
              <a:extLst>
                <a:ext uri="{FF2B5EF4-FFF2-40B4-BE49-F238E27FC236}">
                  <a16:creationId xmlns:a16="http://schemas.microsoft.com/office/drawing/2014/main" id="{1966199C-E354-46BB-BD2F-44E109FFE3D0}"/>
                </a:ext>
              </a:extLst>
            </p:cNvPr>
            <p:cNvSpPr>
              <a:spLocks/>
            </p:cNvSpPr>
            <p:nvPr/>
          </p:nvSpPr>
          <p:spPr bwMode="auto">
            <a:xfrm>
              <a:off x="11490325" y="3048001"/>
              <a:ext cx="327025" cy="357188"/>
            </a:xfrm>
            <a:custGeom>
              <a:avLst/>
              <a:gdLst>
                <a:gd name="T0" fmla="*/ 43 w 87"/>
                <a:gd name="T1" fmla="*/ 61 h 95"/>
                <a:gd name="T2" fmla="*/ 40 w 87"/>
                <a:gd name="T3" fmla="*/ 71 h 95"/>
                <a:gd name="T4" fmla="*/ 37 w 87"/>
                <a:gd name="T5" fmla="*/ 71 h 95"/>
                <a:gd name="T6" fmla="*/ 43 w 87"/>
                <a:gd name="T7" fmla="*/ 45 h 95"/>
                <a:gd name="T8" fmla="*/ 1 w 87"/>
                <a:gd name="T9" fmla="*/ 29 h 95"/>
                <a:gd name="T10" fmla="*/ 4 w 87"/>
                <a:gd name="T11" fmla="*/ 7 h 95"/>
                <a:gd name="T12" fmla="*/ 19 w 87"/>
                <a:gd name="T13" fmla="*/ 1 h 95"/>
                <a:gd name="T14" fmla="*/ 39 w 87"/>
                <a:gd name="T15" fmla="*/ 12 h 95"/>
                <a:gd name="T16" fmla="*/ 75 w 87"/>
                <a:gd name="T17" fmla="*/ 32 h 95"/>
                <a:gd name="T18" fmla="*/ 56 w 87"/>
                <a:gd name="T19" fmla="*/ 95 h 95"/>
                <a:gd name="T20" fmla="*/ 43 w 87"/>
                <a:gd name="T21"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95">
                  <a:moveTo>
                    <a:pt x="43" y="61"/>
                  </a:moveTo>
                  <a:cubicBezTo>
                    <a:pt x="40" y="71"/>
                    <a:pt x="40" y="71"/>
                    <a:pt x="40" y="71"/>
                  </a:cubicBezTo>
                  <a:cubicBezTo>
                    <a:pt x="37" y="71"/>
                    <a:pt x="37" y="71"/>
                    <a:pt x="37" y="71"/>
                  </a:cubicBezTo>
                  <a:cubicBezTo>
                    <a:pt x="37" y="71"/>
                    <a:pt x="40" y="55"/>
                    <a:pt x="43" y="45"/>
                  </a:cubicBezTo>
                  <a:cubicBezTo>
                    <a:pt x="38" y="37"/>
                    <a:pt x="3" y="35"/>
                    <a:pt x="1" y="29"/>
                  </a:cubicBezTo>
                  <a:cubicBezTo>
                    <a:pt x="0" y="24"/>
                    <a:pt x="2" y="10"/>
                    <a:pt x="4" y="7"/>
                  </a:cubicBezTo>
                  <a:cubicBezTo>
                    <a:pt x="6" y="4"/>
                    <a:pt x="14" y="0"/>
                    <a:pt x="19" y="1"/>
                  </a:cubicBezTo>
                  <a:cubicBezTo>
                    <a:pt x="25" y="3"/>
                    <a:pt x="34" y="10"/>
                    <a:pt x="39" y="12"/>
                  </a:cubicBezTo>
                  <a:cubicBezTo>
                    <a:pt x="47" y="15"/>
                    <a:pt x="65" y="11"/>
                    <a:pt x="75" y="32"/>
                  </a:cubicBezTo>
                  <a:cubicBezTo>
                    <a:pt x="87" y="58"/>
                    <a:pt x="64" y="76"/>
                    <a:pt x="56" y="95"/>
                  </a:cubicBezTo>
                  <a:cubicBezTo>
                    <a:pt x="43" y="61"/>
                    <a:pt x="43" y="61"/>
                    <a:pt x="43" y="61"/>
                  </a:cubicBezTo>
                  <a:close/>
                </a:path>
              </a:pathLst>
            </a:custGeom>
            <a:solidFill>
              <a:srgbClr val="4701A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8" name="Freeform 224">
              <a:extLst>
                <a:ext uri="{FF2B5EF4-FFF2-40B4-BE49-F238E27FC236}">
                  <a16:creationId xmlns:a16="http://schemas.microsoft.com/office/drawing/2014/main" id="{5F360D2D-4ACD-4524-9B3A-092FAF125B66}"/>
                </a:ext>
              </a:extLst>
            </p:cNvPr>
            <p:cNvSpPr>
              <a:spLocks/>
            </p:cNvSpPr>
            <p:nvPr/>
          </p:nvSpPr>
          <p:spPr bwMode="auto">
            <a:xfrm>
              <a:off x="11655425" y="3273426"/>
              <a:ext cx="53975" cy="131763"/>
            </a:xfrm>
            <a:custGeom>
              <a:avLst/>
              <a:gdLst>
                <a:gd name="T0" fmla="*/ 1 w 14"/>
                <a:gd name="T1" fmla="*/ 0 h 35"/>
                <a:gd name="T2" fmla="*/ 14 w 14"/>
                <a:gd name="T3" fmla="*/ 32 h 35"/>
                <a:gd name="T4" fmla="*/ 12 w 14"/>
                <a:gd name="T5" fmla="*/ 35 h 35"/>
                <a:gd name="T6" fmla="*/ 0 w 14"/>
                <a:gd name="T7" fmla="*/ 3 h 35"/>
                <a:gd name="T8" fmla="*/ 1 w 14"/>
                <a:gd name="T9" fmla="*/ 0 h 35"/>
              </a:gdLst>
              <a:ahLst/>
              <a:cxnLst>
                <a:cxn ang="0">
                  <a:pos x="T0" y="T1"/>
                </a:cxn>
                <a:cxn ang="0">
                  <a:pos x="T2" y="T3"/>
                </a:cxn>
                <a:cxn ang="0">
                  <a:pos x="T4" y="T5"/>
                </a:cxn>
                <a:cxn ang="0">
                  <a:pos x="T6" y="T7"/>
                </a:cxn>
                <a:cxn ang="0">
                  <a:pos x="T8" y="T9"/>
                </a:cxn>
              </a:cxnLst>
              <a:rect l="0" t="0" r="r" b="b"/>
              <a:pathLst>
                <a:path w="14" h="35">
                  <a:moveTo>
                    <a:pt x="1" y="0"/>
                  </a:moveTo>
                  <a:cubicBezTo>
                    <a:pt x="14" y="32"/>
                    <a:pt x="14" y="32"/>
                    <a:pt x="14" y="32"/>
                  </a:cubicBezTo>
                  <a:cubicBezTo>
                    <a:pt x="13" y="33"/>
                    <a:pt x="13" y="34"/>
                    <a:pt x="12" y="35"/>
                  </a:cubicBezTo>
                  <a:cubicBezTo>
                    <a:pt x="0" y="3"/>
                    <a:pt x="0" y="3"/>
                    <a:pt x="0" y="3"/>
                  </a:cubicBezTo>
                  <a:cubicBezTo>
                    <a:pt x="1" y="0"/>
                    <a:pt x="1" y="0"/>
                    <a:pt x="1" y="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9" name="Freeform 225">
              <a:extLst>
                <a:ext uri="{FF2B5EF4-FFF2-40B4-BE49-F238E27FC236}">
                  <a16:creationId xmlns:a16="http://schemas.microsoft.com/office/drawing/2014/main" id="{79C7B8B2-67C8-4C06-9DE1-9AD6FAB488B7}"/>
                </a:ext>
              </a:extLst>
            </p:cNvPr>
            <p:cNvSpPr>
              <a:spLocks/>
            </p:cNvSpPr>
            <p:nvPr/>
          </p:nvSpPr>
          <p:spPr bwMode="auto">
            <a:xfrm>
              <a:off x="11490325" y="3059113"/>
              <a:ext cx="169862" cy="230188"/>
            </a:xfrm>
            <a:custGeom>
              <a:avLst/>
              <a:gdLst>
                <a:gd name="T0" fmla="*/ 4 w 45"/>
                <a:gd name="T1" fmla="*/ 4 h 61"/>
                <a:gd name="T2" fmla="*/ 9 w 45"/>
                <a:gd name="T3" fmla="*/ 0 h 61"/>
                <a:gd name="T4" fmla="*/ 6 w 45"/>
                <a:gd name="T5" fmla="*/ 4 h 61"/>
                <a:gd name="T6" fmla="*/ 8 w 45"/>
                <a:gd name="T7" fmla="*/ 21 h 61"/>
                <a:gd name="T8" fmla="*/ 45 w 45"/>
                <a:gd name="T9" fmla="*/ 41 h 61"/>
                <a:gd name="T10" fmla="*/ 38 w 45"/>
                <a:gd name="T11" fmla="*/ 61 h 61"/>
                <a:gd name="T12" fmla="*/ 43 w 45"/>
                <a:gd name="T13" fmla="*/ 42 h 61"/>
                <a:gd name="T14" fmla="*/ 1 w 45"/>
                <a:gd name="T15" fmla="*/ 26 h 61"/>
                <a:gd name="T16" fmla="*/ 4 w 45"/>
                <a:gd name="T17" fmla="*/ 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61">
                  <a:moveTo>
                    <a:pt x="4" y="4"/>
                  </a:moveTo>
                  <a:cubicBezTo>
                    <a:pt x="5" y="3"/>
                    <a:pt x="7" y="1"/>
                    <a:pt x="9" y="0"/>
                  </a:cubicBezTo>
                  <a:cubicBezTo>
                    <a:pt x="8" y="1"/>
                    <a:pt x="7" y="4"/>
                    <a:pt x="6" y="4"/>
                  </a:cubicBezTo>
                  <a:cubicBezTo>
                    <a:pt x="4" y="7"/>
                    <a:pt x="7" y="15"/>
                    <a:pt x="8" y="21"/>
                  </a:cubicBezTo>
                  <a:cubicBezTo>
                    <a:pt x="10" y="26"/>
                    <a:pt x="40" y="33"/>
                    <a:pt x="45" y="41"/>
                  </a:cubicBezTo>
                  <a:cubicBezTo>
                    <a:pt x="44" y="46"/>
                    <a:pt x="40" y="54"/>
                    <a:pt x="38" y="61"/>
                  </a:cubicBezTo>
                  <a:cubicBezTo>
                    <a:pt x="39" y="55"/>
                    <a:pt x="41" y="47"/>
                    <a:pt x="43" y="42"/>
                  </a:cubicBezTo>
                  <a:cubicBezTo>
                    <a:pt x="38" y="34"/>
                    <a:pt x="3" y="32"/>
                    <a:pt x="1" y="26"/>
                  </a:cubicBezTo>
                  <a:cubicBezTo>
                    <a:pt x="0" y="21"/>
                    <a:pt x="2" y="7"/>
                    <a:pt x="4" y="4"/>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0" name="Freeform 226">
              <a:extLst>
                <a:ext uri="{FF2B5EF4-FFF2-40B4-BE49-F238E27FC236}">
                  <a16:creationId xmlns:a16="http://schemas.microsoft.com/office/drawing/2014/main" id="{334BBC92-226F-4BCE-A8D7-3BFD3566F767}"/>
                </a:ext>
              </a:extLst>
            </p:cNvPr>
            <p:cNvSpPr>
              <a:spLocks/>
            </p:cNvSpPr>
            <p:nvPr/>
          </p:nvSpPr>
          <p:spPr bwMode="auto">
            <a:xfrm>
              <a:off x="11633200" y="3248026"/>
              <a:ext cx="76200" cy="107950"/>
            </a:xfrm>
            <a:custGeom>
              <a:avLst/>
              <a:gdLst>
                <a:gd name="T0" fmla="*/ 6 w 20"/>
                <a:gd name="T1" fmla="*/ 4 h 29"/>
                <a:gd name="T2" fmla="*/ 19 w 20"/>
                <a:gd name="T3" fmla="*/ 8 h 29"/>
                <a:gd name="T4" fmla="*/ 10 w 20"/>
                <a:gd name="T5" fmla="*/ 26 h 29"/>
                <a:gd name="T6" fmla="*/ 1 w 20"/>
                <a:gd name="T7" fmla="*/ 26 h 29"/>
                <a:gd name="T8" fmla="*/ 6 w 20"/>
                <a:gd name="T9" fmla="*/ 4 h 29"/>
              </a:gdLst>
              <a:ahLst/>
              <a:cxnLst>
                <a:cxn ang="0">
                  <a:pos x="T0" y="T1"/>
                </a:cxn>
                <a:cxn ang="0">
                  <a:pos x="T2" y="T3"/>
                </a:cxn>
                <a:cxn ang="0">
                  <a:pos x="T4" y="T5"/>
                </a:cxn>
                <a:cxn ang="0">
                  <a:pos x="T6" y="T7"/>
                </a:cxn>
                <a:cxn ang="0">
                  <a:pos x="T8" y="T9"/>
                </a:cxn>
              </a:cxnLst>
              <a:rect l="0" t="0" r="r" b="b"/>
              <a:pathLst>
                <a:path w="20" h="29">
                  <a:moveTo>
                    <a:pt x="6" y="4"/>
                  </a:moveTo>
                  <a:cubicBezTo>
                    <a:pt x="9" y="0"/>
                    <a:pt x="17" y="2"/>
                    <a:pt x="19" y="8"/>
                  </a:cubicBezTo>
                  <a:cubicBezTo>
                    <a:pt x="20" y="13"/>
                    <a:pt x="14" y="23"/>
                    <a:pt x="10" y="26"/>
                  </a:cubicBezTo>
                  <a:cubicBezTo>
                    <a:pt x="6" y="28"/>
                    <a:pt x="1" y="29"/>
                    <a:pt x="1" y="26"/>
                  </a:cubicBezTo>
                  <a:cubicBezTo>
                    <a:pt x="0" y="23"/>
                    <a:pt x="6" y="4"/>
                    <a:pt x="6" y="4"/>
                  </a:cubicBezTo>
                  <a:close/>
                </a:path>
              </a:pathLst>
            </a:custGeom>
            <a:solidFill>
              <a:srgbClr val="FF304C">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1" name="Freeform 227">
              <a:extLst>
                <a:ext uri="{FF2B5EF4-FFF2-40B4-BE49-F238E27FC236}">
                  <a16:creationId xmlns:a16="http://schemas.microsoft.com/office/drawing/2014/main" id="{54F2CFA4-B0A1-4D66-9BF3-FE6C0759F095}"/>
                </a:ext>
              </a:extLst>
            </p:cNvPr>
            <p:cNvSpPr>
              <a:spLocks/>
            </p:cNvSpPr>
            <p:nvPr/>
          </p:nvSpPr>
          <p:spPr bwMode="auto">
            <a:xfrm>
              <a:off x="11649075" y="3281363"/>
              <a:ext cx="30162" cy="44450"/>
            </a:xfrm>
            <a:custGeom>
              <a:avLst/>
              <a:gdLst>
                <a:gd name="T0" fmla="*/ 3 w 8"/>
                <a:gd name="T1" fmla="*/ 2 h 12"/>
                <a:gd name="T2" fmla="*/ 8 w 8"/>
                <a:gd name="T3" fmla="*/ 3 h 12"/>
                <a:gd name="T4" fmla="*/ 4 w 8"/>
                <a:gd name="T5" fmla="*/ 10 h 12"/>
                <a:gd name="T6" fmla="*/ 1 w 8"/>
                <a:gd name="T7" fmla="*/ 11 h 12"/>
                <a:gd name="T8" fmla="*/ 3 w 8"/>
                <a:gd name="T9" fmla="*/ 2 h 12"/>
              </a:gdLst>
              <a:ahLst/>
              <a:cxnLst>
                <a:cxn ang="0">
                  <a:pos x="T0" y="T1"/>
                </a:cxn>
                <a:cxn ang="0">
                  <a:pos x="T2" y="T3"/>
                </a:cxn>
                <a:cxn ang="0">
                  <a:pos x="T4" y="T5"/>
                </a:cxn>
                <a:cxn ang="0">
                  <a:pos x="T6" y="T7"/>
                </a:cxn>
                <a:cxn ang="0">
                  <a:pos x="T8" y="T9"/>
                </a:cxn>
              </a:cxnLst>
              <a:rect l="0" t="0" r="r" b="b"/>
              <a:pathLst>
                <a:path w="8" h="12">
                  <a:moveTo>
                    <a:pt x="3" y="2"/>
                  </a:moveTo>
                  <a:cubicBezTo>
                    <a:pt x="4" y="0"/>
                    <a:pt x="7" y="1"/>
                    <a:pt x="8" y="3"/>
                  </a:cubicBezTo>
                  <a:cubicBezTo>
                    <a:pt x="8" y="5"/>
                    <a:pt x="6" y="9"/>
                    <a:pt x="4" y="10"/>
                  </a:cubicBezTo>
                  <a:cubicBezTo>
                    <a:pt x="3" y="12"/>
                    <a:pt x="1" y="12"/>
                    <a:pt x="1" y="11"/>
                  </a:cubicBezTo>
                  <a:cubicBezTo>
                    <a:pt x="0" y="9"/>
                    <a:pt x="3" y="2"/>
                    <a:pt x="3" y="2"/>
                  </a:cubicBezTo>
                  <a:close/>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2" name="Freeform 228">
              <a:extLst>
                <a:ext uri="{FF2B5EF4-FFF2-40B4-BE49-F238E27FC236}">
                  <a16:creationId xmlns:a16="http://schemas.microsoft.com/office/drawing/2014/main" id="{A2576FD2-1E89-4919-8908-30B8C2EF5C32}"/>
                </a:ext>
              </a:extLst>
            </p:cNvPr>
            <p:cNvSpPr>
              <a:spLocks/>
            </p:cNvSpPr>
            <p:nvPr/>
          </p:nvSpPr>
          <p:spPr bwMode="auto">
            <a:xfrm>
              <a:off x="11509375" y="3394076"/>
              <a:ext cx="153987" cy="101600"/>
            </a:xfrm>
            <a:custGeom>
              <a:avLst/>
              <a:gdLst>
                <a:gd name="T0" fmla="*/ 5 w 97"/>
                <a:gd name="T1" fmla="*/ 26 h 64"/>
                <a:gd name="T2" fmla="*/ 40 w 97"/>
                <a:gd name="T3" fmla="*/ 26 h 64"/>
                <a:gd name="T4" fmla="*/ 97 w 97"/>
                <a:gd name="T5" fmla="*/ 0 h 64"/>
                <a:gd name="T6" fmla="*/ 35 w 97"/>
                <a:gd name="T7" fmla="*/ 40 h 64"/>
                <a:gd name="T8" fmla="*/ 0 w 97"/>
                <a:gd name="T9" fmla="*/ 64 h 64"/>
                <a:gd name="T10" fmla="*/ 2 w 97"/>
                <a:gd name="T11" fmla="*/ 47 h 64"/>
                <a:gd name="T12" fmla="*/ 5 w 97"/>
                <a:gd name="T13" fmla="*/ 26 h 64"/>
                <a:gd name="T14" fmla="*/ 5 w 97"/>
                <a:gd name="T15" fmla="*/ 2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64">
                  <a:moveTo>
                    <a:pt x="5" y="26"/>
                  </a:moveTo>
                  <a:lnTo>
                    <a:pt x="40" y="26"/>
                  </a:lnTo>
                  <a:lnTo>
                    <a:pt x="97" y="0"/>
                  </a:lnTo>
                  <a:lnTo>
                    <a:pt x="35" y="40"/>
                  </a:lnTo>
                  <a:lnTo>
                    <a:pt x="0" y="64"/>
                  </a:lnTo>
                  <a:lnTo>
                    <a:pt x="2" y="47"/>
                  </a:lnTo>
                  <a:lnTo>
                    <a:pt x="5" y="26"/>
                  </a:lnTo>
                  <a:lnTo>
                    <a:pt x="5" y="26"/>
                  </a:lnTo>
                  <a:close/>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4" name="Text Placeholder 3">
            <a:extLst>
              <a:ext uri="{FF2B5EF4-FFF2-40B4-BE49-F238E27FC236}">
                <a16:creationId xmlns:a16="http://schemas.microsoft.com/office/drawing/2014/main" id="{3931C4CE-431B-42A2-8ED5-BAB930F361F7}"/>
              </a:ext>
            </a:extLst>
          </p:cNvPr>
          <p:cNvSpPr>
            <a:spLocks noGrp="1"/>
          </p:cNvSpPr>
          <p:nvPr>
            <p:ph type="body" sz="quarter" idx="10"/>
          </p:nvPr>
        </p:nvSpPr>
        <p:spPr>
          <a:xfrm>
            <a:off x="407988" y="1447964"/>
            <a:ext cx="7821036" cy="2634770"/>
          </a:xfrm>
        </p:spPr>
        <p:txBody>
          <a:bodyPr>
            <a:normAutofit/>
          </a:bodyPr>
          <a:lstStyle>
            <a:lvl1pPr>
              <a:defRPr kumimoji="0" lang="en-US" sz="1600" b="0" i="0" u="none" strike="noStrike" kern="1200" cap="none" spc="0" normalizeH="0" baseline="0" dirty="0" smtClean="0">
                <a:ln>
                  <a:noFill/>
                </a:ln>
                <a:solidFill>
                  <a:srgbClr val="0070C0"/>
                </a:solidFill>
                <a:effectLst/>
                <a:uLnTx/>
                <a:uFillTx/>
                <a:latin typeface="Ubuntu" panose="020B0504030602030204" pitchFamily="34" charset="0"/>
                <a:ea typeface="+mn-ea"/>
                <a:cs typeface="+mn-cs"/>
              </a:defRPr>
            </a:lvl1pPr>
          </a:lstStyle>
          <a:p>
            <a:pPr marL="0" marR="0" lvl="0" indent="0" algn="l" defTabSz="914400" rtl="0" eaLnBrk="1" fontAlgn="auto" latinLnBrk="0" hangingPunct="1">
              <a:lnSpc>
                <a:spcPts val="2200"/>
              </a:lnSpc>
              <a:spcBef>
                <a:spcPts val="1000"/>
              </a:spcBef>
              <a:spcAft>
                <a:spcPts val="600"/>
              </a:spcAft>
              <a:buClrTx/>
              <a:buSzTx/>
              <a:buFont typeface="Arial" panose="020B0604020202020204" pitchFamily="34" charset="0"/>
              <a:buNone/>
              <a:tabLst/>
              <a:defRPr/>
            </a:pPr>
            <a:r>
              <a:rPr lang="en-US" dirty="0"/>
              <a:t>Edit Master text styles</a:t>
            </a:r>
          </a:p>
        </p:txBody>
      </p:sp>
    </p:spTree>
    <p:extLst>
      <p:ext uri="{BB962C8B-B14F-4D97-AF65-F5344CB8AC3E}">
        <p14:creationId xmlns:p14="http://schemas.microsoft.com/office/powerpoint/2010/main" val="4950579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2" name="Conector reto 49">
            <a:extLst>
              <a:ext uri="{FF2B5EF4-FFF2-40B4-BE49-F238E27FC236}">
                <a16:creationId xmlns:a16="http://schemas.microsoft.com/office/drawing/2014/main" id="{02BD5F97-0D90-44B7-AD6D-5425F2F9CC6F}"/>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7B682035-D269-40D9-96DE-4509F723D0C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id="{0E9C1DD6-DEDF-471C-B851-5C1732C5CAB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Text Placeholder 3">
            <a:extLst>
              <a:ext uri="{FF2B5EF4-FFF2-40B4-BE49-F238E27FC236}">
                <a16:creationId xmlns:a16="http://schemas.microsoft.com/office/drawing/2014/main" id="{3931C4CE-431B-42A2-8ED5-BAB930F361F7}"/>
              </a:ext>
            </a:extLst>
          </p:cNvPr>
          <p:cNvSpPr>
            <a:spLocks noGrp="1"/>
          </p:cNvSpPr>
          <p:nvPr>
            <p:ph type="body" sz="quarter" idx="10" hasCustomPrompt="1"/>
          </p:nvPr>
        </p:nvSpPr>
        <p:spPr>
          <a:xfrm>
            <a:off x="407988" y="1447964"/>
            <a:ext cx="7821036" cy="1085891"/>
          </a:xfrm>
        </p:spPr>
        <p:txBody>
          <a:bodyPr>
            <a:normAutofit/>
          </a:bodyPr>
          <a:lstStyle>
            <a:lvl1pPr marL="0" marR="0" indent="0" algn="l" defTabSz="914400" rtl="0" eaLnBrk="1" fontAlgn="auto" latinLnBrk="0" hangingPunct="1">
              <a:lnSpc>
                <a:spcPts val="2200"/>
              </a:lnSpc>
              <a:spcBef>
                <a:spcPts val="1000"/>
              </a:spcBef>
              <a:spcAft>
                <a:spcPts val="600"/>
              </a:spcAft>
              <a:buClrTx/>
              <a:buSzTx/>
              <a:buFont typeface="Arial" panose="020B0604020202020204" pitchFamily="34" charset="0"/>
              <a:buNone/>
              <a:tabLst/>
              <a:defRPr kumimoji="0" lang="en-US" sz="1600" b="0" i="0" u="none" strike="noStrike" kern="1200" cap="none" spc="0" normalizeH="0" baseline="0" dirty="0" smtClean="0">
                <a:ln>
                  <a:noFill/>
                </a:ln>
                <a:solidFill>
                  <a:srgbClr val="0070C0"/>
                </a:solidFill>
                <a:effectLst/>
                <a:uLnTx/>
                <a:uFillTx/>
                <a:latin typeface="Ubuntu" panose="020B0504030602030204" pitchFamily="34" charset="0"/>
                <a:ea typeface="+mn-ea"/>
                <a:cs typeface="+mn-cs"/>
              </a:defRPr>
            </a:lvl1pPr>
          </a:lstStyle>
          <a:p>
            <a:pPr marL="0" marR="0" lvl="0" indent="0" algn="l" defTabSz="914400" rtl="0" eaLnBrk="1" fontAlgn="auto" latinLnBrk="0" hangingPunct="1">
              <a:lnSpc>
                <a:spcPts val="2200"/>
              </a:lnSpc>
              <a:spcBef>
                <a:spcPts val="1000"/>
              </a:spcBef>
              <a:spcAft>
                <a:spcPts val="600"/>
              </a:spcAft>
              <a:buClrTx/>
              <a:buSzTx/>
              <a:buFont typeface="Arial" panose="020B0604020202020204" pitchFamily="34" charset="0"/>
              <a:buNone/>
              <a:tabLst/>
              <a:defRPr/>
            </a:pPr>
            <a:r>
              <a:rPr lang="en-US" dirty="0"/>
              <a:t>Placeholder for text</a:t>
            </a:r>
          </a:p>
        </p:txBody>
      </p:sp>
      <p:grpSp>
        <p:nvGrpSpPr>
          <p:cNvPr id="176" name="Group 175">
            <a:extLst>
              <a:ext uri="{FF2B5EF4-FFF2-40B4-BE49-F238E27FC236}">
                <a16:creationId xmlns:a16="http://schemas.microsoft.com/office/drawing/2014/main" id="{ADCD57AB-0E87-432E-911A-1D68C7EFEB68}"/>
              </a:ext>
            </a:extLst>
          </p:cNvPr>
          <p:cNvGrpSpPr/>
          <p:nvPr userDrawn="1"/>
        </p:nvGrpSpPr>
        <p:grpSpPr>
          <a:xfrm>
            <a:off x="8274518" y="2218854"/>
            <a:ext cx="4223511" cy="4648656"/>
            <a:chOff x="8596260" y="819149"/>
            <a:chExt cx="3862440" cy="4251239"/>
          </a:xfrm>
          <a:effectLst>
            <a:outerShdw blurRad="50800" dist="38100" dir="8100000" algn="tr" rotWithShape="0">
              <a:prstClr val="black">
                <a:alpha val="40000"/>
              </a:prstClr>
            </a:outerShdw>
          </a:effectLst>
        </p:grpSpPr>
        <p:sp>
          <p:nvSpPr>
            <p:cNvPr id="177" name="Rectangle 79">
              <a:extLst>
                <a:ext uri="{FF2B5EF4-FFF2-40B4-BE49-F238E27FC236}">
                  <a16:creationId xmlns:a16="http://schemas.microsoft.com/office/drawing/2014/main" id="{16654A8F-73BD-4FB1-BA1D-1F18487BC626}"/>
                </a:ext>
              </a:extLst>
            </p:cNvPr>
            <p:cNvSpPr>
              <a:spLocks noChangeArrowheads="1"/>
            </p:cNvSpPr>
            <p:nvPr userDrawn="1"/>
          </p:nvSpPr>
          <p:spPr bwMode="auto">
            <a:xfrm flipH="1">
              <a:off x="10500966" y="2579103"/>
              <a:ext cx="302403"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78" name="Rectangle 80">
              <a:extLst>
                <a:ext uri="{FF2B5EF4-FFF2-40B4-BE49-F238E27FC236}">
                  <a16:creationId xmlns:a16="http://schemas.microsoft.com/office/drawing/2014/main" id="{69C96FB2-53DA-455A-9193-38F49DC98CB2}"/>
                </a:ext>
              </a:extLst>
            </p:cNvPr>
            <p:cNvSpPr>
              <a:spLocks noChangeArrowheads="1"/>
            </p:cNvSpPr>
            <p:nvPr userDrawn="1"/>
          </p:nvSpPr>
          <p:spPr bwMode="auto">
            <a:xfrm flipH="1">
              <a:off x="10317518" y="2579103"/>
              <a:ext cx="332499"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79" name="Rectangle 81">
              <a:extLst>
                <a:ext uri="{FF2B5EF4-FFF2-40B4-BE49-F238E27FC236}">
                  <a16:creationId xmlns:a16="http://schemas.microsoft.com/office/drawing/2014/main" id="{1861173E-A8FA-4742-A084-09420F6438CD}"/>
                </a:ext>
              </a:extLst>
            </p:cNvPr>
            <p:cNvSpPr>
              <a:spLocks noChangeArrowheads="1"/>
            </p:cNvSpPr>
            <p:nvPr userDrawn="1"/>
          </p:nvSpPr>
          <p:spPr bwMode="auto">
            <a:xfrm flipH="1">
              <a:off x="10142669" y="2579103"/>
              <a:ext cx="325334"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80" name="Rectangle 82">
              <a:extLst>
                <a:ext uri="{FF2B5EF4-FFF2-40B4-BE49-F238E27FC236}">
                  <a16:creationId xmlns:a16="http://schemas.microsoft.com/office/drawing/2014/main" id="{60DF1895-F084-456B-B99E-457D525C2E23}"/>
                </a:ext>
              </a:extLst>
            </p:cNvPr>
            <p:cNvSpPr>
              <a:spLocks noChangeArrowheads="1"/>
            </p:cNvSpPr>
            <p:nvPr userDrawn="1"/>
          </p:nvSpPr>
          <p:spPr bwMode="auto">
            <a:xfrm flipH="1">
              <a:off x="10010816" y="2579103"/>
              <a:ext cx="279472"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81" name="Rectangle 83">
              <a:extLst>
                <a:ext uri="{FF2B5EF4-FFF2-40B4-BE49-F238E27FC236}">
                  <a16:creationId xmlns:a16="http://schemas.microsoft.com/office/drawing/2014/main" id="{460EB21A-85A6-403F-A688-67C33484388F}"/>
                </a:ext>
              </a:extLst>
            </p:cNvPr>
            <p:cNvSpPr>
              <a:spLocks noChangeArrowheads="1"/>
            </p:cNvSpPr>
            <p:nvPr userDrawn="1"/>
          </p:nvSpPr>
          <p:spPr bwMode="auto">
            <a:xfrm flipH="1">
              <a:off x="9870364" y="2579103"/>
              <a:ext cx="312435"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82" name="Rectangle 84">
              <a:extLst>
                <a:ext uri="{FF2B5EF4-FFF2-40B4-BE49-F238E27FC236}">
                  <a16:creationId xmlns:a16="http://schemas.microsoft.com/office/drawing/2014/main" id="{90A65F56-94B1-434A-A097-38BB51265107}"/>
                </a:ext>
              </a:extLst>
            </p:cNvPr>
            <p:cNvSpPr>
              <a:spLocks noChangeArrowheads="1"/>
            </p:cNvSpPr>
            <p:nvPr userDrawn="1"/>
          </p:nvSpPr>
          <p:spPr bwMode="auto">
            <a:xfrm flipH="1">
              <a:off x="9724179" y="2579103"/>
              <a:ext cx="302403"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83" name="Rectangle 85">
              <a:extLst>
                <a:ext uri="{FF2B5EF4-FFF2-40B4-BE49-F238E27FC236}">
                  <a16:creationId xmlns:a16="http://schemas.microsoft.com/office/drawing/2014/main" id="{5EAD58A8-1C2F-464C-AB99-ABC9AEE9FC25}"/>
                </a:ext>
              </a:extLst>
            </p:cNvPr>
            <p:cNvSpPr>
              <a:spLocks noChangeArrowheads="1"/>
            </p:cNvSpPr>
            <p:nvPr userDrawn="1"/>
          </p:nvSpPr>
          <p:spPr bwMode="auto">
            <a:xfrm flipH="1">
              <a:off x="9588025" y="2579103"/>
              <a:ext cx="279472"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84" name="Rectangle 86">
              <a:extLst>
                <a:ext uri="{FF2B5EF4-FFF2-40B4-BE49-F238E27FC236}">
                  <a16:creationId xmlns:a16="http://schemas.microsoft.com/office/drawing/2014/main" id="{97EE0B1A-FE4B-4654-85FE-645D0109166B}"/>
                </a:ext>
              </a:extLst>
            </p:cNvPr>
            <p:cNvSpPr>
              <a:spLocks noChangeArrowheads="1"/>
            </p:cNvSpPr>
            <p:nvPr userDrawn="1"/>
          </p:nvSpPr>
          <p:spPr bwMode="auto">
            <a:xfrm flipH="1">
              <a:off x="9355849" y="2579103"/>
              <a:ext cx="322468"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85" name="Rectangle 87">
              <a:extLst>
                <a:ext uri="{FF2B5EF4-FFF2-40B4-BE49-F238E27FC236}">
                  <a16:creationId xmlns:a16="http://schemas.microsoft.com/office/drawing/2014/main" id="{CDED0237-105C-4BD2-AD39-4CB7B73FFEB8}"/>
                </a:ext>
              </a:extLst>
            </p:cNvPr>
            <p:cNvSpPr>
              <a:spLocks noChangeArrowheads="1"/>
            </p:cNvSpPr>
            <p:nvPr userDrawn="1"/>
          </p:nvSpPr>
          <p:spPr bwMode="auto">
            <a:xfrm flipH="1">
              <a:off x="9223997" y="2579103"/>
              <a:ext cx="278038" cy="41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2500" b="0" i="0" u="none" strike="noStrike" kern="0" cap="none" spc="0" normalizeH="0" baseline="0" noProof="0">
                  <a:ln>
                    <a:noFill/>
                  </a:ln>
                  <a:solidFill>
                    <a:srgbClr val="FFFFFF"/>
                  </a:solidFill>
                  <a:effectLst/>
                  <a:uLnTx/>
                  <a:uFillTx/>
                  <a:latin typeface="Myriad Pro" panose="020B0503030403020204" pitchFamily="34" charset="0"/>
                </a:rPr>
                <a: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86" name="Freeform 88">
              <a:extLst>
                <a:ext uri="{FF2B5EF4-FFF2-40B4-BE49-F238E27FC236}">
                  <a16:creationId xmlns:a16="http://schemas.microsoft.com/office/drawing/2014/main" id="{BFFC5DA6-FBFB-4E12-B8C6-7964C7EBD3BF}"/>
                </a:ext>
              </a:extLst>
            </p:cNvPr>
            <p:cNvSpPr>
              <a:spLocks/>
            </p:cNvSpPr>
            <p:nvPr userDrawn="1"/>
          </p:nvSpPr>
          <p:spPr bwMode="auto">
            <a:xfrm flipH="1">
              <a:off x="10607022" y="2640730"/>
              <a:ext cx="182015" cy="212112"/>
            </a:xfrm>
            <a:custGeom>
              <a:avLst/>
              <a:gdLst>
                <a:gd name="T0" fmla="*/ 0 w 119"/>
                <a:gd name="T1" fmla="*/ 70 h 139"/>
                <a:gd name="T2" fmla="*/ 72 w 119"/>
                <a:gd name="T3" fmla="*/ 139 h 139"/>
                <a:gd name="T4" fmla="*/ 113 w 119"/>
                <a:gd name="T5" fmla="*/ 121 h 139"/>
                <a:gd name="T6" fmla="*/ 119 w 119"/>
                <a:gd name="T7" fmla="*/ 118 h 139"/>
                <a:gd name="T8" fmla="*/ 114 w 119"/>
                <a:gd name="T9" fmla="*/ 115 h 139"/>
                <a:gd name="T10" fmla="*/ 114 w 119"/>
                <a:gd name="T11" fmla="*/ 110 h 139"/>
                <a:gd name="T12" fmla="*/ 105 w 119"/>
                <a:gd name="T13" fmla="*/ 110 h 139"/>
                <a:gd name="T14" fmla="*/ 72 w 119"/>
                <a:gd name="T15" fmla="*/ 122 h 139"/>
                <a:gd name="T16" fmla="*/ 17 w 119"/>
                <a:gd name="T17" fmla="*/ 70 h 139"/>
                <a:gd name="T18" fmla="*/ 105 w 119"/>
                <a:gd name="T19" fmla="*/ 29 h 139"/>
                <a:gd name="T20" fmla="*/ 105 w 119"/>
                <a:gd name="T21" fmla="*/ 29 h 139"/>
                <a:gd name="T22" fmla="*/ 117 w 119"/>
                <a:gd name="T23" fmla="*/ 27 h 139"/>
                <a:gd name="T24" fmla="*/ 117 w 119"/>
                <a:gd name="T25" fmla="*/ 28 h 139"/>
                <a:gd name="T26" fmla="*/ 116 w 119"/>
                <a:gd name="T27" fmla="*/ 15 h 139"/>
                <a:gd name="T28" fmla="*/ 72 w 119"/>
                <a:gd name="T29" fmla="*/ 0 h 139"/>
                <a:gd name="T30" fmla="*/ 21 w 119"/>
                <a:gd name="T31" fmla="*/ 21 h 139"/>
                <a:gd name="T32" fmla="*/ 4 w 119"/>
                <a:gd name="T33" fmla="*/ 70 h 139"/>
                <a:gd name="T34" fmla="*/ 27 w 119"/>
                <a:gd name="T35" fmla="*/ 26 h 139"/>
                <a:gd name="T36" fmla="*/ 72 w 119"/>
                <a:gd name="T37" fmla="*/ 8 h 139"/>
                <a:gd name="T38" fmla="*/ 113 w 119"/>
                <a:gd name="T39" fmla="*/ 18 h 139"/>
                <a:gd name="T40" fmla="*/ 111 w 119"/>
                <a:gd name="T41" fmla="*/ 22 h 139"/>
                <a:gd name="T42" fmla="*/ 111 w 119"/>
                <a:gd name="T43" fmla="*/ 22 h 139"/>
                <a:gd name="T44" fmla="*/ 111 w 119"/>
                <a:gd name="T45" fmla="*/ 22 h 139"/>
                <a:gd name="T46" fmla="*/ 111 w 119"/>
                <a:gd name="T47" fmla="*/ 22 h 139"/>
                <a:gd name="T48" fmla="*/ 111 w 119"/>
                <a:gd name="T49" fmla="*/ 22 h 139"/>
                <a:gd name="T50" fmla="*/ 112 w 119"/>
                <a:gd name="T51" fmla="*/ 22 h 139"/>
                <a:gd name="T52" fmla="*/ 111 w 119"/>
                <a:gd name="T53" fmla="*/ 23 h 139"/>
                <a:gd name="T54" fmla="*/ 110 w 119"/>
                <a:gd name="T55" fmla="*/ 23 h 139"/>
                <a:gd name="T56" fmla="*/ 72 w 119"/>
                <a:gd name="T57" fmla="*/ 9 h 139"/>
                <a:gd name="T58" fmla="*/ 9 w 119"/>
                <a:gd name="T59" fmla="*/ 70 h 139"/>
                <a:gd name="T60" fmla="*/ 72 w 119"/>
                <a:gd name="T61" fmla="*/ 130 h 139"/>
                <a:gd name="T62" fmla="*/ 107 w 119"/>
                <a:gd name="T63" fmla="*/ 114 h 139"/>
                <a:gd name="T64" fmla="*/ 110 w 119"/>
                <a:gd name="T65" fmla="*/ 117 h 139"/>
                <a:gd name="T66" fmla="*/ 111 w 119"/>
                <a:gd name="T67" fmla="*/ 117 h 139"/>
                <a:gd name="T68" fmla="*/ 111 w 119"/>
                <a:gd name="T69" fmla="*/ 117 h 139"/>
                <a:gd name="T70" fmla="*/ 110 w 119"/>
                <a:gd name="T71" fmla="*/ 117 h 139"/>
                <a:gd name="T72" fmla="*/ 110 w 119"/>
                <a:gd name="T73" fmla="*/ 117 h 139"/>
                <a:gd name="T74" fmla="*/ 110 w 119"/>
                <a:gd name="T75" fmla="*/ 117 h 139"/>
                <a:gd name="T76" fmla="*/ 111 w 119"/>
                <a:gd name="T77" fmla="*/ 118 h 139"/>
                <a:gd name="T78" fmla="*/ 111 w 119"/>
                <a:gd name="T79" fmla="*/ 118 h 139"/>
                <a:gd name="T80" fmla="*/ 112 w 119"/>
                <a:gd name="T81" fmla="*/ 117 h 139"/>
                <a:gd name="T82" fmla="*/ 111 w 119"/>
                <a:gd name="T83" fmla="*/ 118 h 139"/>
                <a:gd name="T84" fmla="*/ 111 w 119"/>
                <a:gd name="T85" fmla="*/ 118 h 139"/>
                <a:gd name="T86" fmla="*/ 111 w 119"/>
                <a:gd name="T87" fmla="*/ 118 h 139"/>
                <a:gd name="T88" fmla="*/ 111 w 119"/>
                <a:gd name="T89" fmla="*/ 118 h 139"/>
                <a:gd name="T90" fmla="*/ 111 w 119"/>
                <a:gd name="T91" fmla="*/ 118 h 139"/>
                <a:gd name="T92" fmla="*/ 27 w 119"/>
                <a:gd name="T93" fmla="*/ 113 h 139"/>
                <a:gd name="T94" fmla="*/ 4 w 119"/>
                <a:gd name="T9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 h="139">
                  <a:moveTo>
                    <a:pt x="4" y="70"/>
                  </a:moveTo>
                  <a:cubicBezTo>
                    <a:pt x="0" y="70"/>
                    <a:pt x="0" y="70"/>
                    <a:pt x="0" y="70"/>
                  </a:cubicBezTo>
                  <a:cubicBezTo>
                    <a:pt x="0" y="89"/>
                    <a:pt x="8" y="107"/>
                    <a:pt x="21" y="119"/>
                  </a:cubicBezTo>
                  <a:cubicBezTo>
                    <a:pt x="34" y="132"/>
                    <a:pt x="52" y="139"/>
                    <a:pt x="72" y="139"/>
                  </a:cubicBezTo>
                  <a:cubicBezTo>
                    <a:pt x="88" y="139"/>
                    <a:pt x="104" y="134"/>
                    <a:pt x="116" y="124"/>
                  </a:cubicBezTo>
                  <a:cubicBezTo>
                    <a:pt x="113" y="121"/>
                    <a:pt x="113" y="121"/>
                    <a:pt x="113" y="121"/>
                  </a:cubicBezTo>
                  <a:cubicBezTo>
                    <a:pt x="116" y="125"/>
                    <a:pt x="116" y="125"/>
                    <a:pt x="116" y="125"/>
                  </a:cubicBezTo>
                  <a:cubicBezTo>
                    <a:pt x="118" y="123"/>
                    <a:pt x="119" y="120"/>
                    <a:pt x="119" y="118"/>
                  </a:cubicBezTo>
                  <a:cubicBezTo>
                    <a:pt x="119" y="116"/>
                    <a:pt x="118" y="114"/>
                    <a:pt x="117" y="112"/>
                  </a:cubicBezTo>
                  <a:cubicBezTo>
                    <a:pt x="114" y="115"/>
                    <a:pt x="114" y="115"/>
                    <a:pt x="114" y="115"/>
                  </a:cubicBezTo>
                  <a:cubicBezTo>
                    <a:pt x="117" y="113"/>
                    <a:pt x="117" y="113"/>
                    <a:pt x="117" y="113"/>
                  </a:cubicBezTo>
                  <a:cubicBezTo>
                    <a:pt x="117" y="112"/>
                    <a:pt x="116" y="110"/>
                    <a:pt x="114" y="110"/>
                  </a:cubicBezTo>
                  <a:cubicBezTo>
                    <a:pt x="113" y="109"/>
                    <a:pt x="112" y="109"/>
                    <a:pt x="110" y="109"/>
                  </a:cubicBezTo>
                  <a:cubicBezTo>
                    <a:pt x="109" y="109"/>
                    <a:pt x="107" y="109"/>
                    <a:pt x="105" y="110"/>
                  </a:cubicBezTo>
                  <a:cubicBezTo>
                    <a:pt x="105" y="111"/>
                    <a:pt x="105" y="111"/>
                    <a:pt x="105" y="111"/>
                  </a:cubicBezTo>
                  <a:cubicBezTo>
                    <a:pt x="96" y="118"/>
                    <a:pt x="84" y="122"/>
                    <a:pt x="72" y="122"/>
                  </a:cubicBezTo>
                  <a:cubicBezTo>
                    <a:pt x="57" y="122"/>
                    <a:pt x="43" y="116"/>
                    <a:pt x="33" y="107"/>
                  </a:cubicBezTo>
                  <a:cubicBezTo>
                    <a:pt x="23" y="97"/>
                    <a:pt x="17" y="84"/>
                    <a:pt x="17" y="70"/>
                  </a:cubicBezTo>
                  <a:cubicBezTo>
                    <a:pt x="17" y="41"/>
                    <a:pt x="41" y="17"/>
                    <a:pt x="72" y="17"/>
                  </a:cubicBezTo>
                  <a:cubicBezTo>
                    <a:pt x="84" y="17"/>
                    <a:pt x="96" y="22"/>
                    <a:pt x="105" y="29"/>
                  </a:cubicBezTo>
                  <a:cubicBezTo>
                    <a:pt x="108" y="26"/>
                    <a:pt x="108" y="26"/>
                    <a:pt x="108" y="26"/>
                  </a:cubicBezTo>
                  <a:cubicBezTo>
                    <a:pt x="105" y="29"/>
                    <a:pt x="105" y="29"/>
                    <a:pt x="105" y="29"/>
                  </a:cubicBezTo>
                  <a:cubicBezTo>
                    <a:pt x="107" y="30"/>
                    <a:pt x="109" y="31"/>
                    <a:pt x="111" y="31"/>
                  </a:cubicBezTo>
                  <a:cubicBezTo>
                    <a:pt x="113" y="31"/>
                    <a:pt x="116" y="30"/>
                    <a:pt x="117" y="27"/>
                  </a:cubicBezTo>
                  <a:cubicBezTo>
                    <a:pt x="114" y="25"/>
                    <a:pt x="114" y="25"/>
                    <a:pt x="114" y="25"/>
                  </a:cubicBezTo>
                  <a:cubicBezTo>
                    <a:pt x="117" y="28"/>
                    <a:pt x="117" y="28"/>
                    <a:pt x="117" y="28"/>
                  </a:cubicBezTo>
                  <a:cubicBezTo>
                    <a:pt x="119" y="26"/>
                    <a:pt x="119" y="24"/>
                    <a:pt x="119" y="22"/>
                  </a:cubicBezTo>
                  <a:cubicBezTo>
                    <a:pt x="119" y="20"/>
                    <a:pt x="118" y="17"/>
                    <a:pt x="116" y="15"/>
                  </a:cubicBezTo>
                  <a:cubicBezTo>
                    <a:pt x="116" y="15"/>
                    <a:pt x="116" y="15"/>
                    <a:pt x="116" y="15"/>
                  </a:cubicBezTo>
                  <a:cubicBezTo>
                    <a:pt x="104" y="6"/>
                    <a:pt x="88" y="0"/>
                    <a:pt x="72" y="0"/>
                  </a:cubicBezTo>
                  <a:cubicBezTo>
                    <a:pt x="72" y="0"/>
                    <a:pt x="72" y="0"/>
                    <a:pt x="72" y="0"/>
                  </a:cubicBezTo>
                  <a:cubicBezTo>
                    <a:pt x="52" y="0"/>
                    <a:pt x="34" y="8"/>
                    <a:pt x="21" y="21"/>
                  </a:cubicBezTo>
                  <a:cubicBezTo>
                    <a:pt x="8" y="33"/>
                    <a:pt x="0" y="51"/>
                    <a:pt x="0" y="70"/>
                  </a:cubicBezTo>
                  <a:cubicBezTo>
                    <a:pt x="4" y="70"/>
                    <a:pt x="4" y="70"/>
                    <a:pt x="4" y="70"/>
                  </a:cubicBezTo>
                  <a:cubicBezTo>
                    <a:pt x="8" y="70"/>
                    <a:pt x="8" y="70"/>
                    <a:pt x="8" y="70"/>
                  </a:cubicBezTo>
                  <a:cubicBezTo>
                    <a:pt x="8" y="53"/>
                    <a:pt x="15" y="37"/>
                    <a:pt x="27" y="26"/>
                  </a:cubicBezTo>
                  <a:cubicBezTo>
                    <a:pt x="38" y="15"/>
                    <a:pt x="54" y="8"/>
                    <a:pt x="72" y="8"/>
                  </a:cubicBezTo>
                  <a:cubicBezTo>
                    <a:pt x="72" y="8"/>
                    <a:pt x="72" y="8"/>
                    <a:pt x="72" y="8"/>
                  </a:cubicBezTo>
                  <a:cubicBezTo>
                    <a:pt x="87" y="8"/>
                    <a:pt x="100" y="13"/>
                    <a:pt x="111" y="22"/>
                  </a:cubicBezTo>
                  <a:cubicBezTo>
                    <a:pt x="113" y="18"/>
                    <a:pt x="113" y="18"/>
                    <a:pt x="113" y="18"/>
                  </a:cubicBezTo>
                  <a:cubicBezTo>
                    <a:pt x="111" y="21"/>
                    <a:pt x="111" y="21"/>
                    <a:pt x="111" y="21"/>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2" y="22"/>
                    <a:pt x="112" y="22"/>
                    <a:pt x="112" y="22"/>
                  </a:cubicBezTo>
                  <a:cubicBezTo>
                    <a:pt x="111" y="22"/>
                    <a:pt x="111" y="22"/>
                    <a:pt x="111" y="22"/>
                  </a:cubicBezTo>
                  <a:cubicBezTo>
                    <a:pt x="111" y="22"/>
                    <a:pt x="111" y="22"/>
                    <a:pt x="111" y="22"/>
                  </a:cubicBezTo>
                  <a:cubicBezTo>
                    <a:pt x="112" y="22"/>
                    <a:pt x="112" y="22"/>
                    <a:pt x="112" y="22"/>
                  </a:cubicBezTo>
                  <a:cubicBezTo>
                    <a:pt x="111" y="22"/>
                    <a:pt x="111" y="22"/>
                    <a:pt x="111" y="22"/>
                  </a:cubicBezTo>
                  <a:cubicBezTo>
                    <a:pt x="111" y="23"/>
                    <a:pt x="111" y="23"/>
                    <a:pt x="111" y="23"/>
                  </a:cubicBezTo>
                  <a:cubicBezTo>
                    <a:pt x="111" y="23"/>
                    <a:pt x="111" y="23"/>
                    <a:pt x="111" y="23"/>
                  </a:cubicBezTo>
                  <a:cubicBezTo>
                    <a:pt x="110" y="23"/>
                    <a:pt x="110" y="23"/>
                    <a:pt x="110" y="23"/>
                  </a:cubicBezTo>
                  <a:cubicBezTo>
                    <a:pt x="110" y="23"/>
                    <a:pt x="110" y="23"/>
                    <a:pt x="110" y="23"/>
                  </a:cubicBezTo>
                  <a:cubicBezTo>
                    <a:pt x="100" y="14"/>
                    <a:pt x="86" y="9"/>
                    <a:pt x="72" y="9"/>
                  </a:cubicBezTo>
                  <a:cubicBezTo>
                    <a:pt x="54" y="9"/>
                    <a:pt x="39" y="16"/>
                    <a:pt x="28" y="27"/>
                  </a:cubicBezTo>
                  <a:cubicBezTo>
                    <a:pt x="16" y="38"/>
                    <a:pt x="9" y="53"/>
                    <a:pt x="9" y="70"/>
                  </a:cubicBezTo>
                  <a:cubicBezTo>
                    <a:pt x="9" y="87"/>
                    <a:pt x="16" y="102"/>
                    <a:pt x="28" y="113"/>
                  </a:cubicBezTo>
                  <a:cubicBezTo>
                    <a:pt x="39" y="124"/>
                    <a:pt x="54" y="130"/>
                    <a:pt x="72" y="130"/>
                  </a:cubicBezTo>
                  <a:cubicBezTo>
                    <a:pt x="86" y="130"/>
                    <a:pt x="100" y="126"/>
                    <a:pt x="110" y="117"/>
                  </a:cubicBezTo>
                  <a:cubicBezTo>
                    <a:pt x="107" y="114"/>
                    <a:pt x="107" y="114"/>
                    <a:pt x="107" y="114"/>
                  </a:cubicBezTo>
                  <a:cubicBezTo>
                    <a:pt x="110" y="117"/>
                    <a:pt x="110" y="117"/>
                    <a:pt x="110" y="117"/>
                  </a:cubicBezTo>
                  <a:cubicBezTo>
                    <a:pt x="110" y="117"/>
                    <a:pt x="110" y="117"/>
                    <a:pt x="110" y="117"/>
                  </a:cubicBezTo>
                  <a:cubicBezTo>
                    <a:pt x="111" y="117"/>
                    <a:pt x="111" y="117"/>
                    <a:pt x="111" y="117"/>
                  </a:cubicBezTo>
                  <a:cubicBezTo>
                    <a:pt x="111" y="117"/>
                    <a:pt x="111" y="117"/>
                    <a:pt x="111" y="117"/>
                  </a:cubicBezTo>
                  <a:cubicBezTo>
                    <a:pt x="110" y="117"/>
                    <a:pt x="110" y="117"/>
                    <a:pt x="110" y="117"/>
                  </a:cubicBezTo>
                  <a:cubicBezTo>
                    <a:pt x="111" y="117"/>
                    <a:pt x="111" y="117"/>
                    <a:pt x="111" y="117"/>
                  </a:cubicBezTo>
                  <a:cubicBezTo>
                    <a:pt x="111" y="117"/>
                    <a:pt x="111" y="117"/>
                    <a:pt x="111"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1" y="118"/>
                    <a:pt x="111" y="118"/>
                    <a:pt x="111" y="118"/>
                  </a:cubicBezTo>
                  <a:cubicBezTo>
                    <a:pt x="112" y="117"/>
                    <a:pt x="112" y="117"/>
                    <a:pt x="112" y="117"/>
                  </a:cubicBezTo>
                  <a:cubicBezTo>
                    <a:pt x="111" y="118"/>
                    <a:pt x="111" y="118"/>
                    <a:pt x="111" y="118"/>
                  </a:cubicBezTo>
                  <a:cubicBezTo>
                    <a:pt x="111" y="118"/>
                    <a:pt x="111" y="118"/>
                    <a:pt x="111" y="118"/>
                  </a:cubicBezTo>
                  <a:cubicBezTo>
                    <a:pt x="112" y="117"/>
                    <a:pt x="112" y="117"/>
                    <a:pt x="112" y="117"/>
                  </a:cubicBezTo>
                  <a:cubicBezTo>
                    <a:pt x="111" y="118"/>
                    <a:pt x="111" y="118"/>
                    <a:pt x="111" y="118"/>
                  </a:cubicBezTo>
                  <a:cubicBezTo>
                    <a:pt x="111" y="118"/>
                    <a:pt x="111" y="118"/>
                    <a:pt x="111" y="118"/>
                  </a:cubicBezTo>
                  <a:cubicBezTo>
                    <a:pt x="111" y="118"/>
                    <a:pt x="111" y="118"/>
                    <a:pt x="111" y="118"/>
                  </a:cubicBezTo>
                  <a:cubicBezTo>
                    <a:pt x="111" y="118"/>
                    <a:pt x="111" y="118"/>
                    <a:pt x="111" y="118"/>
                  </a:cubicBezTo>
                  <a:cubicBezTo>
                    <a:pt x="111" y="118"/>
                    <a:pt x="111" y="118"/>
                    <a:pt x="111" y="118"/>
                  </a:cubicBezTo>
                  <a:cubicBezTo>
                    <a:pt x="111" y="118"/>
                    <a:pt x="111" y="118"/>
                    <a:pt x="111" y="118"/>
                  </a:cubicBezTo>
                  <a:cubicBezTo>
                    <a:pt x="111" y="118"/>
                    <a:pt x="111" y="118"/>
                    <a:pt x="111" y="118"/>
                  </a:cubicBezTo>
                  <a:cubicBezTo>
                    <a:pt x="111" y="118"/>
                    <a:pt x="111" y="118"/>
                    <a:pt x="111" y="118"/>
                  </a:cubicBezTo>
                  <a:cubicBezTo>
                    <a:pt x="111" y="118"/>
                    <a:pt x="111" y="118"/>
                    <a:pt x="111" y="118"/>
                  </a:cubicBezTo>
                  <a:cubicBezTo>
                    <a:pt x="111" y="118"/>
                    <a:pt x="111" y="118"/>
                    <a:pt x="111" y="118"/>
                  </a:cubicBezTo>
                  <a:cubicBezTo>
                    <a:pt x="100" y="126"/>
                    <a:pt x="87" y="131"/>
                    <a:pt x="72" y="131"/>
                  </a:cubicBezTo>
                  <a:cubicBezTo>
                    <a:pt x="54" y="131"/>
                    <a:pt x="38" y="124"/>
                    <a:pt x="27" y="113"/>
                  </a:cubicBezTo>
                  <a:cubicBezTo>
                    <a:pt x="15" y="102"/>
                    <a:pt x="8" y="87"/>
                    <a:pt x="8" y="70"/>
                  </a:cubicBezTo>
                  <a:cubicBezTo>
                    <a:pt x="4" y="70"/>
                    <a:pt x="4" y="70"/>
                    <a:pt x="4" y="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7" name="Freeform 89">
              <a:extLst>
                <a:ext uri="{FF2B5EF4-FFF2-40B4-BE49-F238E27FC236}">
                  <a16:creationId xmlns:a16="http://schemas.microsoft.com/office/drawing/2014/main" id="{C8420F4D-4300-4F2B-9F37-DE37332F5CE5}"/>
                </a:ext>
              </a:extLst>
            </p:cNvPr>
            <p:cNvSpPr>
              <a:spLocks noEditPoints="1"/>
            </p:cNvSpPr>
            <p:nvPr userDrawn="1"/>
          </p:nvSpPr>
          <p:spPr bwMode="auto">
            <a:xfrm flipH="1">
              <a:off x="10379146" y="2640730"/>
              <a:ext cx="203513" cy="212112"/>
            </a:xfrm>
            <a:custGeom>
              <a:avLst/>
              <a:gdLst>
                <a:gd name="T0" fmla="*/ 14 w 133"/>
                <a:gd name="T1" fmla="*/ 70 h 139"/>
                <a:gd name="T2" fmla="*/ 18 w 133"/>
                <a:gd name="T3" fmla="*/ 70 h 139"/>
                <a:gd name="T4" fmla="*/ 32 w 133"/>
                <a:gd name="T5" fmla="*/ 32 h 139"/>
                <a:gd name="T6" fmla="*/ 67 w 133"/>
                <a:gd name="T7" fmla="*/ 17 h 139"/>
                <a:gd name="T8" fmla="*/ 101 w 133"/>
                <a:gd name="T9" fmla="*/ 32 h 139"/>
                <a:gd name="T10" fmla="*/ 116 w 133"/>
                <a:gd name="T11" fmla="*/ 70 h 139"/>
                <a:gd name="T12" fmla="*/ 120 w 133"/>
                <a:gd name="T13" fmla="*/ 70 h 139"/>
                <a:gd name="T14" fmla="*/ 116 w 133"/>
                <a:gd name="T15" fmla="*/ 70 h 139"/>
                <a:gd name="T16" fmla="*/ 101 w 133"/>
                <a:gd name="T17" fmla="*/ 107 h 139"/>
                <a:gd name="T18" fmla="*/ 67 w 133"/>
                <a:gd name="T19" fmla="*/ 122 h 139"/>
                <a:gd name="T20" fmla="*/ 32 w 133"/>
                <a:gd name="T21" fmla="*/ 107 h 139"/>
                <a:gd name="T22" fmla="*/ 18 w 133"/>
                <a:gd name="T23" fmla="*/ 70 h 139"/>
                <a:gd name="T24" fmla="*/ 14 w 133"/>
                <a:gd name="T25" fmla="*/ 70 h 139"/>
                <a:gd name="T26" fmla="*/ 10 w 133"/>
                <a:gd name="T27" fmla="*/ 70 h 139"/>
                <a:gd name="T28" fmla="*/ 26 w 133"/>
                <a:gd name="T29" fmla="*/ 113 h 139"/>
                <a:gd name="T30" fmla="*/ 67 w 133"/>
                <a:gd name="T31" fmla="*/ 130 h 139"/>
                <a:gd name="T32" fmla="*/ 107 w 133"/>
                <a:gd name="T33" fmla="*/ 113 h 139"/>
                <a:gd name="T34" fmla="*/ 124 w 133"/>
                <a:gd name="T35" fmla="*/ 70 h 139"/>
                <a:gd name="T36" fmla="*/ 124 w 133"/>
                <a:gd name="T37" fmla="*/ 70 h 139"/>
                <a:gd name="T38" fmla="*/ 107 w 133"/>
                <a:gd name="T39" fmla="*/ 27 h 139"/>
                <a:gd name="T40" fmla="*/ 67 w 133"/>
                <a:gd name="T41" fmla="*/ 9 h 139"/>
                <a:gd name="T42" fmla="*/ 26 w 133"/>
                <a:gd name="T43" fmla="*/ 27 h 139"/>
                <a:gd name="T44" fmla="*/ 10 w 133"/>
                <a:gd name="T45" fmla="*/ 70 h 139"/>
                <a:gd name="T46" fmla="*/ 14 w 133"/>
                <a:gd name="T47" fmla="*/ 70 h 139"/>
                <a:gd name="T48" fmla="*/ 4 w 133"/>
                <a:gd name="T49" fmla="*/ 70 h 139"/>
                <a:gd name="T50" fmla="*/ 0 w 133"/>
                <a:gd name="T51" fmla="*/ 70 h 139"/>
                <a:gd name="T52" fmla="*/ 20 w 133"/>
                <a:gd name="T53" fmla="*/ 119 h 139"/>
                <a:gd name="T54" fmla="*/ 67 w 133"/>
                <a:gd name="T55" fmla="*/ 139 h 139"/>
                <a:gd name="T56" fmla="*/ 114 w 133"/>
                <a:gd name="T57" fmla="*/ 119 h 139"/>
                <a:gd name="T58" fmla="*/ 133 w 133"/>
                <a:gd name="T59" fmla="*/ 70 h 139"/>
                <a:gd name="T60" fmla="*/ 133 w 133"/>
                <a:gd name="T61" fmla="*/ 70 h 139"/>
                <a:gd name="T62" fmla="*/ 114 w 133"/>
                <a:gd name="T63" fmla="*/ 21 h 139"/>
                <a:gd name="T64" fmla="*/ 67 w 133"/>
                <a:gd name="T65" fmla="*/ 0 h 139"/>
                <a:gd name="T66" fmla="*/ 20 w 133"/>
                <a:gd name="T67" fmla="*/ 21 h 139"/>
                <a:gd name="T68" fmla="*/ 0 w 133"/>
                <a:gd name="T69" fmla="*/ 70 h 139"/>
                <a:gd name="T70" fmla="*/ 0 w 133"/>
                <a:gd name="T71" fmla="*/ 70 h 139"/>
                <a:gd name="T72" fmla="*/ 4 w 133"/>
                <a:gd name="T73" fmla="*/ 70 h 139"/>
                <a:gd name="T74" fmla="*/ 8 w 133"/>
                <a:gd name="T75" fmla="*/ 70 h 139"/>
                <a:gd name="T76" fmla="*/ 26 w 133"/>
                <a:gd name="T77" fmla="*/ 26 h 139"/>
                <a:gd name="T78" fmla="*/ 67 w 133"/>
                <a:gd name="T79" fmla="*/ 8 h 139"/>
                <a:gd name="T80" fmla="*/ 108 w 133"/>
                <a:gd name="T81" fmla="*/ 26 h 139"/>
                <a:gd name="T82" fmla="*/ 125 w 133"/>
                <a:gd name="T83" fmla="*/ 70 h 139"/>
                <a:gd name="T84" fmla="*/ 129 w 133"/>
                <a:gd name="T85" fmla="*/ 70 h 139"/>
                <a:gd name="T86" fmla="*/ 125 w 133"/>
                <a:gd name="T87" fmla="*/ 70 h 139"/>
                <a:gd name="T88" fmla="*/ 108 w 133"/>
                <a:gd name="T89" fmla="*/ 113 h 139"/>
                <a:gd name="T90" fmla="*/ 67 w 133"/>
                <a:gd name="T91" fmla="*/ 131 h 139"/>
                <a:gd name="T92" fmla="*/ 26 w 133"/>
                <a:gd name="T93" fmla="*/ 113 h 139"/>
                <a:gd name="T94" fmla="*/ 8 w 133"/>
                <a:gd name="T95" fmla="*/ 70 h 139"/>
                <a:gd name="T96" fmla="*/ 4 w 133"/>
                <a:gd name="T97" fmla="*/ 70 h 139"/>
                <a:gd name="T98" fmla="*/ 8 w 133"/>
                <a:gd name="T99" fmla="*/ 70 h 139"/>
                <a:gd name="T100" fmla="*/ 4 w 133"/>
                <a:gd name="T101"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 h="139">
                  <a:moveTo>
                    <a:pt x="14" y="70"/>
                  </a:moveTo>
                  <a:cubicBezTo>
                    <a:pt x="18" y="70"/>
                    <a:pt x="18" y="70"/>
                    <a:pt x="18" y="70"/>
                  </a:cubicBezTo>
                  <a:cubicBezTo>
                    <a:pt x="18" y="55"/>
                    <a:pt x="23" y="42"/>
                    <a:pt x="32" y="32"/>
                  </a:cubicBezTo>
                  <a:cubicBezTo>
                    <a:pt x="41" y="23"/>
                    <a:pt x="53" y="17"/>
                    <a:pt x="67" y="17"/>
                  </a:cubicBezTo>
                  <a:cubicBezTo>
                    <a:pt x="80" y="17"/>
                    <a:pt x="92" y="23"/>
                    <a:pt x="101" y="32"/>
                  </a:cubicBezTo>
                  <a:cubicBezTo>
                    <a:pt x="110" y="42"/>
                    <a:pt x="115" y="55"/>
                    <a:pt x="116" y="70"/>
                  </a:cubicBezTo>
                  <a:cubicBezTo>
                    <a:pt x="120" y="70"/>
                    <a:pt x="120" y="70"/>
                    <a:pt x="120" y="70"/>
                  </a:cubicBezTo>
                  <a:cubicBezTo>
                    <a:pt x="116" y="70"/>
                    <a:pt x="116" y="70"/>
                    <a:pt x="116" y="70"/>
                  </a:cubicBezTo>
                  <a:cubicBezTo>
                    <a:pt x="115" y="85"/>
                    <a:pt x="110" y="98"/>
                    <a:pt x="101" y="107"/>
                  </a:cubicBezTo>
                  <a:cubicBezTo>
                    <a:pt x="92" y="117"/>
                    <a:pt x="80" y="122"/>
                    <a:pt x="67" y="122"/>
                  </a:cubicBezTo>
                  <a:cubicBezTo>
                    <a:pt x="53" y="122"/>
                    <a:pt x="41" y="117"/>
                    <a:pt x="32" y="107"/>
                  </a:cubicBezTo>
                  <a:cubicBezTo>
                    <a:pt x="23" y="98"/>
                    <a:pt x="18" y="85"/>
                    <a:pt x="18" y="70"/>
                  </a:cubicBezTo>
                  <a:cubicBezTo>
                    <a:pt x="14" y="70"/>
                    <a:pt x="14" y="70"/>
                    <a:pt x="14" y="70"/>
                  </a:cubicBezTo>
                  <a:cubicBezTo>
                    <a:pt x="10" y="70"/>
                    <a:pt x="10" y="70"/>
                    <a:pt x="10" y="70"/>
                  </a:cubicBezTo>
                  <a:cubicBezTo>
                    <a:pt x="10" y="87"/>
                    <a:pt x="16" y="102"/>
                    <a:pt x="26" y="113"/>
                  </a:cubicBezTo>
                  <a:cubicBezTo>
                    <a:pt x="37" y="124"/>
                    <a:pt x="51" y="130"/>
                    <a:pt x="67" y="130"/>
                  </a:cubicBezTo>
                  <a:cubicBezTo>
                    <a:pt x="82" y="130"/>
                    <a:pt x="97" y="124"/>
                    <a:pt x="107" y="113"/>
                  </a:cubicBezTo>
                  <a:cubicBezTo>
                    <a:pt x="117" y="102"/>
                    <a:pt x="123" y="87"/>
                    <a:pt x="124" y="70"/>
                  </a:cubicBezTo>
                  <a:cubicBezTo>
                    <a:pt x="124" y="70"/>
                    <a:pt x="124" y="70"/>
                    <a:pt x="124" y="70"/>
                  </a:cubicBezTo>
                  <a:cubicBezTo>
                    <a:pt x="123" y="53"/>
                    <a:pt x="117" y="38"/>
                    <a:pt x="107" y="27"/>
                  </a:cubicBezTo>
                  <a:cubicBezTo>
                    <a:pt x="96" y="16"/>
                    <a:pt x="82" y="9"/>
                    <a:pt x="67" y="9"/>
                  </a:cubicBezTo>
                  <a:cubicBezTo>
                    <a:pt x="51" y="9"/>
                    <a:pt x="37" y="16"/>
                    <a:pt x="26" y="27"/>
                  </a:cubicBezTo>
                  <a:cubicBezTo>
                    <a:pt x="16" y="38"/>
                    <a:pt x="9" y="53"/>
                    <a:pt x="10" y="70"/>
                  </a:cubicBezTo>
                  <a:cubicBezTo>
                    <a:pt x="14" y="70"/>
                    <a:pt x="14" y="70"/>
                    <a:pt x="14" y="70"/>
                  </a:cubicBezTo>
                  <a:moveTo>
                    <a:pt x="4" y="70"/>
                  </a:moveTo>
                  <a:cubicBezTo>
                    <a:pt x="0" y="70"/>
                    <a:pt x="0" y="70"/>
                    <a:pt x="0" y="70"/>
                  </a:cubicBezTo>
                  <a:cubicBezTo>
                    <a:pt x="1" y="89"/>
                    <a:pt x="8" y="106"/>
                    <a:pt x="20" y="119"/>
                  </a:cubicBezTo>
                  <a:cubicBezTo>
                    <a:pt x="32" y="132"/>
                    <a:pt x="48" y="139"/>
                    <a:pt x="67" y="139"/>
                  </a:cubicBezTo>
                  <a:cubicBezTo>
                    <a:pt x="85" y="139"/>
                    <a:pt x="102" y="131"/>
                    <a:pt x="114" y="119"/>
                  </a:cubicBezTo>
                  <a:cubicBezTo>
                    <a:pt x="126" y="106"/>
                    <a:pt x="133" y="89"/>
                    <a:pt x="133" y="70"/>
                  </a:cubicBezTo>
                  <a:cubicBezTo>
                    <a:pt x="133" y="70"/>
                    <a:pt x="133" y="70"/>
                    <a:pt x="133" y="70"/>
                  </a:cubicBezTo>
                  <a:cubicBezTo>
                    <a:pt x="133" y="51"/>
                    <a:pt x="126" y="33"/>
                    <a:pt x="114" y="21"/>
                  </a:cubicBezTo>
                  <a:cubicBezTo>
                    <a:pt x="102" y="8"/>
                    <a:pt x="85" y="0"/>
                    <a:pt x="67" y="0"/>
                  </a:cubicBezTo>
                  <a:cubicBezTo>
                    <a:pt x="48" y="0"/>
                    <a:pt x="32" y="8"/>
                    <a:pt x="20" y="21"/>
                  </a:cubicBezTo>
                  <a:cubicBezTo>
                    <a:pt x="8" y="33"/>
                    <a:pt x="1" y="51"/>
                    <a:pt x="0" y="70"/>
                  </a:cubicBezTo>
                  <a:cubicBezTo>
                    <a:pt x="0" y="70"/>
                    <a:pt x="0" y="70"/>
                    <a:pt x="0" y="70"/>
                  </a:cubicBezTo>
                  <a:cubicBezTo>
                    <a:pt x="4" y="70"/>
                    <a:pt x="4" y="70"/>
                    <a:pt x="4" y="70"/>
                  </a:cubicBezTo>
                  <a:cubicBezTo>
                    <a:pt x="8" y="70"/>
                    <a:pt x="8" y="70"/>
                    <a:pt x="8" y="70"/>
                  </a:cubicBezTo>
                  <a:cubicBezTo>
                    <a:pt x="9" y="53"/>
                    <a:pt x="15" y="37"/>
                    <a:pt x="26" y="26"/>
                  </a:cubicBezTo>
                  <a:cubicBezTo>
                    <a:pt x="36" y="15"/>
                    <a:pt x="51" y="8"/>
                    <a:pt x="67" y="8"/>
                  </a:cubicBezTo>
                  <a:cubicBezTo>
                    <a:pt x="83" y="8"/>
                    <a:pt x="97" y="15"/>
                    <a:pt x="108" y="26"/>
                  </a:cubicBezTo>
                  <a:cubicBezTo>
                    <a:pt x="118" y="37"/>
                    <a:pt x="125" y="53"/>
                    <a:pt x="125" y="70"/>
                  </a:cubicBezTo>
                  <a:cubicBezTo>
                    <a:pt x="129" y="70"/>
                    <a:pt x="129" y="70"/>
                    <a:pt x="129" y="70"/>
                  </a:cubicBezTo>
                  <a:cubicBezTo>
                    <a:pt x="125" y="70"/>
                    <a:pt x="125" y="70"/>
                    <a:pt x="125" y="70"/>
                  </a:cubicBezTo>
                  <a:cubicBezTo>
                    <a:pt x="125" y="87"/>
                    <a:pt x="118" y="102"/>
                    <a:pt x="108" y="113"/>
                  </a:cubicBezTo>
                  <a:cubicBezTo>
                    <a:pt x="97" y="125"/>
                    <a:pt x="83" y="131"/>
                    <a:pt x="67" y="131"/>
                  </a:cubicBezTo>
                  <a:cubicBezTo>
                    <a:pt x="51" y="131"/>
                    <a:pt x="36" y="125"/>
                    <a:pt x="26" y="113"/>
                  </a:cubicBezTo>
                  <a:cubicBezTo>
                    <a:pt x="15" y="102"/>
                    <a:pt x="9" y="87"/>
                    <a:pt x="8" y="70"/>
                  </a:cubicBezTo>
                  <a:cubicBezTo>
                    <a:pt x="4" y="70"/>
                    <a:pt x="4" y="70"/>
                    <a:pt x="4" y="70"/>
                  </a:cubicBezTo>
                  <a:cubicBezTo>
                    <a:pt x="8" y="70"/>
                    <a:pt x="8" y="70"/>
                    <a:pt x="8" y="70"/>
                  </a:cubicBezTo>
                  <a:cubicBezTo>
                    <a:pt x="4" y="70"/>
                    <a:pt x="4" y="70"/>
                    <a:pt x="4" y="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8" name="Freeform 90">
              <a:extLst>
                <a:ext uri="{FF2B5EF4-FFF2-40B4-BE49-F238E27FC236}">
                  <a16:creationId xmlns:a16="http://schemas.microsoft.com/office/drawing/2014/main" id="{52662904-D284-4977-B6D0-583B3ED319D7}"/>
                </a:ext>
              </a:extLst>
            </p:cNvPr>
            <p:cNvSpPr>
              <a:spLocks/>
            </p:cNvSpPr>
            <p:nvPr userDrawn="1"/>
          </p:nvSpPr>
          <p:spPr bwMode="auto">
            <a:xfrm flipH="1">
              <a:off x="10187098" y="2645029"/>
              <a:ext cx="159084" cy="207813"/>
            </a:xfrm>
            <a:custGeom>
              <a:avLst/>
              <a:gdLst>
                <a:gd name="T0" fmla="*/ 87 w 104"/>
                <a:gd name="T1" fmla="*/ 132 h 136"/>
                <a:gd name="T2" fmla="*/ 89 w 104"/>
                <a:gd name="T3" fmla="*/ 134 h 136"/>
                <a:gd name="T4" fmla="*/ 91 w 104"/>
                <a:gd name="T5" fmla="*/ 132 h 136"/>
                <a:gd name="T6" fmla="*/ 89 w 104"/>
                <a:gd name="T7" fmla="*/ 134 h 136"/>
                <a:gd name="T8" fmla="*/ 89 w 104"/>
                <a:gd name="T9" fmla="*/ 134 h 136"/>
                <a:gd name="T10" fmla="*/ 88 w 104"/>
                <a:gd name="T11" fmla="*/ 133 h 136"/>
                <a:gd name="T12" fmla="*/ 95 w 104"/>
                <a:gd name="T13" fmla="*/ 136 h 136"/>
                <a:gd name="T14" fmla="*/ 104 w 104"/>
                <a:gd name="T15" fmla="*/ 9 h 136"/>
                <a:gd name="T16" fmla="*/ 89 w 104"/>
                <a:gd name="T17" fmla="*/ 3 h 136"/>
                <a:gd name="T18" fmla="*/ 87 w 104"/>
                <a:gd name="T19" fmla="*/ 102 h 136"/>
                <a:gd name="T20" fmla="*/ 12 w 104"/>
                <a:gd name="T21" fmla="*/ 5 h 136"/>
                <a:gd name="T22" fmla="*/ 12 w 104"/>
                <a:gd name="T23" fmla="*/ 0 h 136"/>
                <a:gd name="T24" fmla="*/ 4 w 104"/>
                <a:gd name="T25" fmla="*/ 1 h 136"/>
                <a:gd name="T26" fmla="*/ 0 w 104"/>
                <a:gd name="T27" fmla="*/ 8 h 136"/>
                <a:gd name="T28" fmla="*/ 4 w 104"/>
                <a:gd name="T29" fmla="*/ 9 h 136"/>
                <a:gd name="T30" fmla="*/ 0 w 104"/>
                <a:gd name="T31" fmla="*/ 128 h 136"/>
                <a:gd name="T32" fmla="*/ 17 w 104"/>
                <a:gd name="T33" fmla="*/ 128 h 136"/>
                <a:gd name="T34" fmla="*/ 88 w 104"/>
                <a:gd name="T35" fmla="*/ 132 h 136"/>
                <a:gd name="T36" fmla="*/ 87 w 104"/>
                <a:gd name="T37" fmla="*/ 132 h 136"/>
                <a:gd name="T38" fmla="*/ 94 w 104"/>
                <a:gd name="T39" fmla="*/ 128 h 136"/>
                <a:gd name="T40" fmla="*/ 12 w 104"/>
                <a:gd name="T41" fmla="*/ 18 h 136"/>
                <a:gd name="T42" fmla="*/ 9 w 104"/>
                <a:gd name="T43" fmla="*/ 128 h 136"/>
                <a:gd name="T44" fmla="*/ 9 w 104"/>
                <a:gd name="T45" fmla="*/ 128 h 136"/>
                <a:gd name="T46" fmla="*/ 8 w 104"/>
                <a:gd name="T47" fmla="*/ 128 h 136"/>
                <a:gd name="T48" fmla="*/ 8 w 104"/>
                <a:gd name="T49" fmla="*/ 8 h 136"/>
                <a:gd name="T50" fmla="*/ 8 w 104"/>
                <a:gd name="T51" fmla="*/ 7 h 136"/>
                <a:gd name="T52" fmla="*/ 8 w 104"/>
                <a:gd name="T53" fmla="*/ 8 h 136"/>
                <a:gd name="T54" fmla="*/ 9 w 104"/>
                <a:gd name="T55" fmla="*/ 8 h 136"/>
                <a:gd name="T56" fmla="*/ 9 w 104"/>
                <a:gd name="T57" fmla="*/ 7 h 136"/>
                <a:gd name="T58" fmla="*/ 9 w 104"/>
                <a:gd name="T59" fmla="*/ 8 h 136"/>
                <a:gd name="T60" fmla="*/ 9 w 104"/>
                <a:gd name="T61" fmla="*/ 8 h 136"/>
                <a:gd name="T62" fmla="*/ 87 w 104"/>
                <a:gd name="T63" fmla="*/ 116 h 136"/>
                <a:gd name="T64" fmla="*/ 95 w 104"/>
                <a:gd name="T65" fmla="*/ 114 h 136"/>
                <a:gd name="T66" fmla="*/ 95 w 104"/>
                <a:gd name="T67" fmla="*/ 8 h 136"/>
                <a:gd name="T68" fmla="*/ 96 w 104"/>
                <a:gd name="T69" fmla="*/ 8 h 136"/>
                <a:gd name="T70" fmla="*/ 96 w 104"/>
                <a:gd name="T71" fmla="*/ 128 h 136"/>
                <a:gd name="T72" fmla="*/ 95 w 104"/>
                <a:gd name="T73" fmla="*/ 128 h 136"/>
                <a:gd name="T74" fmla="*/ 95 w 104"/>
                <a:gd name="T75" fmla="*/ 128 h 136"/>
                <a:gd name="T76" fmla="*/ 94 w 104"/>
                <a:gd name="T77" fmla="*/ 127 h 136"/>
                <a:gd name="T78" fmla="*/ 92 w 104"/>
                <a:gd name="T79" fmla="*/ 129 h 136"/>
                <a:gd name="T80" fmla="*/ 94 w 104"/>
                <a:gd name="T81" fmla="*/ 127 h 136"/>
                <a:gd name="T82" fmla="*/ 94 w 104"/>
                <a:gd name="T83" fmla="*/ 128 h 136"/>
                <a:gd name="T84" fmla="*/ 91 w 104"/>
                <a:gd name="T85"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36">
                  <a:moveTo>
                    <a:pt x="91" y="130"/>
                  </a:moveTo>
                  <a:cubicBezTo>
                    <a:pt x="87" y="132"/>
                    <a:pt x="87" y="132"/>
                    <a:pt x="87" y="132"/>
                  </a:cubicBezTo>
                  <a:cubicBezTo>
                    <a:pt x="88" y="133"/>
                    <a:pt x="88" y="133"/>
                    <a:pt x="89" y="133"/>
                  </a:cubicBezTo>
                  <a:cubicBezTo>
                    <a:pt x="89" y="134"/>
                    <a:pt x="89" y="134"/>
                    <a:pt x="89" y="134"/>
                  </a:cubicBezTo>
                  <a:cubicBezTo>
                    <a:pt x="89" y="134"/>
                    <a:pt x="89" y="134"/>
                    <a:pt x="89" y="134"/>
                  </a:cubicBezTo>
                  <a:cubicBezTo>
                    <a:pt x="91" y="132"/>
                    <a:pt x="91" y="132"/>
                    <a:pt x="91" y="132"/>
                  </a:cubicBezTo>
                  <a:cubicBezTo>
                    <a:pt x="89" y="134"/>
                    <a:pt x="89" y="134"/>
                    <a:pt x="89" y="134"/>
                  </a:cubicBezTo>
                  <a:cubicBezTo>
                    <a:pt x="89" y="134"/>
                    <a:pt x="89" y="134"/>
                    <a:pt x="89" y="134"/>
                  </a:cubicBezTo>
                  <a:cubicBezTo>
                    <a:pt x="91" y="132"/>
                    <a:pt x="91" y="132"/>
                    <a:pt x="91" y="132"/>
                  </a:cubicBezTo>
                  <a:cubicBezTo>
                    <a:pt x="89" y="134"/>
                    <a:pt x="89" y="134"/>
                    <a:pt x="89" y="134"/>
                  </a:cubicBezTo>
                  <a:cubicBezTo>
                    <a:pt x="92" y="131"/>
                    <a:pt x="92" y="131"/>
                    <a:pt x="92" y="131"/>
                  </a:cubicBezTo>
                  <a:cubicBezTo>
                    <a:pt x="88" y="133"/>
                    <a:pt x="88" y="133"/>
                    <a:pt x="88" y="133"/>
                  </a:cubicBezTo>
                  <a:cubicBezTo>
                    <a:pt x="89" y="134"/>
                    <a:pt x="90" y="135"/>
                    <a:pt x="91" y="136"/>
                  </a:cubicBezTo>
                  <a:cubicBezTo>
                    <a:pt x="93" y="136"/>
                    <a:pt x="94" y="136"/>
                    <a:pt x="95" y="136"/>
                  </a:cubicBezTo>
                  <a:cubicBezTo>
                    <a:pt x="100" y="136"/>
                    <a:pt x="104" y="133"/>
                    <a:pt x="104" y="128"/>
                  </a:cubicBezTo>
                  <a:cubicBezTo>
                    <a:pt x="104" y="9"/>
                    <a:pt x="104" y="9"/>
                    <a:pt x="104" y="9"/>
                  </a:cubicBezTo>
                  <a:cubicBezTo>
                    <a:pt x="104" y="4"/>
                    <a:pt x="100" y="0"/>
                    <a:pt x="95" y="0"/>
                  </a:cubicBezTo>
                  <a:cubicBezTo>
                    <a:pt x="93" y="0"/>
                    <a:pt x="91" y="1"/>
                    <a:pt x="89" y="3"/>
                  </a:cubicBezTo>
                  <a:cubicBezTo>
                    <a:pt x="88" y="4"/>
                    <a:pt x="87" y="6"/>
                    <a:pt x="87" y="9"/>
                  </a:cubicBezTo>
                  <a:cubicBezTo>
                    <a:pt x="87" y="102"/>
                    <a:pt x="87" y="102"/>
                    <a:pt x="87" y="102"/>
                  </a:cubicBezTo>
                  <a:cubicBezTo>
                    <a:pt x="16" y="3"/>
                    <a:pt x="16" y="3"/>
                    <a:pt x="16" y="3"/>
                  </a:cubicBezTo>
                  <a:cubicBezTo>
                    <a:pt x="12" y="5"/>
                    <a:pt x="12" y="5"/>
                    <a:pt x="12" y="5"/>
                  </a:cubicBezTo>
                  <a:cubicBezTo>
                    <a:pt x="16" y="3"/>
                    <a:pt x="16" y="3"/>
                    <a:pt x="16" y="3"/>
                  </a:cubicBezTo>
                  <a:cubicBezTo>
                    <a:pt x="15" y="2"/>
                    <a:pt x="14" y="1"/>
                    <a:pt x="12" y="0"/>
                  </a:cubicBezTo>
                  <a:cubicBezTo>
                    <a:pt x="11" y="0"/>
                    <a:pt x="10" y="0"/>
                    <a:pt x="9" y="0"/>
                  </a:cubicBezTo>
                  <a:cubicBezTo>
                    <a:pt x="7" y="0"/>
                    <a:pt x="5" y="0"/>
                    <a:pt x="4" y="1"/>
                  </a:cubicBezTo>
                  <a:cubicBezTo>
                    <a:pt x="4" y="1"/>
                    <a:pt x="4" y="1"/>
                    <a:pt x="4" y="1"/>
                  </a:cubicBezTo>
                  <a:cubicBezTo>
                    <a:pt x="1" y="3"/>
                    <a:pt x="0" y="5"/>
                    <a:pt x="0" y="8"/>
                  </a:cubicBezTo>
                  <a:cubicBezTo>
                    <a:pt x="0" y="9"/>
                    <a:pt x="0" y="10"/>
                    <a:pt x="1" y="10"/>
                  </a:cubicBezTo>
                  <a:cubicBezTo>
                    <a:pt x="4" y="9"/>
                    <a:pt x="4" y="9"/>
                    <a:pt x="4" y="9"/>
                  </a:cubicBezTo>
                  <a:cubicBezTo>
                    <a:pt x="0" y="9"/>
                    <a:pt x="0" y="9"/>
                    <a:pt x="0" y="9"/>
                  </a:cubicBezTo>
                  <a:cubicBezTo>
                    <a:pt x="0" y="128"/>
                    <a:pt x="0" y="128"/>
                    <a:pt x="0" y="128"/>
                  </a:cubicBezTo>
                  <a:cubicBezTo>
                    <a:pt x="0" y="133"/>
                    <a:pt x="4" y="136"/>
                    <a:pt x="9" y="136"/>
                  </a:cubicBezTo>
                  <a:cubicBezTo>
                    <a:pt x="13" y="136"/>
                    <a:pt x="17" y="133"/>
                    <a:pt x="17" y="128"/>
                  </a:cubicBezTo>
                  <a:cubicBezTo>
                    <a:pt x="17" y="34"/>
                    <a:pt x="17" y="34"/>
                    <a:pt x="17" y="34"/>
                  </a:cubicBezTo>
                  <a:cubicBezTo>
                    <a:pt x="88" y="132"/>
                    <a:pt x="88" y="132"/>
                    <a:pt x="88" y="132"/>
                  </a:cubicBezTo>
                  <a:cubicBezTo>
                    <a:pt x="91" y="130"/>
                    <a:pt x="91" y="130"/>
                    <a:pt x="91" y="130"/>
                  </a:cubicBezTo>
                  <a:cubicBezTo>
                    <a:pt x="87" y="132"/>
                    <a:pt x="87" y="132"/>
                    <a:pt x="87" y="132"/>
                  </a:cubicBezTo>
                  <a:cubicBezTo>
                    <a:pt x="91" y="130"/>
                    <a:pt x="91" y="130"/>
                    <a:pt x="91" y="130"/>
                  </a:cubicBezTo>
                  <a:cubicBezTo>
                    <a:pt x="94" y="128"/>
                    <a:pt x="94" y="128"/>
                    <a:pt x="94" y="128"/>
                  </a:cubicBezTo>
                  <a:cubicBezTo>
                    <a:pt x="16" y="20"/>
                    <a:pt x="16" y="20"/>
                    <a:pt x="16" y="20"/>
                  </a:cubicBezTo>
                  <a:cubicBezTo>
                    <a:pt x="15" y="18"/>
                    <a:pt x="14" y="18"/>
                    <a:pt x="12" y="18"/>
                  </a:cubicBezTo>
                  <a:cubicBezTo>
                    <a:pt x="10" y="19"/>
                    <a:pt x="9" y="20"/>
                    <a:pt x="9" y="22"/>
                  </a:cubicBezTo>
                  <a:cubicBezTo>
                    <a:pt x="9" y="128"/>
                    <a:pt x="9" y="128"/>
                    <a:pt x="9" y="128"/>
                  </a:cubicBezTo>
                  <a:cubicBezTo>
                    <a:pt x="9" y="128"/>
                    <a:pt x="9" y="128"/>
                    <a:pt x="9" y="128"/>
                  </a:cubicBezTo>
                  <a:cubicBezTo>
                    <a:pt x="9" y="128"/>
                    <a:pt x="9" y="128"/>
                    <a:pt x="9" y="128"/>
                  </a:cubicBezTo>
                  <a:cubicBezTo>
                    <a:pt x="8" y="128"/>
                    <a:pt x="8" y="128"/>
                    <a:pt x="8" y="128"/>
                  </a:cubicBezTo>
                  <a:cubicBezTo>
                    <a:pt x="8" y="128"/>
                    <a:pt x="8" y="128"/>
                    <a:pt x="8" y="128"/>
                  </a:cubicBezTo>
                  <a:cubicBezTo>
                    <a:pt x="8" y="9"/>
                    <a:pt x="8" y="9"/>
                    <a:pt x="8" y="9"/>
                  </a:cubicBezTo>
                  <a:cubicBezTo>
                    <a:pt x="8" y="9"/>
                    <a:pt x="8" y="8"/>
                    <a:pt x="8" y="8"/>
                  </a:cubicBezTo>
                  <a:cubicBezTo>
                    <a:pt x="8" y="8"/>
                    <a:pt x="8" y="8"/>
                    <a:pt x="8" y="8"/>
                  </a:cubicBezTo>
                  <a:cubicBezTo>
                    <a:pt x="8" y="8"/>
                    <a:pt x="8" y="8"/>
                    <a:pt x="8" y="7"/>
                  </a:cubicBezTo>
                  <a:cubicBezTo>
                    <a:pt x="6" y="4"/>
                    <a:pt x="6" y="4"/>
                    <a:pt x="6" y="4"/>
                  </a:cubicBezTo>
                  <a:cubicBezTo>
                    <a:pt x="8" y="8"/>
                    <a:pt x="8" y="8"/>
                    <a:pt x="8" y="8"/>
                  </a:cubicBezTo>
                  <a:cubicBezTo>
                    <a:pt x="9" y="8"/>
                    <a:pt x="9" y="8"/>
                    <a:pt x="9" y="8"/>
                  </a:cubicBezTo>
                  <a:cubicBezTo>
                    <a:pt x="9" y="8"/>
                    <a:pt x="9" y="8"/>
                    <a:pt x="9" y="8"/>
                  </a:cubicBezTo>
                  <a:cubicBezTo>
                    <a:pt x="9" y="8"/>
                    <a:pt x="9" y="8"/>
                    <a:pt x="9" y="8"/>
                  </a:cubicBezTo>
                  <a:cubicBezTo>
                    <a:pt x="9" y="7"/>
                    <a:pt x="9" y="7"/>
                    <a:pt x="9" y="7"/>
                  </a:cubicBezTo>
                  <a:cubicBezTo>
                    <a:pt x="9" y="8"/>
                    <a:pt x="9" y="8"/>
                    <a:pt x="9" y="8"/>
                  </a:cubicBezTo>
                  <a:cubicBezTo>
                    <a:pt x="9" y="8"/>
                    <a:pt x="9" y="8"/>
                    <a:pt x="9" y="8"/>
                  </a:cubicBezTo>
                  <a:cubicBezTo>
                    <a:pt x="9" y="7"/>
                    <a:pt x="9" y="7"/>
                    <a:pt x="9" y="7"/>
                  </a:cubicBezTo>
                  <a:cubicBezTo>
                    <a:pt x="9" y="8"/>
                    <a:pt x="9" y="8"/>
                    <a:pt x="9" y="8"/>
                  </a:cubicBezTo>
                  <a:cubicBezTo>
                    <a:pt x="9" y="8"/>
                    <a:pt x="9" y="8"/>
                    <a:pt x="9" y="8"/>
                  </a:cubicBezTo>
                  <a:cubicBezTo>
                    <a:pt x="87" y="116"/>
                    <a:pt x="87" y="116"/>
                    <a:pt x="87" y="116"/>
                  </a:cubicBezTo>
                  <a:cubicBezTo>
                    <a:pt x="88" y="118"/>
                    <a:pt x="90" y="118"/>
                    <a:pt x="92" y="118"/>
                  </a:cubicBezTo>
                  <a:cubicBezTo>
                    <a:pt x="94" y="117"/>
                    <a:pt x="95" y="116"/>
                    <a:pt x="95" y="114"/>
                  </a:cubicBezTo>
                  <a:cubicBezTo>
                    <a:pt x="95" y="9"/>
                    <a:pt x="95" y="9"/>
                    <a:pt x="95" y="9"/>
                  </a:cubicBezTo>
                  <a:cubicBezTo>
                    <a:pt x="95" y="8"/>
                    <a:pt x="95" y="8"/>
                    <a:pt x="95" y="8"/>
                  </a:cubicBezTo>
                  <a:cubicBezTo>
                    <a:pt x="95" y="8"/>
                    <a:pt x="95" y="8"/>
                    <a:pt x="95" y="8"/>
                  </a:cubicBezTo>
                  <a:cubicBezTo>
                    <a:pt x="96" y="8"/>
                    <a:pt x="96" y="8"/>
                    <a:pt x="96" y="8"/>
                  </a:cubicBezTo>
                  <a:cubicBezTo>
                    <a:pt x="96" y="9"/>
                    <a:pt x="96" y="9"/>
                    <a:pt x="96" y="9"/>
                  </a:cubicBezTo>
                  <a:cubicBezTo>
                    <a:pt x="96" y="128"/>
                    <a:pt x="96" y="128"/>
                    <a:pt x="96" y="128"/>
                  </a:cubicBezTo>
                  <a:cubicBezTo>
                    <a:pt x="96" y="128"/>
                    <a:pt x="96" y="128"/>
                    <a:pt x="96" y="128"/>
                  </a:cubicBezTo>
                  <a:cubicBezTo>
                    <a:pt x="95" y="128"/>
                    <a:pt x="95" y="128"/>
                    <a:pt x="95" y="128"/>
                  </a:cubicBezTo>
                  <a:cubicBezTo>
                    <a:pt x="95" y="128"/>
                    <a:pt x="95" y="128"/>
                    <a:pt x="95" y="128"/>
                  </a:cubicBezTo>
                  <a:cubicBezTo>
                    <a:pt x="95" y="128"/>
                    <a:pt x="95" y="128"/>
                    <a:pt x="95" y="128"/>
                  </a:cubicBezTo>
                  <a:cubicBezTo>
                    <a:pt x="94" y="128"/>
                    <a:pt x="94" y="128"/>
                    <a:pt x="94" y="128"/>
                  </a:cubicBezTo>
                  <a:cubicBezTo>
                    <a:pt x="94" y="127"/>
                    <a:pt x="94" y="127"/>
                    <a:pt x="94" y="127"/>
                  </a:cubicBezTo>
                  <a:cubicBezTo>
                    <a:pt x="94" y="127"/>
                    <a:pt x="94" y="127"/>
                    <a:pt x="94" y="127"/>
                  </a:cubicBezTo>
                  <a:cubicBezTo>
                    <a:pt x="92" y="129"/>
                    <a:pt x="92" y="129"/>
                    <a:pt x="92" y="129"/>
                  </a:cubicBezTo>
                  <a:cubicBezTo>
                    <a:pt x="94" y="128"/>
                    <a:pt x="94" y="128"/>
                    <a:pt x="94" y="128"/>
                  </a:cubicBezTo>
                  <a:cubicBezTo>
                    <a:pt x="94" y="128"/>
                    <a:pt x="94" y="127"/>
                    <a:pt x="94" y="127"/>
                  </a:cubicBezTo>
                  <a:cubicBezTo>
                    <a:pt x="92" y="129"/>
                    <a:pt x="92" y="129"/>
                    <a:pt x="92" y="129"/>
                  </a:cubicBezTo>
                  <a:cubicBezTo>
                    <a:pt x="94" y="128"/>
                    <a:pt x="94" y="128"/>
                    <a:pt x="94" y="128"/>
                  </a:cubicBezTo>
                  <a:cubicBezTo>
                    <a:pt x="94" y="128"/>
                    <a:pt x="94" y="128"/>
                    <a:pt x="94" y="128"/>
                  </a:cubicBezTo>
                  <a:cubicBezTo>
                    <a:pt x="91" y="130"/>
                    <a:pt x="91" y="130"/>
                    <a:pt x="91" y="1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9" name="Freeform 91">
              <a:extLst>
                <a:ext uri="{FF2B5EF4-FFF2-40B4-BE49-F238E27FC236}">
                  <a16:creationId xmlns:a16="http://schemas.microsoft.com/office/drawing/2014/main" id="{FCD17E70-2E29-462A-A0DA-F9C5DD0A4D8E}"/>
                </a:ext>
              </a:extLst>
            </p:cNvPr>
            <p:cNvSpPr>
              <a:spLocks/>
            </p:cNvSpPr>
            <p:nvPr userDrawn="1"/>
          </p:nvSpPr>
          <p:spPr bwMode="auto">
            <a:xfrm flipH="1">
              <a:off x="9993618" y="2643597"/>
              <a:ext cx="157651" cy="209245"/>
            </a:xfrm>
            <a:custGeom>
              <a:avLst/>
              <a:gdLst>
                <a:gd name="T0" fmla="*/ 47 w 103"/>
                <a:gd name="T1" fmla="*/ 129 h 137"/>
                <a:gd name="T2" fmla="*/ 43 w 103"/>
                <a:gd name="T3" fmla="*/ 129 h 137"/>
                <a:gd name="T4" fmla="*/ 52 w 103"/>
                <a:gd name="T5" fmla="*/ 137 h 137"/>
                <a:gd name="T6" fmla="*/ 58 w 103"/>
                <a:gd name="T7" fmla="*/ 135 h 137"/>
                <a:gd name="T8" fmla="*/ 60 w 103"/>
                <a:gd name="T9" fmla="*/ 129 h 137"/>
                <a:gd name="T10" fmla="*/ 60 w 103"/>
                <a:gd name="T11" fmla="*/ 17 h 137"/>
                <a:gd name="T12" fmla="*/ 95 w 103"/>
                <a:gd name="T13" fmla="*/ 17 h 137"/>
                <a:gd name="T14" fmla="*/ 103 w 103"/>
                <a:gd name="T15" fmla="*/ 8 h 137"/>
                <a:gd name="T16" fmla="*/ 95 w 103"/>
                <a:gd name="T17" fmla="*/ 0 h 137"/>
                <a:gd name="T18" fmla="*/ 8 w 103"/>
                <a:gd name="T19" fmla="*/ 0 h 137"/>
                <a:gd name="T20" fmla="*/ 0 w 103"/>
                <a:gd name="T21" fmla="*/ 8 h 137"/>
                <a:gd name="T22" fmla="*/ 8 w 103"/>
                <a:gd name="T23" fmla="*/ 17 h 137"/>
                <a:gd name="T24" fmla="*/ 43 w 103"/>
                <a:gd name="T25" fmla="*/ 17 h 137"/>
                <a:gd name="T26" fmla="*/ 43 w 103"/>
                <a:gd name="T27" fmla="*/ 129 h 137"/>
                <a:gd name="T28" fmla="*/ 47 w 103"/>
                <a:gd name="T29" fmla="*/ 129 h 137"/>
                <a:gd name="T30" fmla="*/ 51 w 103"/>
                <a:gd name="T31" fmla="*/ 129 h 137"/>
                <a:gd name="T32" fmla="*/ 51 w 103"/>
                <a:gd name="T33" fmla="*/ 13 h 137"/>
                <a:gd name="T34" fmla="*/ 50 w 103"/>
                <a:gd name="T35" fmla="*/ 10 h 137"/>
                <a:gd name="T36" fmla="*/ 47 w 103"/>
                <a:gd name="T37" fmla="*/ 9 h 137"/>
                <a:gd name="T38" fmla="*/ 8 w 103"/>
                <a:gd name="T39" fmla="*/ 9 h 137"/>
                <a:gd name="T40" fmla="*/ 8 w 103"/>
                <a:gd name="T41" fmla="*/ 9 h 137"/>
                <a:gd name="T42" fmla="*/ 8 w 103"/>
                <a:gd name="T43" fmla="*/ 8 h 137"/>
                <a:gd name="T44" fmla="*/ 8 w 103"/>
                <a:gd name="T45" fmla="*/ 8 h 137"/>
                <a:gd name="T46" fmla="*/ 8 w 103"/>
                <a:gd name="T47" fmla="*/ 8 h 137"/>
                <a:gd name="T48" fmla="*/ 95 w 103"/>
                <a:gd name="T49" fmla="*/ 8 h 137"/>
                <a:gd name="T50" fmla="*/ 95 w 103"/>
                <a:gd name="T51" fmla="*/ 8 h 137"/>
                <a:gd name="T52" fmla="*/ 95 w 103"/>
                <a:gd name="T53" fmla="*/ 8 h 137"/>
                <a:gd name="T54" fmla="*/ 95 w 103"/>
                <a:gd name="T55" fmla="*/ 9 h 137"/>
                <a:gd name="T56" fmla="*/ 95 w 103"/>
                <a:gd name="T57" fmla="*/ 9 h 137"/>
                <a:gd name="T58" fmla="*/ 56 w 103"/>
                <a:gd name="T59" fmla="*/ 9 h 137"/>
                <a:gd name="T60" fmla="*/ 53 w 103"/>
                <a:gd name="T61" fmla="*/ 10 h 137"/>
                <a:gd name="T62" fmla="*/ 52 w 103"/>
                <a:gd name="T63" fmla="*/ 13 h 137"/>
                <a:gd name="T64" fmla="*/ 52 w 103"/>
                <a:gd name="T65" fmla="*/ 129 h 137"/>
                <a:gd name="T66" fmla="*/ 52 w 103"/>
                <a:gd name="T67" fmla="*/ 129 h 137"/>
                <a:gd name="T68" fmla="*/ 52 w 103"/>
                <a:gd name="T69" fmla="*/ 129 h 137"/>
                <a:gd name="T70" fmla="*/ 51 w 103"/>
                <a:gd name="T71" fmla="*/ 129 h 137"/>
                <a:gd name="T72" fmla="*/ 51 w 103"/>
                <a:gd name="T73" fmla="*/ 129 h 137"/>
                <a:gd name="T74" fmla="*/ 47 w 103"/>
                <a:gd name="T75" fmla="*/ 12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37">
                  <a:moveTo>
                    <a:pt x="47" y="129"/>
                  </a:moveTo>
                  <a:cubicBezTo>
                    <a:pt x="43" y="129"/>
                    <a:pt x="43" y="129"/>
                    <a:pt x="43" y="129"/>
                  </a:cubicBezTo>
                  <a:cubicBezTo>
                    <a:pt x="43" y="134"/>
                    <a:pt x="47" y="137"/>
                    <a:pt x="52" y="137"/>
                  </a:cubicBezTo>
                  <a:cubicBezTo>
                    <a:pt x="54" y="137"/>
                    <a:pt x="56" y="136"/>
                    <a:pt x="58" y="135"/>
                  </a:cubicBezTo>
                  <a:cubicBezTo>
                    <a:pt x="59" y="133"/>
                    <a:pt x="60" y="131"/>
                    <a:pt x="60" y="129"/>
                  </a:cubicBezTo>
                  <a:cubicBezTo>
                    <a:pt x="60" y="17"/>
                    <a:pt x="60" y="17"/>
                    <a:pt x="60" y="17"/>
                  </a:cubicBezTo>
                  <a:cubicBezTo>
                    <a:pt x="95" y="17"/>
                    <a:pt x="95" y="17"/>
                    <a:pt x="95" y="17"/>
                  </a:cubicBezTo>
                  <a:cubicBezTo>
                    <a:pt x="100" y="17"/>
                    <a:pt x="103" y="13"/>
                    <a:pt x="103" y="8"/>
                  </a:cubicBezTo>
                  <a:cubicBezTo>
                    <a:pt x="103" y="4"/>
                    <a:pt x="100" y="0"/>
                    <a:pt x="95" y="0"/>
                  </a:cubicBezTo>
                  <a:cubicBezTo>
                    <a:pt x="8" y="0"/>
                    <a:pt x="8" y="0"/>
                    <a:pt x="8" y="0"/>
                  </a:cubicBezTo>
                  <a:cubicBezTo>
                    <a:pt x="3" y="0"/>
                    <a:pt x="0" y="4"/>
                    <a:pt x="0" y="8"/>
                  </a:cubicBezTo>
                  <a:cubicBezTo>
                    <a:pt x="0" y="13"/>
                    <a:pt x="3" y="17"/>
                    <a:pt x="8" y="17"/>
                  </a:cubicBezTo>
                  <a:cubicBezTo>
                    <a:pt x="43" y="17"/>
                    <a:pt x="43" y="17"/>
                    <a:pt x="43" y="17"/>
                  </a:cubicBezTo>
                  <a:cubicBezTo>
                    <a:pt x="43" y="129"/>
                    <a:pt x="43" y="129"/>
                    <a:pt x="43" y="129"/>
                  </a:cubicBezTo>
                  <a:cubicBezTo>
                    <a:pt x="47" y="129"/>
                    <a:pt x="47" y="129"/>
                    <a:pt x="47" y="129"/>
                  </a:cubicBezTo>
                  <a:cubicBezTo>
                    <a:pt x="51" y="129"/>
                    <a:pt x="51" y="129"/>
                    <a:pt x="51" y="129"/>
                  </a:cubicBezTo>
                  <a:cubicBezTo>
                    <a:pt x="51" y="13"/>
                    <a:pt x="51" y="13"/>
                    <a:pt x="51" y="13"/>
                  </a:cubicBezTo>
                  <a:cubicBezTo>
                    <a:pt x="51" y="12"/>
                    <a:pt x="51" y="11"/>
                    <a:pt x="50" y="10"/>
                  </a:cubicBezTo>
                  <a:cubicBezTo>
                    <a:pt x="49" y="9"/>
                    <a:pt x="48" y="9"/>
                    <a:pt x="47" y="9"/>
                  </a:cubicBezTo>
                  <a:cubicBezTo>
                    <a:pt x="8" y="9"/>
                    <a:pt x="8" y="9"/>
                    <a:pt x="8" y="9"/>
                  </a:cubicBezTo>
                  <a:cubicBezTo>
                    <a:pt x="8" y="9"/>
                    <a:pt x="8" y="9"/>
                    <a:pt x="8" y="9"/>
                  </a:cubicBezTo>
                  <a:cubicBezTo>
                    <a:pt x="8" y="8"/>
                    <a:pt x="8" y="8"/>
                    <a:pt x="8" y="8"/>
                  </a:cubicBezTo>
                  <a:cubicBezTo>
                    <a:pt x="8" y="8"/>
                    <a:pt x="8" y="8"/>
                    <a:pt x="8" y="8"/>
                  </a:cubicBezTo>
                  <a:cubicBezTo>
                    <a:pt x="8" y="8"/>
                    <a:pt x="8" y="8"/>
                    <a:pt x="8" y="8"/>
                  </a:cubicBezTo>
                  <a:cubicBezTo>
                    <a:pt x="95" y="8"/>
                    <a:pt x="95" y="8"/>
                    <a:pt x="95" y="8"/>
                  </a:cubicBezTo>
                  <a:cubicBezTo>
                    <a:pt x="95" y="8"/>
                    <a:pt x="95" y="8"/>
                    <a:pt x="95" y="8"/>
                  </a:cubicBezTo>
                  <a:cubicBezTo>
                    <a:pt x="95" y="8"/>
                    <a:pt x="95" y="8"/>
                    <a:pt x="95" y="8"/>
                  </a:cubicBezTo>
                  <a:cubicBezTo>
                    <a:pt x="95" y="9"/>
                    <a:pt x="95" y="9"/>
                    <a:pt x="95" y="9"/>
                  </a:cubicBezTo>
                  <a:cubicBezTo>
                    <a:pt x="95" y="9"/>
                    <a:pt x="95" y="9"/>
                    <a:pt x="95" y="9"/>
                  </a:cubicBezTo>
                  <a:cubicBezTo>
                    <a:pt x="56" y="9"/>
                    <a:pt x="56" y="9"/>
                    <a:pt x="56" y="9"/>
                  </a:cubicBezTo>
                  <a:cubicBezTo>
                    <a:pt x="55" y="9"/>
                    <a:pt x="54" y="9"/>
                    <a:pt x="53" y="10"/>
                  </a:cubicBezTo>
                  <a:cubicBezTo>
                    <a:pt x="52" y="11"/>
                    <a:pt x="52" y="12"/>
                    <a:pt x="52" y="13"/>
                  </a:cubicBezTo>
                  <a:cubicBezTo>
                    <a:pt x="52" y="129"/>
                    <a:pt x="52" y="129"/>
                    <a:pt x="52" y="129"/>
                  </a:cubicBezTo>
                  <a:cubicBezTo>
                    <a:pt x="52" y="129"/>
                    <a:pt x="52" y="129"/>
                    <a:pt x="52" y="129"/>
                  </a:cubicBezTo>
                  <a:cubicBezTo>
                    <a:pt x="52" y="129"/>
                    <a:pt x="52" y="129"/>
                    <a:pt x="52" y="129"/>
                  </a:cubicBezTo>
                  <a:cubicBezTo>
                    <a:pt x="51" y="129"/>
                    <a:pt x="51" y="129"/>
                    <a:pt x="51" y="129"/>
                  </a:cubicBezTo>
                  <a:cubicBezTo>
                    <a:pt x="51" y="129"/>
                    <a:pt x="51" y="129"/>
                    <a:pt x="51" y="129"/>
                  </a:cubicBezTo>
                  <a:cubicBezTo>
                    <a:pt x="47" y="129"/>
                    <a:pt x="47" y="129"/>
                    <a:pt x="47" y="1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0" name="Freeform 92">
              <a:extLst>
                <a:ext uri="{FF2B5EF4-FFF2-40B4-BE49-F238E27FC236}">
                  <a16:creationId xmlns:a16="http://schemas.microsoft.com/office/drawing/2014/main" id="{6B3AE352-5274-4E90-904F-184F5835BF0A}"/>
                </a:ext>
              </a:extLst>
            </p:cNvPr>
            <p:cNvSpPr>
              <a:spLocks noEditPoints="1"/>
            </p:cNvSpPr>
            <p:nvPr userDrawn="1"/>
          </p:nvSpPr>
          <p:spPr bwMode="auto">
            <a:xfrm flipH="1">
              <a:off x="9834534" y="2645029"/>
              <a:ext cx="163383" cy="207813"/>
            </a:xfrm>
            <a:custGeom>
              <a:avLst/>
              <a:gdLst>
                <a:gd name="T0" fmla="*/ 50 w 107"/>
                <a:gd name="T1" fmla="*/ 22 h 136"/>
                <a:gd name="T2" fmla="*/ 33 w 107"/>
                <a:gd name="T3" fmla="*/ 86 h 136"/>
                <a:gd name="T4" fmla="*/ 54 w 107"/>
                <a:gd name="T5" fmla="*/ 20 h 136"/>
                <a:gd name="T6" fmla="*/ 54 w 107"/>
                <a:gd name="T7" fmla="*/ 20 h 136"/>
                <a:gd name="T8" fmla="*/ 24 w 107"/>
                <a:gd name="T9" fmla="*/ 88 h 136"/>
                <a:gd name="T10" fmla="*/ 27 w 107"/>
                <a:gd name="T11" fmla="*/ 94 h 136"/>
                <a:gd name="T12" fmla="*/ 83 w 107"/>
                <a:gd name="T13" fmla="*/ 92 h 136"/>
                <a:gd name="T14" fmla="*/ 57 w 107"/>
                <a:gd name="T15" fmla="*/ 19 h 136"/>
                <a:gd name="T16" fmla="*/ 50 w 107"/>
                <a:gd name="T17" fmla="*/ 19 h 136"/>
                <a:gd name="T18" fmla="*/ 94 w 107"/>
                <a:gd name="T19" fmla="*/ 129 h 136"/>
                <a:gd name="T20" fmla="*/ 94 w 107"/>
                <a:gd name="T21" fmla="*/ 135 h 136"/>
                <a:gd name="T22" fmla="*/ 100 w 107"/>
                <a:gd name="T23" fmla="*/ 136 h 136"/>
                <a:gd name="T24" fmla="*/ 102 w 107"/>
                <a:gd name="T25" fmla="*/ 136 h 136"/>
                <a:gd name="T26" fmla="*/ 106 w 107"/>
                <a:gd name="T27" fmla="*/ 125 h 136"/>
                <a:gd name="T28" fmla="*/ 107 w 107"/>
                <a:gd name="T29" fmla="*/ 125 h 136"/>
                <a:gd name="T30" fmla="*/ 58 w 107"/>
                <a:gd name="T31" fmla="*/ 6 h 136"/>
                <a:gd name="T32" fmla="*/ 58 w 107"/>
                <a:gd name="T33" fmla="*/ 1 h 136"/>
                <a:gd name="T34" fmla="*/ 49 w 107"/>
                <a:gd name="T35" fmla="*/ 1 h 136"/>
                <a:gd name="T36" fmla="*/ 45 w 107"/>
                <a:gd name="T37" fmla="*/ 5 h 136"/>
                <a:gd name="T38" fmla="*/ 4 w 107"/>
                <a:gd name="T39" fmla="*/ 126 h 136"/>
                <a:gd name="T40" fmla="*/ 0 w 107"/>
                <a:gd name="T41" fmla="*/ 128 h 136"/>
                <a:gd name="T42" fmla="*/ 5 w 107"/>
                <a:gd name="T43" fmla="*/ 136 h 136"/>
                <a:gd name="T44" fmla="*/ 7 w 107"/>
                <a:gd name="T45" fmla="*/ 136 h 136"/>
                <a:gd name="T46" fmla="*/ 7 w 107"/>
                <a:gd name="T47" fmla="*/ 136 h 136"/>
                <a:gd name="T48" fmla="*/ 7 w 107"/>
                <a:gd name="T49" fmla="*/ 136 h 136"/>
                <a:gd name="T50" fmla="*/ 16 w 107"/>
                <a:gd name="T51" fmla="*/ 131 h 136"/>
                <a:gd name="T52" fmla="*/ 27 w 107"/>
                <a:gd name="T53" fmla="*/ 103 h 136"/>
                <a:gd name="T54" fmla="*/ 91 w 107"/>
                <a:gd name="T55" fmla="*/ 131 h 136"/>
                <a:gd name="T56" fmla="*/ 94 w 107"/>
                <a:gd name="T57" fmla="*/ 129 h 136"/>
                <a:gd name="T58" fmla="*/ 87 w 107"/>
                <a:gd name="T59" fmla="*/ 98 h 136"/>
                <a:gd name="T60" fmla="*/ 24 w 107"/>
                <a:gd name="T61" fmla="*/ 95 h 136"/>
                <a:gd name="T62" fmla="*/ 9 w 107"/>
                <a:gd name="T63" fmla="*/ 128 h 136"/>
                <a:gd name="T64" fmla="*/ 9 w 107"/>
                <a:gd name="T65" fmla="*/ 128 h 136"/>
                <a:gd name="T66" fmla="*/ 8 w 107"/>
                <a:gd name="T67" fmla="*/ 131 h 136"/>
                <a:gd name="T68" fmla="*/ 8 w 107"/>
                <a:gd name="T69" fmla="*/ 128 h 136"/>
                <a:gd name="T70" fmla="*/ 9 w 107"/>
                <a:gd name="T71" fmla="*/ 128 h 136"/>
                <a:gd name="T72" fmla="*/ 7 w 107"/>
                <a:gd name="T73" fmla="*/ 132 h 136"/>
                <a:gd name="T74" fmla="*/ 8 w 107"/>
                <a:gd name="T75" fmla="*/ 128 h 136"/>
                <a:gd name="T76" fmla="*/ 8 w 107"/>
                <a:gd name="T77" fmla="*/ 128 h 136"/>
                <a:gd name="T78" fmla="*/ 8 w 107"/>
                <a:gd name="T79" fmla="*/ 128 h 136"/>
                <a:gd name="T80" fmla="*/ 8 w 107"/>
                <a:gd name="T81" fmla="*/ 128 h 136"/>
                <a:gd name="T82" fmla="*/ 49 w 107"/>
                <a:gd name="T83" fmla="*/ 6 h 136"/>
                <a:gd name="T84" fmla="*/ 53 w 107"/>
                <a:gd name="T85" fmla="*/ 8 h 136"/>
                <a:gd name="T86" fmla="*/ 54 w 107"/>
                <a:gd name="T87" fmla="*/ 8 h 136"/>
                <a:gd name="T88" fmla="*/ 55 w 107"/>
                <a:gd name="T89" fmla="*/ 7 h 136"/>
                <a:gd name="T90" fmla="*/ 54 w 107"/>
                <a:gd name="T91" fmla="*/ 8 h 136"/>
                <a:gd name="T92" fmla="*/ 54 w 107"/>
                <a:gd name="T93" fmla="*/ 8 h 136"/>
                <a:gd name="T94" fmla="*/ 99 w 107"/>
                <a:gd name="T95" fmla="*/ 128 h 136"/>
                <a:gd name="T96" fmla="*/ 99 w 107"/>
                <a:gd name="T97" fmla="*/ 128 h 136"/>
                <a:gd name="T98" fmla="*/ 99 w 107"/>
                <a:gd name="T99" fmla="*/ 128 h 136"/>
                <a:gd name="T100" fmla="*/ 100 w 107"/>
                <a:gd name="T101" fmla="*/ 128 h 136"/>
                <a:gd name="T102" fmla="*/ 99 w 107"/>
                <a:gd name="T103" fmla="*/ 128 h 136"/>
                <a:gd name="T104" fmla="*/ 99 w 107"/>
                <a:gd name="T105" fmla="*/ 128 h 136"/>
                <a:gd name="T106" fmla="*/ 99 w 107"/>
                <a:gd name="T107" fmla="*/ 129 h 136"/>
                <a:gd name="T108" fmla="*/ 99 w 107"/>
                <a:gd name="T109" fmla="*/ 128 h 136"/>
                <a:gd name="T110" fmla="*/ 99 w 107"/>
                <a:gd name="T111" fmla="*/ 128 h 136"/>
                <a:gd name="T112" fmla="*/ 98 w 107"/>
                <a:gd name="T113" fmla="*/ 128 h 136"/>
                <a:gd name="T114" fmla="*/ 98 w 107"/>
                <a:gd name="T115" fmla="*/ 1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7" h="136">
                  <a:moveTo>
                    <a:pt x="54" y="20"/>
                  </a:moveTo>
                  <a:cubicBezTo>
                    <a:pt x="50" y="22"/>
                    <a:pt x="50" y="22"/>
                    <a:pt x="50" y="22"/>
                  </a:cubicBezTo>
                  <a:cubicBezTo>
                    <a:pt x="74" y="86"/>
                    <a:pt x="74" y="86"/>
                    <a:pt x="74" y="86"/>
                  </a:cubicBezTo>
                  <a:cubicBezTo>
                    <a:pt x="33" y="86"/>
                    <a:pt x="33" y="86"/>
                    <a:pt x="33" y="86"/>
                  </a:cubicBezTo>
                  <a:cubicBezTo>
                    <a:pt x="57" y="22"/>
                    <a:pt x="57" y="22"/>
                    <a:pt x="57" y="22"/>
                  </a:cubicBezTo>
                  <a:cubicBezTo>
                    <a:pt x="54" y="20"/>
                    <a:pt x="54" y="20"/>
                    <a:pt x="54" y="20"/>
                  </a:cubicBezTo>
                  <a:cubicBezTo>
                    <a:pt x="50" y="22"/>
                    <a:pt x="50" y="22"/>
                    <a:pt x="50" y="22"/>
                  </a:cubicBezTo>
                  <a:cubicBezTo>
                    <a:pt x="54" y="20"/>
                    <a:pt x="54" y="20"/>
                    <a:pt x="54" y="20"/>
                  </a:cubicBezTo>
                  <a:cubicBezTo>
                    <a:pt x="50" y="19"/>
                    <a:pt x="50" y="19"/>
                    <a:pt x="50" y="19"/>
                  </a:cubicBezTo>
                  <a:cubicBezTo>
                    <a:pt x="24" y="88"/>
                    <a:pt x="24" y="88"/>
                    <a:pt x="24" y="88"/>
                  </a:cubicBezTo>
                  <a:cubicBezTo>
                    <a:pt x="23" y="90"/>
                    <a:pt x="23" y="91"/>
                    <a:pt x="24" y="92"/>
                  </a:cubicBezTo>
                  <a:cubicBezTo>
                    <a:pt x="25" y="93"/>
                    <a:pt x="26" y="94"/>
                    <a:pt x="27" y="94"/>
                  </a:cubicBezTo>
                  <a:cubicBezTo>
                    <a:pt x="80" y="94"/>
                    <a:pt x="80" y="94"/>
                    <a:pt x="80" y="94"/>
                  </a:cubicBezTo>
                  <a:cubicBezTo>
                    <a:pt x="81" y="94"/>
                    <a:pt x="82" y="93"/>
                    <a:pt x="83" y="92"/>
                  </a:cubicBezTo>
                  <a:cubicBezTo>
                    <a:pt x="84" y="91"/>
                    <a:pt x="84" y="90"/>
                    <a:pt x="83" y="88"/>
                  </a:cubicBezTo>
                  <a:cubicBezTo>
                    <a:pt x="57" y="19"/>
                    <a:pt x="57" y="19"/>
                    <a:pt x="57" y="19"/>
                  </a:cubicBezTo>
                  <a:cubicBezTo>
                    <a:pt x="57" y="17"/>
                    <a:pt x="55" y="16"/>
                    <a:pt x="54" y="16"/>
                  </a:cubicBezTo>
                  <a:cubicBezTo>
                    <a:pt x="52" y="16"/>
                    <a:pt x="50" y="17"/>
                    <a:pt x="50" y="19"/>
                  </a:cubicBezTo>
                  <a:cubicBezTo>
                    <a:pt x="54" y="20"/>
                    <a:pt x="54" y="20"/>
                    <a:pt x="54" y="20"/>
                  </a:cubicBezTo>
                  <a:moveTo>
                    <a:pt x="94" y="129"/>
                  </a:moveTo>
                  <a:cubicBezTo>
                    <a:pt x="91" y="131"/>
                    <a:pt x="91" y="131"/>
                    <a:pt x="91" y="131"/>
                  </a:cubicBezTo>
                  <a:cubicBezTo>
                    <a:pt x="91" y="133"/>
                    <a:pt x="93" y="134"/>
                    <a:pt x="94" y="135"/>
                  </a:cubicBezTo>
                  <a:cubicBezTo>
                    <a:pt x="95" y="136"/>
                    <a:pt x="97" y="136"/>
                    <a:pt x="99" y="136"/>
                  </a:cubicBezTo>
                  <a:cubicBezTo>
                    <a:pt x="99" y="136"/>
                    <a:pt x="100" y="136"/>
                    <a:pt x="100" y="136"/>
                  </a:cubicBezTo>
                  <a:cubicBezTo>
                    <a:pt x="100" y="136"/>
                    <a:pt x="100" y="136"/>
                    <a:pt x="100" y="136"/>
                  </a:cubicBezTo>
                  <a:cubicBezTo>
                    <a:pt x="101" y="136"/>
                    <a:pt x="101" y="136"/>
                    <a:pt x="102" y="136"/>
                  </a:cubicBezTo>
                  <a:cubicBezTo>
                    <a:pt x="105" y="134"/>
                    <a:pt x="107" y="131"/>
                    <a:pt x="107" y="128"/>
                  </a:cubicBezTo>
                  <a:cubicBezTo>
                    <a:pt x="107" y="127"/>
                    <a:pt x="107" y="126"/>
                    <a:pt x="106" y="125"/>
                  </a:cubicBezTo>
                  <a:cubicBezTo>
                    <a:pt x="103" y="126"/>
                    <a:pt x="103" y="126"/>
                    <a:pt x="103" y="126"/>
                  </a:cubicBezTo>
                  <a:cubicBezTo>
                    <a:pt x="107" y="125"/>
                    <a:pt x="107" y="125"/>
                    <a:pt x="107" y="125"/>
                  </a:cubicBezTo>
                  <a:cubicBezTo>
                    <a:pt x="62" y="5"/>
                    <a:pt x="62" y="5"/>
                    <a:pt x="62" y="5"/>
                  </a:cubicBezTo>
                  <a:cubicBezTo>
                    <a:pt x="58" y="6"/>
                    <a:pt x="58" y="6"/>
                    <a:pt x="58" y="6"/>
                  </a:cubicBezTo>
                  <a:cubicBezTo>
                    <a:pt x="62" y="5"/>
                    <a:pt x="62" y="5"/>
                    <a:pt x="62" y="5"/>
                  </a:cubicBezTo>
                  <a:cubicBezTo>
                    <a:pt x="61" y="3"/>
                    <a:pt x="60" y="2"/>
                    <a:pt x="58" y="1"/>
                  </a:cubicBezTo>
                  <a:cubicBezTo>
                    <a:pt x="57" y="0"/>
                    <a:pt x="55" y="0"/>
                    <a:pt x="53" y="0"/>
                  </a:cubicBezTo>
                  <a:cubicBezTo>
                    <a:pt x="52" y="0"/>
                    <a:pt x="50" y="0"/>
                    <a:pt x="49" y="1"/>
                  </a:cubicBezTo>
                  <a:cubicBezTo>
                    <a:pt x="47" y="2"/>
                    <a:pt x="46" y="3"/>
                    <a:pt x="45" y="5"/>
                  </a:cubicBezTo>
                  <a:cubicBezTo>
                    <a:pt x="45" y="5"/>
                    <a:pt x="45" y="5"/>
                    <a:pt x="45" y="5"/>
                  </a:cubicBezTo>
                  <a:cubicBezTo>
                    <a:pt x="0" y="125"/>
                    <a:pt x="0" y="125"/>
                    <a:pt x="0" y="125"/>
                  </a:cubicBezTo>
                  <a:cubicBezTo>
                    <a:pt x="4" y="126"/>
                    <a:pt x="4" y="126"/>
                    <a:pt x="4" y="126"/>
                  </a:cubicBezTo>
                  <a:cubicBezTo>
                    <a:pt x="0" y="125"/>
                    <a:pt x="0" y="125"/>
                    <a:pt x="0" y="125"/>
                  </a:cubicBezTo>
                  <a:cubicBezTo>
                    <a:pt x="0" y="126"/>
                    <a:pt x="0" y="127"/>
                    <a:pt x="0" y="128"/>
                  </a:cubicBezTo>
                  <a:cubicBezTo>
                    <a:pt x="0" y="130"/>
                    <a:pt x="0" y="131"/>
                    <a:pt x="1" y="133"/>
                  </a:cubicBezTo>
                  <a:cubicBezTo>
                    <a:pt x="2" y="134"/>
                    <a:pt x="3" y="135"/>
                    <a:pt x="5" y="136"/>
                  </a:cubicBezTo>
                  <a:cubicBezTo>
                    <a:pt x="6" y="136"/>
                    <a:pt x="6" y="136"/>
                    <a:pt x="7" y="136"/>
                  </a:cubicBezTo>
                  <a:cubicBezTo>
                    <a:pt x="7" y="136"/>
                    <a:pt x="7" y="136"/>
                    <a:pt x="7" y="136"/>
                  </a:cubicBezTo>
                  <a:cubicBezTo>
                    <a:pt x="7" y="136"/>
                    <a:pt x="7" y="136"/>
                    <a:pt x="7" y="136"/>
                  </a:cubicBezTo>
                  <a:cubicBezTo>
                    <a:pt x="7" y="136"/>
                    <a:pt x="7" y="136"/>
                    <a:pt x="7" y="136"/>
                  </a:cubicBezTo>
                  <a:cubicBezTo>
                    <a:pt x="7" y="136"/>
                    <a:pt x="7" y="136"/>
                    <a:pt x="7" y="136"/>
                  </a:cubicBezTo>
                  <a:cubicBezTo>
                    <a:pt x="7" y="136"/>
                    <a:pt x="7" y="136"/>
                    <a:pt x="7" y="136"/>
                  </a:cubicBezTo>
                  <a:cubicBezTo>
                    <a:pt x="7" y="136"/>
                    <a:pt x="8" y="136"/>
                    <a:pt x="8" y="136"/>
                  </a:cubicBezTo>
                  <a:cubicBezTo>
                    <a:pt x="12" y="136"/>
                    <a:pt x="15" y="134"/>
                    <a:pt x="16" y="131"/>
                  </a:cubicBezTo>
                  <a:cubicBezTo>
                    <a:pt x="16" y="131"/>
                    <a:pt x="16" y="131"/>
                    <a:pt x="16" y="131"/>
                  </a:cubicBezTo>
                  <a:cubicBezTo>
                    <a:pt x="27" y="103"/>
                    <a:pt x="27" y="103"/>
                    <a:pt x="27" y="103"/>
                  </a:cubicBezTo>
                  <a:cubicBezTo>
                    <a:pt x="80" y="103"/>
                    <a:pt x="80" y="103"/>
                    <a:pt x="80" y="103"/>
                  </a:cubicBezTo>
                  <a:cubicBezTo>
                    <a:pt x="91" y="131"/>
                    <a:pt x="91" y="131"/>
                    <a:pt x="91" y="131"/>
                  </a:cubicBezTo>
                  <a:cubicBezTo>
                    <a:pt x="91" y="131"/>
                    <a:pt x="91" y="131"/>
                    <a:pt x="91" y="131"/>
                  </a:cubicBezTo>
                  <a:cubicBezTo>
                    <a:pt x="94" y="129"/>
                    <a:pt x="94" y="129"/>
                    <a:pt x="94" y="129"/>
                  </a:cubicBezTo>
                  <a:cubicBezTo>
                    <a:pt x="98" y="128"/>
                    <a:pt x="98" y="128"/>
                    <a:pt x="98" y="128"/>
                  </a:cubicBezTo>
                  <a:cubicBezTo>
                    <a:pt x="87" y="98"/>
                    <a:pt x="87" y="98"/>
                    <a:pt x="87" y="98"/>
                  </a:cubicBezTo>
                  <a:cubicBezTo>
                    <a:pt x="86" y="96"/>
                    <a:pt x="85" y="95"/>
                    <a:pt x="83" y="95"/>
                  </a:cubicBezTo>
                  <a:cubicBezTo>
                    <a:pt x="24" y="95"/>
                    <a:pt x="24" y="95"/>
                    <a:pt x="24" y="95"/>
                  </a:cubicBezTo>
                  <a:cubicBezTo>
                    <a:pt x="22" y="95"/>
                    <a:pt x="21" y="96"/>
                    <a:pt x="20" y="98"/>
                  </a:cubicBezTo>
                  <a:cubicBezTo>
                    <a:pt x="9" y="128"/>
                    <a:pt x="9" y="128"/>
                    <a:pt x="9" y="128"/>
                  </a:cubicBezTo>
                  <a:cubicBezTo>
                    <a:pt x="13" y="129"/>
                    <a:pt x="13" y="129"/>
                    <a:pt x="13" y="129"/>
                  </a:cubicBezTo>
                  <a:cubicBezTo>
                    <a:pt x="9" y="128"/>
                    <a:pt x="9" y="128"/>
                    <a:pt x="9" y="128"/>
                  </a:cubicBezTo>
                  <a:cubicBezTo>
                    <a:pt x="9" y="128"/>
                    <a:pt x="9" y="128"/>
                    <a:pt x="8" y="128"/>
                  </a:cubicBezTo>
                  <a:cubicBezTo>
                    <a:pt x="8" y="131"/>
                    <a:pt x="8" y="131"/>
                    <a:pt x="8" y="131"/>
                  </a:cubicBezTo>
                  <a:cubicBezTo>
                    <a:pt x="9" y="128"/>
                    <a:pt x="9" y="128"/>
                    <a:pt x="9" y="128"/>
                  </a:cubicBezTo>
                  <a:cubicBezTo>
                    <a:pt x="8" y="128"/>
                    <a:pt x="8" y="128"/>
                    <a:pt x="8" y="128"/>
                  </a:cubicBezTo>
                  <a:cubicBezTo>
                    <a:pt x="8" y="131"/>
                    <a:pt x="8" y="131"/>
                    <a:pt x="8" y="131"/>
                  </a:cubicBezTo>
                  <a:cubicBezTo>
                    <a:pt x="9" y="128"/>
                    <a:pt x="9" y="128"/>
                    <a:pt x="9" y="128"/>
                  </a:cubicBezTo>
                  <a:cubicBezTo>
                    <a:pt x="8" y="128"/>
                    <a:pt x="8" y="128"/>
                    <a:pt x="7" y="128"/>
                  </a:cubicBezTo>
                  <a:cubicBezTo>
                    <a:pt x="7" y="132"/>
                    <a:pt x="7" y="132"/>
                    <a:pt x="7" y="132"/>
                  </a:cubicBezTo>
                  <a:cubicBezTo>
                    <a:pt x="8" y="128"/>
                    <a:pt x="8" y="128"/>
                    <a:pt x="8" y="128"/>
                  </a:cubicBezTo>
                  <a:cubicBezTo>
                    <a:pt x="8" y="128"/>
                    <a:pt x="8" y="128"/>
                    <a:pt x="8" y="128"/>
                  </a:cubicBezTo>
                  <a:cubicBezTo>
                    <a:pt x="8" y="128"/>
                    <a:pt x="8" y="128"/>
                    <a:pt x="8" y="128"/>
                  </a:cubicBezTo>
                  <a:cubicBezTo>
                    <a:pt x="8" y="128"/>
                    <a:pt x="8" y="128"/>
                    <a:pt x="8" y="128"/>
                  </a:cubicBezTo>
                  <a:cubicBezTo>
                    <a:pt x="8" y="128"/>
                    <a:pt x="8" y="128"/>
                    <a:pt x="8" y="128"/>
                  </a:cubicBezTo>
                  <a:cubicBezTo>
                    <a:pt x="8" y="128"/>
                    <a:pt x="8" y="128"/>
                    <a:pt x="8" y="128"/>
                  </a:cubicBezTo>
                  <a:cubicBezTo>
                    <a:pt x="8" y="128"/>
                    <a:pt x="8" y="128"/>
                    <a:pt x="8" y="128"/>
                  </a:cubicBezTo>
                  <a:cubicBezTo>
                    <a:pt x="8" y="128"/>
                    <a:pt x="8" y="128"/>
                    <a:pt x="8" y="128"/>
                  </a:cubicBezTo>
                  <a:cubicBezTo>
                    <a:pt x="53" y="8"/>
                    <a:pt x="53" y="8"/>
                    <a:pt x="53" y="8"/>
                  </a:cubicBezTo>
                  <a:cubicBezTo>
                    <a:pt x="49" y="6"/>
                    <a:pt x="49" y="6"/>
                    <a:pt x="49" y="6"/>
                  </a:cubicBezTo>
                  <a:cubicBezTo>
                    <a:pt x="53" y="8"/>
                    <a:pt x="53" y="8"/>
                    <a:pt x="53" y="8"/>
                  </a:cubicBezTo>
                  <a:cubicBezTo>
                    <a:pt x="53" y="8"/>
                    <a:pt x="53" y="8"/>
                    <a:pt x="53" y="8"/>
                  </a:cubicBezTo>
                  <a:cubicBezTo>
                    <a:pt x="53" y="8"/>
                    <a:pt x="53" y="8"/>
                    <a:pt x="53" y="8"/>
                  </a:cubicBezTo>
                  <a:cubicBezTo>
                    <a:pt x="54" y="8"/>
                    <a:pt x="54" y="8"/>
                    <a:pt x="54" y="8"/>
                  </a:cubicBezTo>
                  <a:cubicBezTo>
                    <a:pt x="54" y="8"/>
                    <a:pt x="54" y="8"/>
                    <a:pt x="54" y="8"/>
                  </a:cubicBezTo>
                  <a:cubicBezTo>
                    <a:pt x="55" y="7"/>
                    <a:pt x="55" y="7"/>
                    <a:pt x="55" y="7"/>
                  </a:cubicBezTo>
                  <a:cubicBezTo>
                    <a:pt x="54" y="8"/>
                    <a:pt x="54" y="8"/>
                    <a:pt x="54" y="8"/>
                  </a:cubicBezTo>
                  <a:cubicBezTo>
                    <a:pt x="54" y="8"/>
                    <a:pt x="54" y="8"/>
                    <a:pt x="54" y="8"/>
                  </a:cubicBezTo>
                  <a:cubicBezTo>
                    <a:pt x="55" y="7"/>
                    <a:pt x="55" y="7"/>
                    <a:pt x="55" y="7"/>
                  </a:cubicBezTo>
                  <a:cubicBezTo>
                    <a:pt x="54" y="8"/>
                    <a:pt x="54" y="8"/>
                    <a:pt x="54" y="8"/>
                  </a:cubicBezTo>
                  <a:cubicBezTo>
                    <a:pt x="54" y="8"/>
                    <a:pt x="54" y="8"/>
                    <a:pt x="54" y="8"/>
                  </a:cubicBezTo>
                  <a:cubicBezTo>
                    <a:pt x="99" y="128"/>
                    <a:pt x="99" y="128"/>
                    <a:pt x="99" y="128"/>
                  </a:cubicBezTo>
                  <a:cubicBezTo>
                    <a:pt x="99" y="128"/>
                    <a:pt x="99" y="128"/>
                    <a:pt x="99" y="128"/>
                  </a:cubicBezTo>
                  <a:cubicBezTo>
                    <a:pt x="99" y="128"/>
                    <a:pt x="99" y="128"/>
                    <a:pt x="99" y="128"/>
                  </a:cubicBezTo>
                  <a:cubicBezTo>
                    <a:pt x="99" y="128"/>
                    <a:pt x="99" y="128"/>
                    <a:pt x="99" y="128"/>
                  </a:cubicBezTo>
                  <a:cubicBezTo>
                    <a:pt x="99" y="128"/>
                    <a:pt x="99" y="128"/>
                    <a:pt x="99" y="128"/>
                  </a:cubicBezTo>
                  <a:cubicBezTo>
                    <a:pt x="100" y="132"/>
                    <a:pt x="100" y="132"/>
                    <a:pt x="100" y="132"/>
                  </a:cubicBezTo>
                  <a:cubicBezTo>
                    <a:pt x="100" y="128"/>
                    <a:pt x="100" y="128"/>
                    <a:pt x="100" y="128"/>
                  </a:cubicBezTo>
                  <a:cubicBezTo>
                    <a:pt x="100" y="128"/>
                    <a:pt x="99" y="128"/>
                    <a:pt x="99" y="128"/>
                  </a:cubicBezTo>
                  <a:cubicBezTo>
                    <a:pt x="99" y="128"/>
                    <a:pt x="99" y="128"/>
                    <a:pt x="99" y="128"/>
                  </a:cubicBezTo>
                  <a:cubicBezTo>
                    <a:pt x="99" y="129"/>
                    <a:pt x="99" y="129"/>
                    <a:pt x="99" y="129"/>
                  </a:cubicBezTo>
                  <a:cubicBezTo>
                    <a:pt x="99" y="128"/>
                    <a:pt x="99" y="128"/>
                    <a:pt x="99" y="128"/>
                  </a:cubicBezTo>
                  <a:cubicBezTo>
                    <a:pt x="99" y="128"/>
                    <a:pt x="99" y="128"/>
                    <a:pt x="99" y="128"/>
                  </a:cubicBezTo>
                  <a:cubicBezTo>
                    <a:pt x="99" y="129"/>
                    <a:pt x="99" y="129"/>
                    <a:pt x="99" y="129"/>
                  </a:cubicBezTo>
                  <a:cubicBezTo>
                    <a:pt x="99" y="128"/>
                    <a:pt x="99" y="128"/>
                    <a:pt x="99" y="128"/>
                  </a:cubicBezTo>
                  <a:cubicBezTo>
                    <a:pt x="99" y="128"/>
                    <a:pt x="99" y="128"/>
                    <a:pt x="99" y="128"/>
                  </a:cubicBezTo>
                  <a:cubicBezTo>
                    <a:pt x="99" y="128"/>
                    <a:pt x="99" y="128"/>
                    <a:pt x="99" y="128"/>
                  </a:cubicBezTo>
                  <a:cubicBezTo>
                    <a:pt x="99" y="128"/>
                    <a:pt x="99" y="128"/>
                    <a:pt x="99" y="128"/>
                  </a:cubicBezTo>
                  <a:cubicBezTo>
                    <a:pt x="99" y="128"/>
                    <a:pt x="99" y="128"/>
                    <a:pt x="99" y="128"/>
                  </a:cubicBezTo>
                  <a:cubicBezTo>
                    <a:pt x="98" y="128"/>
                    <a:pt x="98" y="128"/>
                    <a:pt x="98" y="128"/>
                  </a:cubicBezTo>
                  <a:cubicBezTo>
                    <a:pt x="94" y="129"/>
                    <a:pt x="94" y="129"/>
                    <a:pt x="94" y="129"/>
                  </a:cubicBezTo>
                  <a:cubicBezTo>
                    <a:pt x="98" y="128"/>
                    <a:pt x="98" y="128"/>
                    <a:pt x="98" y="128"/>
                  </a:cubicBezTo>
                  <a:cubicBezTo>
                    <a:pt x="94" y="129"/>
                    <a:pt x="94" y="129"/>
                    <a:pt x="94" y="1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1" name="Freeform 93">
              <a:extLst>
                <a:ext uri="{FF2B5EF4-FFF2-40B4-BE49-F238E27FC236}">
                  <a16:creationId xmlns:a16="http://schemas.microsoft.com/office/drawing/2014/main" id="{32221B5E-5440-41CE-9136-18900A7C85C6}"/>
                </a:ext>
              </a:extLst>
            </p:cNvPr>
            <p:cNvSpPr>
              <a:spLocks/>
            </p:cNvSpPr>
            <p:nvPr userDrawn="1"/>
          </p:nvSpPr>
          <p:spPr bwMode="auto">
            <a:xfrm flipH="1">
              <a:off x="9646786" y="2640730"/>
              <a:ext cx="182015" cy="212112"/>
            </a:xfrm>
            <a:custGeom>
              <a:avLst/>
              <a:gdLst>
                <a:gd name="T0" fmla="*/ 0 w 119"/>
                <a:gd name="T1" fmla="*/ 70 h 139"/>
                <a:gd name="T2" fmla="*/ 71 w 119"/>
                <a:gd name="T3" fmla="*/ 139 h 139"/>
                <a:gd name="T4" fmla="*/ 113 w 119"/>
                <a:gd name="T5" fmla="*/ 121 h 139"/>
                <a:gd name="T6" fmla="*/ 119 w 119"/>
                <a:gd name="T7" fmla="*/ 118 h 139"/>
                <a:gd name="T8" fmla="*/ 113 w 119"/>
                <a:gd name="T9" fmla="*/ 115 h 139"/>
                <a:gd name="T10" fmla="*/ 114 w 119"/>
                <a:gd name="T11" fmla="*/ 110 h 139"/>
                <a:gd name="T12" fmla="*/ 105 w 119"/>
                <a:gd name="T13" fmla="*/ 110 h 139"/>
                <a:gd name="T14" fmla="*/ 71 w 119"/>
                <a:gd name="T15" fmla="*/ 122 h 139"/>
                <a:gd name="T16" fmla="*/ 17 w 119"/>
                <a:gd name="T17" fmla="*/ 70 h 139"/>
                <a:gd name="T18" fmla="*/ 105 w 119"/>
                <a:gd name="T19" fmla="*/ 29 h 139"/>
                <a:gd name="T20" fmla="*/ 105 w 119"/>
                <a:gd name="T21" fmla="*/ 29 h 139"/>
                <a:gd name="T22" fmla="*/ 117 w 119"/>
                <a:gd name="T23" fmla="*/ 27 h 139"/>
                <a:gd name="T24" fmla="*/ 116 w 119"/>
                <a:gd name="T25" fmla="*/ 28 h 139"/>
                <a:gd name="T26" fmla="*/ 115 w 119"/>
                <a:gd name="T27" fmla="*/ 15 h 139"/>
                <a:gd name="T28" fmla="*/ 71 w 119"/>
                <a:gd name="T29" fmla="*/ 0 h 139"/>
                <a:gd name="T30" fmla="*/ 21 w 119"/>
                <a:gd name="T31" fmla="*/ 21 h 139"/>
                <a:gd name="T32" fmla="*/ 4 w 119"/>
                <a:gd name="T33" fmla="*/ 70 h 139"/>
                <a:gd name="T34" fmla="*/ 26 w 119"/>
                <a:gd name="T35" fmla="*/ 26 h 139"/>
                <a:gd name="T36" fmla="*/ 71 w 119"/>
                <a:gd name="T37" fmla="*/ 8 h 139"/>
                <a:gd name="T38" fmla="*/ 113 w 119"/>
                <a:gd name="T39" fmla="*/ 18 h 139"/>
                <a:gd name="T40" fmla="*/ 111 w 119"/>
                <a:gd name="T41" fmla="*/ 22 h 139"/>
                <a:gd name="T42" fmla="*/ 111 w 119"/>
                <a:gd name="T43" fmla="*/ 22 h 139"/>
                <a:gd name="T44" fmla="*/ 111 w 119"/>
                <a:gd name="T45" fmla="*/ 22 h 139"/>
                <a:gd name="T46" fmla="*/ 111 w 119"/>
                <a:gd name="T47" fmla="*/ 22 h 139"/>
                <a:gd name="T48" fmla="*/ 111 w 119"/>
                <a:gd name="T49" fmla="*/ 22 h 139"/>
                <a:gd name="T50" fmla="*/ 111 w 119"/>
                <a:gd name="T51" fmla="*/ 22 h 139"/>
                <a:gd name="T52" fmla="*/ 110 w 119"/>
                <a:gd name="T53" fmla="*/ 23 h 139"/>
                <a:gd name="T54" fmla="*/ 110 w 119"/>
                <a:gd name="T55" fmla="*/ 23 h 139"/>
                <a:gd name="T56" fmla="*/ 71 w 119"/>
                <a:gd name="T57" fmla="*/ 9 h 139"/>
                <a:gd name="T58" fmla="*/ 9 w 119"/>
                <a:gd name="T59" fmla="*/ 70 h 139"/>
                <a:gd name="T60" fmla="*/ 71 w 119"/>
                <a:gd name="T61" fmla="*/ 130 h 139"/>
                <a:gd name="T62" fmla="*/ 107 w 119"/>
                <a:gd name="T63" fmla="*/ 114 h 139"/>
                <a:gd name="T64" fmla="*/ 110 w 119"/>
                <a:gd name="T65" fmla="*/ 117 h 139"/>
                <a:gd name="T66" fmla="*/ 110 w 119"/>
                <a:gd name="T67" fmla="*/ 117 h 139"/>
                <a:gd name="T68" fmla="*/ 110 w 119"/>
                <a:gd name="T69" fmla="*/ 117 h 139"/>
                <a:gd name="T70" fmla="*/ 110 w 119"/>
                <a:gd name="T71" fmla="*/ 117 h 139"/>
                <a:gd name="T72" fmla="*/ 110 w 119"/>
                <a:gd name="T73" fmla="*/ 117 h 139"/>
                <a:gd name="T74" fmla="*/ 110 w 119"/>
                <a:gd name="T75" fmla="*/ 117 h 139"/>
                <a:gd name="T76" fmla="*/ 111 w 119"/>
                <a:gd name="T77" fmla="*/ 117 h 139"/>
                <a:gd name="T78" fmla="*/ 111 w 119"/>
                <a:gd name="T79" fmla="*/ 118 h 139"/>
                <a:gd name="T80" fmla="*/ 111 w 119"/>
                <a:gd name="T81" fmla="*/ 118 h 139"/>
                <a:gd name="T82" fmla="*/ 111 w 119"/>
                <a:gd name="T83" fmla="*/ 118 h 139"/>
                <a:gd name="T84" fmla="*/ 110 w 119"/>
                <a:gd name="T85" fmla="*/ 118 h 139"/>
                <a:gd name="T86" fmla="*/ 110 w 119"/>
                <a:gd name="T87" fmla="*/ 118 h 139"/>
                <a:gd name="T88" fmla="*/ 111 w 119"/>
                <a:gd name="T89" fmla="*/ 118 h 139"/>
                <a:gd name="T90" fmla="*/ 110 w 119"/>
                <a:gd name="T91" fmla="*/ 118 h 139"/>
                <a:gd name="T92" fmla="*/ 26 w 119"/>
                <a:gd name="T93" fmla="*/ 113 h 139"/>
                <a:gd name="T94" fmla="*/ 4 w 119"/>
                <a:gd name="T9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 h="139">
                  <a:moveTo>
                    <a:pt x="4" y="70"/>
                  </a:moveTo>
                  <a:cubicBezTo>
                    <a:pt x="0" y="70"/>
                    <a:pt x="0" y="70"/>
                    <a:pt x="0" y="70"/>
                  </a:cubicBezTo>
                  <a:cubicBezTo>
                    <a:pt x="0" y="89"/>
                    <a:pt x="8" y="107"/>
                    <a:pt x="21" y="119"/>
                  </a:cubicBezTo>
                  <a:cubicBezTo>
                    <a:pt x="34" y="132"/>
                    <a:pt x="51" y="139"/>
                    <a:pt x="71" y="139"/>
                  </a:cubicBezTo>
                  <a:cubicBezTo>
                    <a:pt x="88" y="139"/>
                    <a:pt x="103" y="134"/>
                    <a:pt x="115" y="124"/>
                  </a:cubicBezTo>
                  <a:cubicBezTo>
                    <a:pt x="113" y="121"/>
                    <a:pt x="113" y="121"/>
                    <a:pt x="113" y="121"/>
                  </a:cubicBezTo>
                  <a:cubicBezTo>
                    <a:pt x="115" y="125"/>
                    <a:pt x="115" y="125"/>
                    <a:pt x="115" y="125"/>
                  </a:cubicBezTo>
                  <a:cubicBezTo>
                    <a:pt x="118" y="123"/>
                    <a:pt x="119" y="120"/>
                    <a:pt x="119" y="118"/>
                  </a:cubicBezTo>
                  <a:cubicBezTo>
                    <a:pt x="119" y="116"/>
                    <a:pt x="118" y="114"/>
                    <a:pt x="116" y="112"/>
                  </a:cubicBezTo>
                  <a:cubicBezTo>
                    <a:pt x="113" y="115"/>
                    <a:pt x="113" y="115"/>
                    <a:pt x="113" y="115"/>
                  </a:cubicBezTo>
                  <a:cubicBezTo>
                    <a:pt x="117" y="113"/>
                    <a:pt x="117" y="113"/>
                    <a:pt x="117" y="113"/>
                  </a:cubicBezTo>
                  <a:cubicBezTo>
                    <a:pt x="116" y="112"/>
                    <a:pt x="115" y="110"/>
                    <a:pt x="114" y="110"/>
                  </a:cubicBezTo>
                  <a:cubicBezTo>
                    <a:pt x="112" y="109"/>
                    <a:pt x="111" y="109"/>
                    <a:pt x="110" y="109"/>
                  </a:cubicBezTo>
                  <a:cubicBezTo>
                    <a:pt x="108" y="109"/>
                    <a:pt x="106" y="109"/>
                    <a:pt x="105" y="110"/>
                  </a:cubicBezTo>
                  <a:cubicBezTo>
                    <a:pt x="104" y="111"/>
                    <a:pt x="104" y="111"/>
                    <a:pt x="104" y="111"/>
                  </a:cubicBezTo>
                  <a:cubicBezTo>
                    <a:pt x="95" y="118"/>
                    <a:pt x="84" y="122"/>
                    <a:pt x="71" y="122"/>
                  </a:cubicBezTo>
                  <a:cubicBezTo>
                    <a:pt x="56" y="122"/>
                    <a:pt x="42" y="116"/>
                    <a:pt x="33" y="107"/>
                  </a:cubicBezTo>
                  <a:cubicBezTo>
                    <a:pt x="23" y="97"/>
                    <a:pt x="17" y="84"/>
                    <a:pt x="17" y="70"/>
                  </a:cubicBezTo>
                  <a:cubicBezTo>
                    <a:pt x="17" y="41"/>
                    <a:pt x="41" y="17"/>
                    <a:pt x="71" y="17"/>
                  </a:cubicBezTo>
                  <a:cubicBezTo>
                    <a:pt x="84" y="17"/>
                    <a:pt x="95" y="22"/>
                    <a:pt x="105" y="29"/>
                  </a:cubicBezTo>
                  <a:cubicBezTo>
                    <a:pt x="107" y="26"/>
                    <a:pt x="107" y="26"/>
                    <a:pt x="107" y="26"/>
                  </a:cubicBezTo>
                  <a:cubicBezTo>
                    <a:pt x="105" y="29"/>
                    <a:pt x="105" y="29"/>
                    <a:pt x="105" y="29"/>
                  </a:cubicBezTo>
                  <a:cubicBezTo>
                    <a:pt x="106" y="30"/>
                    <a:pt x="108" y="31"/>
                    <a:pt x="110" y="31"/>
                  </a:cubicBezTo>
                  <a:cubicBezTo>
                    <a:pt x="113" y="31"/>
                    <a:pt x="115" y="30"/>
                    <a:pt x="117" y="27"/>
                  </a:cubicBezTo>
                  <a:cubicBezTo>
                    <a:pt x="114" y="25"/>
                    <a:pt x="114" y="25"/>
                    <a:pt x="114" y="25"/>
                  </a:cubicBezTo>
                  <a:cubicBezTo>
                    <a:pt x="116" y="28"/>
                    <a:pt x="116" y="28"/>
                    <a:pt x="116" y="28"/>
                  </a:cubicBezTo>
                  <a:cubicBezTo>
                    <a:pt x="118" y="26"/>
                    <a:pt x="119" y="24"/>
                    <a:pt x="119" y="22"/>
                  </a:cubicBezTo>
                  <a:cubicBezTo>
                    <a:pt x="119" y="20"/>
                    <a:pt x="118" y="17"/>
                    <a:pt x="115" y="15"/>
                  </a:cubicBezTo>
                  <a:cubicBezTo>
                    <a:pt x="115" y="15"/>
                    <a:pt x="115" y="15"/>
                    <a:pt x="115" y="15"/>
                  </a:cubicBezTo>
                  <a:cubicBezTo>
                    <a:pt x="103" y="6"/>
                    <a:pt x="88" y="0"/>
                    <a:pt x="71" y="0"/>
                  </a:cubicBezTo>
                  <a:cubicBezTo>
                    <a:pt x="71" y="0"/>
                    <a:pt x="71" y="0"/>
                    <a:pt x="71" y="0"/>
                  </a:cubicBezTo>
                  <a:cubicBezTo>
                    <a:pt x="51" y="0"/>
                    <a:pt x="34" y="8"/>
                    <a:pt x="21" y="21"/>
                  </a:cubicBezTo>
                  <a:cubicBezTo>
                    <a:pt x="8" y="33"/>
                    <a:pt x="0" y="51"/>
                    <a:pt x="0" y="70"/>
                  </a:cubicBezTo>
                  <a:cubicBezTo>
                    <a:pt x="4" y="70"/>
                    <a:pt x="4" y="70"/>
                    <a:pt x="4" y="70"/>
                  </a:cubicBezTo>
                  <a:cubicBezTo>
                    <a:pt x="8" y="70"/>
                    <a:pt x="8" y="70"/>
                    <a:pt x="8" y="70"/>
                  </a:cubicBezTo>
                  <a:cubicBezTo>
                    <a:pt x="8" y="53"/>
                    <a:pt x="15" y="37"/>
                    <a:pt x="26" y="26"/>
                  </a:cubicBezTo>
                  <a:cubicBezTo>
                    <a:pt x="38" y="15"/>
                    <a:pt x="54" y="8"/>
                    <a:pt x="71" y="8"/>
                  </a:cubicBezTo>
                  <a:cubicBezTo>
                    <a:pt x="71" y="8"/>
                    <a:pt x="71" y="8"/>
                    <a:pt x="71" y="8"/>
                  </a:cubicBezTo>
                  <a:cubicBezTo>
                    <a:pt x="86" y="8"/>
                    <a:pt x="100" y="13"/>
                    <a:pt x="110" y="22"/>
                  </a:cubicBezTo>
                  <a:cubicBezTo>
                    <a:pt x="113" y="18"/>
                    <a:pt x="113" y="18"/>
                    <a:pt x="113" y="18"/>
                  </a:cubicBezTo>
                  <a:cubicBezTo>
                    <a:pt x="110" y="21"/>
                    <a:pt x="110" y="21"/>
                    <a:pt x="110" y="21"/>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1" y="22"/>
                    <a:pt x="111" y="22"/>
                    <a:pt x="111" y="22"/>
                  </a:cubicBezTo>
                  <a:cubicBezTo>
                    <a:pt x="110" y="23"/>
                    <a:pt x="110" y="23"/>
                    <a:pt x="110" y="23"/>
                  </a:cubicBezTo>
                  <a:cubicBezTo>
                    <a:pt x="110" y="23"/>
                    <a:pt x="110" y="23"/>
                    <a:pt x="110" y="23"/>
                  </a:cubicBezTo>
                  <a:cubicBezTo>
                    <a:pt x="110" y="23"/>
                    <a:pt x="110" y="23"/>
                    <a:pt x="110" y="23"/>
                  </a:cubicBezTo>
                  <a:cubicBezTo>
                    <a:pt x="110" y="23"/>
                    <a:pt x="110" y="23"/>
                    <a:pt x="110" y="23"/>
                  </a:cubicBezTo>
                  <a:cubicBezTo>
                    <a:pt x="99" y="14"/>
                    <a:pt x="86" y="9"/>
                    <a:pt x="71" y="9"/>
                  </a:cubicBezTo>
                  <a:cubicBezTo>
                    <a:pt x="54" y="9"/>
                    <a:pt x="38" y="16"/>
                    <a:pt x="27" y="27"/>
                  </a:cubicBezTo>
                  <a:cubicBezTo>
                    <a:pt x="16" y="38"/>
                    <a:pt x="9" y="53"/>
                    <a:pt x="9" y="70"/>
                  </a:cubicBezTo>
                  <a:cubicBezTo>
                    <a:pt x="9" y="87"/>
                    <a:pt x="16" y="102"/>
                    <a:pt x="27" y="113"/>
                  </a:cubicBezTo>
                  <a:cubicBezTo>
                    <a:pt x="38" y="124"/>
                    <a:pt x="54" y="130"/>
                    <a:pt x="71" y="130"/>
                  </a:cubicBezTo>
                  <a:cubicBezTo>
                    <a:pt x="86" y="130"/>
                    <a:pt x="99" y="126"/>
                    <a:pt x="110" y="117"/>
                  </a:cubicBezTo>
                  <a:cubicBezTo>
                    <a:pt x="107" y="114"/>
                    <a:pt x="107" y="114"/>
                    <a:pt x="107" y="114"/>
                  </a:cubicBezTo>
                  <a:cubicBezTo>
                    <a:pt x="109" y="117"/>
                    <a:pt x="109" y="117"/>
                    <a:pt x="109"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0" y="117"/>
                    <a:pt x="110" y="117"/>
                    <a:pt x="110" y="117"/>
                  </a:cubicBezTo>
                  <a:cubicBezTo>
                    <a:pt x="111" y="118"/>
                    <a:pt x="111" y="118"/>
                    <a:pt x="111" y="118"/>
                  </a:cubicBezTo>
                  <a:cubicBezTo>
                    <a:pt x="111" y="117"/>
                    <a:pt x="111" y="117"/>
                    <a:pt x="111" y="117"/>
                  </a:cubicBezTo>
                  <a:cubicBezTo>
                    <a:pt x="111" y="118"/>
                    <a:pt x="111" y="118"/>
                    <a:pt x="111" y="118"/>
                  </a:cubicBezTo>
                  <a:cubicBezTo>
                    <a:pt x="111" y="118"/>
                    <a:pt x="111" y="118"/>
                    <a:pt x="111" y="118"/>
                  </a:cubicBezTo>
                  <a:cubicBezTo>
                    <a:pt x="111" y="117"/>
                    <a:pt x="111" y="117"/>
                    <a:pt x="111" y="117"/>
                  </a:cubicBezTo>
                  <a:cubicBezTo>
                    <a:pt x="111" y="118"/>
                    <a:pt x="111" y="118"/>
                    <a:pt x="111" y="118"/>
                  </a:cubicBezTo>
                  <a:cubicBezTo>
                    <a:pt x="111" y="118"/>
                    <a:pt x="111" y="118"/>
                    <a:pt x="111" y="118"/>
                  </a:cubicBezTo>
                  <a:cubicBezTo>
                    <a:pt x="111" y="118"/>
                    <a:pt x="111" y="118"/>
                    <a:pt x="111" y="118"/>
                  </a:cubicBezTo>
                  <a:cubicBezTo>
                    <a:pt x="110" y="118"/>
                    <a:pt x="110" y="118"/>
                    <a:pt x="110" y="118"/>
                  </a:cubicBezTo>
                  <a:cubicBezTo>
                    <a:pt x="110" y="118"/>
                    <a:pt x="110" y="118"/>
                    <a:pt x="110" y="118"/>
                  </a:cubicBezTo>
                  <a:cubicBezTo>
                    <a:pt x="111" y="118"/>
                    <a:pt x="111" y="118"/>
                    <a:pt x="111" y="118"/>
                  </a:cubicBezTo>
                  <a:cubicBezTo>
                    <a:pt x="110" y="118"/>
                    <a:pt x="110" y="118"/>
                    <a:pt x="110" y="118"/>
                  </a:cubicBezTo>
                  <a:cubicBezTo>
                    <a:pt x="110" y="118"/>
                    <a:pt x="110" y="118"/>
                    <a:pt x="110" y="118"/>
                  </a:cubicBezTo>
                  <a:cubicBezTo>
                    <a:pt x="111" y="118"/>
                    <a:pt x="111" y="118"/>
                    <a:pt x="111" y="118"/>
                  </a:cubicBezTo>
                  <a:cubicBezTo>
                    <a:pt x="110" y="118"/>
                    <a:pt x="110" y="118"/>
                    <a:pt x="110" y="118"/>
                  </a:cubicBezTo>
                  <a:cubicBezTo>
                    <a:pt x="110" y="118"/>
                    <a:pt x="110" y="118"/>
                    <a:pt x="110" y="118"/>
                  </a:cubicBezTo>
                  <a:cubicBezTo>
                    <a:pt x="100" y="126"/>
                    <a:pt x="86" y="131"/>
                    <a:pt x="71" y="131"/>
                  </a:cubicBezTo>
                  <a:cubicBezTo>
                    <a:pt x="54" y="131"/>
                    <a:pt x="38" y="124"/>
                    <a:pt x="26" y="113"/>
                  </a:cubicBezTo>
                  <a:cubicBezTo>
                    <a:pt x="15" y="102"/>
                    <a:pt x="8" y="87"/>
                    <a:pt x="8" y="70"/>
                  </a:cubicBezTo>
                  <a:cubicBezTo>
                    <a:pt x="4" y="70"/>
                    <a:pt x="4" y="70"/>
                    <a:pt x="4" y="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2" name="Freeform 94">
              <a:extLst>
                <a:ext uri="{FF2B5EF4-FFF2-40B4-BE49-F238E27FC236}">
                  <a16:creationId xmlns:a16="http://schemas.microsoft.com/office/drawing/2014/main" id="{50062F08-32C8-43D4-96FD-2F19C8D6F81A}"/>
                </a:ext>
              </a:extLst>
            </p:cNvPr>
            <p:cNvSpPr>
              <a:spLocks/>
            </p:cNvSpPr>
            <p:nvPr userDrawn="1"/>
          </p:nvSpPr>
          <p:spPr bwMode="auto">
            <a:xfrm flipH="1">
              <a:off x="9464771" y="2643597"/>
              <a:ext cx="159084" cy="209245"/>
            </a:xfrm>
            <a:custGeom>
              <a:avLst/>
              <a:gdLst>
                <a:gd name="T0" fmla="*/ 48 w 104"/>
                <a:gd name="T1" fmla="*/ 129 h 137"/>
                <a:gd name="T2" fmla="*/ 44 w 104"/>
                <a:gd name="T3" fmla="*/ 129 h 137"/>
                <a:gd name="T4" fmla="*/ 52 w 104"/>
                <a:gd name="T5" fmla="*/ 137 h 137"/>
                <a:gd name="T6" fmla="*/ 61 w 104"/>
                <a:gd name="T7" fmla="*/ 129 h 137"/>
                <a:gd name="T8" fmla="*/ 61 w 104"/>
                <a:gd name="T9" fmla="*/ 17 h 137"/>
                <a:gd name="T10" fmla="*/ 96 w 104"/>
                <a:gd name="T11" fmla="*/ 17 h 137"/>
                <a:gd name="T12" fmla="*/ 104 w 104"/>
                <a:gd name="T13" fmla="*/ 8 h 137"/>
                <a:gd name="T14" fmla="*/ 96 w 104"/>
                <a:gd name="T15" fmla="*/ 0 h 137"/>
                <a:gd name="T16" fmla="*/ 9 w 104"/>
                <a:gd name="T17" fmla="*/ 0 h 137"/>
                <a:gd name="T18" fmla="*/ 0 w 104"/>
                <a:gd name="T19" fmla="*/ 8 h 137"/>
                <a:gd name="T20" fmla="*/ 9 w 104"/>
                <a:gd name="T21" fmla="*/ 17 h 137"/>
                <a:gd name="T22" fmla="*/ 44 w 104"/>
                <a:gd name="T23" fmla="*/ 17 h 137"/>
                <a:gd name="T24" fmla="*/ 44 w 104"/>
                <a:gd name="T25" fmla="*/ 129 h 137"/>
                <a:gd name="T26" fmla="*/ 48 w 104"/>
                <a:gd name="T27" fmla="*/ 129 h 137"/>
                <a:gd name="T28" fmla="*/ 52 w 104"/>
                <a:gd name="T29" fmla="*/ 129 h 137"/>
                <a:gd name="T30" fmla="*/ 52 w 104"/>
                <a:gd name="T31" fmla="*/ 13 h 137"/>
                <a:gd name="T32" fmla="*/ 51 w 104"/>
                <a:gd name="T33" fmla="*/ 10 h 137"/>
                <a:gd name="T34" fmla="*/ 48 w 104"/>
                <a:gd name="T35" fmla="*/ 9 h 137"/>
                <a:gd name="T36" fmla="*/ 9 w 104"/>
                <a:gd name="T37" fmla="*/ 9 h 137"/>
                <a:gd name="T38" fmla="*/ 9 w 104"/>
                <a:gd name="T39" fmla="*/ 9 h 137"/>
                <a:gd name="T40" fmla="*/ 8 w 104"/>
                <a:gd name="T41" fmla="*/ 8 h 137"/>
                <a:gd name="T42" fmla="*/ 8 w 104"/>
                <a:gd name="T43" fmla="*/ 8 h 137"/>
                <a:gd name="T44" fmla="*/ 9 w 104"/>
                <a:gd name="T45" fmla="*/ 8 h 137"/>
                <a:gd name="T46" fmla="*/ 96 w 104"/>
                <a:gd name="T47" fmla="*/ 8 h 137"/>
                <a:gd name="T48" fmla="*/ 96 w 104"/>
                <a:gd name="T49" fmla="*/ 8 h 137"/>
                <a:gd name="T50" fmla="*/ 96 w 104"/>
                <a:gd name="T51" fmla="*/ 8 h 137"/>
                <a:gd name="T52" fmla="*/ 96 w 104"/>
                <a:gd name="T53" fmla="*/ 9 h 137"/>
                <a:gd name="T54" fmla="*/ 96 w 104"/>
                <a:gd name="T55" fmla="*/ 9 h 137"/>
                <a:gd name="T56" fmla="*/ 57 w 104"/>
                <a:gd name="T57" fmla="*/ 9 h 137"/>
                <a:gd name="T58" fmla="*/ 54 w 104"/>
                <a:gd name="T59" fmla="*/ 10 h 137"/>
                <a:gd name="T60" fmla="*/ 53 w 104"/>
                <a:gd name="T61" fmla="*/ 13 h 137"/>
                <a:gd name="T62" fmla="*/ 53 w 104"/>
                <a:gd name="T63" fmla="*/ 129 h 137"/>
                <a:gd name="T64" fmla="*/ 52 w 104"/>
                <a:gd name="T65" fmla="*/ 129 h 137"/>
                <a:gd name="T66" fmla="*/ 52 w 104"/>
                <a:gd name="T67" fmla="*/ 129 h 137"/>
                <a:gd name="T68" fmla="*/ 52 w 104"/>
                <a:gd name="T69" fmla="*/ 129 h 137"/>
                <a:gd name="T70" fmla="*/ 52 w 104"/>
                <a:gd name="T71" fmla="*/ 129 h 137"/>
                <a:gd name="T72" fmla="*/ 48 w 104"/>
                <a:gd name="T73" fmla="*/ 12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137">
                  <a:moveTo>
                    <a:pt x="48" y="129"/>
                  </a:moveTo>
                  <a:cubicBezTo>
                    <a:pt x="44" y="129"/>
                    <a:pt x="44" y="129"/>
                    <a:pt x="44" y="129"/>
                  </a:cubicBezTo>
                  <a:cubicBezTo>
                    <a:pt x="44" y="134"/>
                    <a:pt x="48" y="137"/>
                    <a:pt x="52" y="137"/>
                  </a:cubicBezTo>
                  <a:cubicBezTo>
                    <a:pt x="57" y="137"/>
                    <a:pt x="61" y="134"/>
                    <a:pt x="61" y="129"/>
                  </a:cubicBezTo>
                  <a:cubicBezTo>
                    <a:pt x="61" y="17"/>
                    <a:pt x="61" y="17"/>
                    <a:pt x="61" y="17"/>
                  </a:cubicBezTo>
                  <a:cubicBezTo>
                    <a:pt x="96" y="17"/>
                    <a:pt x="96" y="17"/>
                    <a:pt x="96" y="17"/>
                  </a:cubicBezTo>
                  <a:cubicBezTo>
                    <a:pt x="100" y="17"/>
                    <a:pt x="104" y="13"/>
                    <a:pt x="104" y="8"/>
                  </a:cubicBezTo>
                  <a:cubicBezTo>
                    <a:pt x="104" y="4"/>
                    <a:pt x="100" y="0"/>
                    <a:pt x="96" y="0"/>
                  </a:cubicBezTo>
                  <a:cubicBezTo>
                    <a:pt x="9" y="0"/>
                    <a:pt x="9" y="0"/>
                    <a:pt x="9" y="0"/>
                  </a:cubicBezTo>
                  <a:cubicBezTo>
                    <a:pt x="4" y="0"/>
                    <a:pt x="0" y="4"/>
                    <a:pt x="0" y="8"/>
                  </a:cubicBezTo>
                  <a:cubicBezTo>
                    <a:pt x="0" y="13"/>
                    <a:pt x="4" y="17"/>
                    <a:pt x="9" y="17"/>
                  </a:cubicBezTo>
                  <a:cubicBezTo>
                    <a:pt x="44" y="17"/>
                    <a:pt x="44" y="17"/>
                    <a:pt x="44" y="17"/>
                  </a:cubicBezTo>
                  <a:cubicBezTo>
                    <a:pt x="44" y="129"/>
                    <a:pt x="44" y="129"/>
                    <a:pt x="44" y="129"/>
                  </a:cubicBezTo>
                  <a:cubicBezTo>
                    <a:pt x="48" y="129"/>
                    <a:pt x="48" y="129"/>
                    <a:pt x="48" y="129"/>
                  </a:cubicBezTo>
                  <a:cubicBezTo>
                    <a:pt x="52" y="129"/>
                    <a:pt x="52" y="129"/>
                    <a:pt x="52" y="129"/>
                  </a:cubicBezTo>
                  <a:cubicBezTo>
                    <a:pt x="52" y="13"/>
                    <a:pt x="52" y="13"/>
                    <a:pt x="52" y="13"/>
                  </a:cubicBezTo>
                  <a:cubicBezTo>
                    <a:pt x="52" y="12"/>
                    <a:pt x="51" y="11"/>
                    <a:pt x="51" y="10"/>
                  </a:cubicBezTo>
                  <a:cubicBezTo>
                    <a:pt x="50" y="9"/>
                    <a:pt x="49" y="9"/>
                    <a:pt x="48" y="9"/>
                  </a:cubicBezTo>
                  <a:cubicBezTo>
                    <a:pt x="9" y="9"/>
                    <a:pt x="9" y="9"/>
                    <a:pt x="9" y="9"/>
                  </a:cubicBezTo>
                  <a:cubicBezTo>
                    <a:pt x="9" y="9"/>
                    <a:pt x="9" y="9"/>
                    <a:pt x="9" y="9"/>
                  </a:cubicBezTo>
                  <a:cubicBezTo>
                    <a:pt x="8" y="8"/>
                    <a:pt x="8" y="8"/>
                    <a:pt x="8" y="8"/>
                  </a:cubicBezTo>
                  <a:cubicBezTo>
                    <a:pt x="8" y="8"/>
                    <a:pt x="8" y="8"/>
                    <a:pt x="8" y="8"/>
                  </a:cubicBezTo>
                  <a:cubicBezTo>
                    <a:pt x="9" y="8"/>
                    <a:pt x="9" y="8"/>
                    <a:pt x="9" y="8"/>
                  </a:cubicBezTo>
                  <a:cubicBezTo>
                    <a:pt x="96" y="8"/>
                    <a:pt x="96" y="8"/>
                    <a:pt x="96" y="8"/>
                  </a:cubicBezTo>
                  <a:cubicBezTo>
                    <a:pt x="96" y="8"/>
                    <a:pt x="96" y="8"/>
                    <a:pt x="96" y="8"/>
                  </a:cubicBezTo>
                  <a:cubicBezTo>
                    <a:pt x="96" y="8"/>
                    <a:pt x="96" y="8"/>
                    <a:pt x="96" y="8"/>
                  </a:cubicBezTo>
                  <a:cubicBezTo>
                    <a:pt x="96" y="9"/>
                    <a:pt x="96" y="9"/>
                    <a:pt x="96" y="9"/>
                  </a:cubicBezTo>
                  <a:cubicBezTo>
                    <a:pt x="96" y="9"/>
                    <a:pt x="96" y="9"/>
                    <a:pt x="96" y="9"/>
                  </a:cubicBezTo>
                  <a:cubicBezTo>
                    <a:pt x="57" y="9"/>
                    <a:pt x="57" y="9"/>
                    <a:pt x="57" y="9"/>
                  </a:cubicBezTo>
                  <a:cubicBezTo>
                    <a:pt x="56" y="9"/>
                    <a:pt x="55" y="9"/>
                    <a:pt x="54" y="10"/>
                  </a:cubicBezTo>
                  <a:cubicBezTo>
                    <a:pt x="53" y="11"/>
                    <a:pt x="53" y="12"/>
                    <a:pt x="53" y="13"/>
                  </a:cubicBezTo>
                  <a:cubicBezTo>
                    <a:pt x="53" y="129"/>
                    <a:pt x="53" y="129"/>
                    <a:pt x="53" y="129"/>
                  </a:cubicBezTo>
                  <a:cubicBezTo>
                    <a:pt x="52" y="129"/>
                    <a:pt x="52" y="129"/>
                    <a:pt x="52" y="129"/>
                  </a:cubicBezTo>
                  <a:cubicBezTo>
                    <a:pt x="52" y="129"/>
                    <a:pt x="52" y="129"/>
                    <a:pt x="52" y="129"/>
                  </a:cubicBezTo>
                  <a:cubicBezTo>
                    <a:pt x="52" y="129"/>
                    <a:pt x="52" y="129"/>
                    <a:pt x="52" y="129"/>
                  </a:cubicBezTo>
                  <a:cubicBezTo>
                    <a:pt x="52" y="129"/>
                    <a:pt x="52" y="129"/>
                    <a:pt x="52" y="129"/>
                  </a:cubicBezTo>
                  <a:cubicBezTo>
                    <a:pt x="48" y="129"/>
                    <a:pt x="48" y="129"/>
                    <a:pt x="48" y="1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3" name="Freeform 95">
              <a:extLst>
                <a:ext uri="{FF2B5EF4-FFF2-40B4-BE49-F238E27FC236}">
                  <a16:creationId xmlns:a16="http://schemas.microsoft.com/office/drawing/2014/main" id="{15BD96B3-7C90-41F1-BF57-ACE8D2DA38F6}"/>
                </a:ext>
              </a:extLst>
            </p:cNvPr>
            <p:cNvSpPr>
              <a:spLocks/>
            </p:cNvSpPr>
            <p:nvPr userDrawn="1"/>
          </p:nvSpPr>
          <p:spPr bwMode="auto">
            <a:xfrm flipH="1">
              <a:off x="9179567" y="2643597"/>
              <a:ext cx="171982" cy="209245"/>
            </a:xfrm>
            <a:custGeom>
              <a:avLst/>
              <a:gdLst>
                <a:gd name="T0" fmla="*/ 4 w 113"/>
                <a:gd name="T1" fmla="*/ 81 h 137"/>
                <a:gd name="T2" fmla="*/ 0 w 113"/>
                <a:gd name="T3" fmla="*/ 81 h 137"/>
                <a:gd name="T4" fmla="*/ 56 w 113"/>
                <a:gd name="T5" fmla="*/ 137 h 137"/>
                <a:gd name="T6" fmla="*/ 113 w 113"/>
                <a:gd name="T7" fmla="*/ 81 h 137"/>
                <a:gd name="T8" fmla="*/ 113 w 113"/>
                <a:gd name="T9" fmla="*/ 8 h 137"/>
                <a:gd name="T10" fmla="*/ 104 w 113"/>
                <a:gd name="T11" fmla="*/ 0 h 137"/>
                <a:gd name="T12" fmla="*/ 96 w 113"/>
                <a:gd name="T13" fmla="*/ 8 h 137"/>
                <a:gd name="T14" fmla="*/ 96 w 113"/>
                <a:gd name="T15" fmla="*/ 81 h 137"/>
                <a:gd name="T16" fmla="*/ 56 w 113"/>
                <a:gd name="T17" fmla="*/ 120 h 137"/>
                <a:gd name="T18" fmla="*/ 56 w 113"/>
                <a:gd name="T19" fmla="*/ 124 h 137"/>
                <a:gd name="T20" fmla="*/ 56 w 113"/>
                <a:gd name="T21" fmla="*/ 120 h 137"/>
                <a:gd name="T22" fmla="*/ 17 w 113"/>
                <a:gd name="T23" fmla="*/ 81 h 137"/>
                <a:gd name="T24" fmla="*/ 17 w 113"/>
                <a:gd name="T25" fmla="*/ 8 h 137"/>
                <a:gd name="T26" fmla="*/ 9 w 113"/>
                <a:gd name="T27" fmla="*/ 0 h 137"/>
                <a:gd name="T28" fmla="*/ 0 w 113"/>
                <a:gd name="T29" fmla="*/ 8 h 137"/>
                <a:gd name="T30" fmla="*/ 0 w 113"/>
                <a:gd name="T31" fmla="*/ 81 h 137"/>
                <a:gd name="T32" fmla="*/ 4 w 113"/>
                <a:gd name="T33" fmla="*/ 81 h 137"/>
                <a:gd name="T34" fmla="*/ 8 w 113"/>
                <a:gd name="T35" fmla="*/ 81 h 137"/>
                <a:gd name="T36" fmla="*/ 8 w 113"/>
                <a:gd name="T37" fmla="*/ 8 h 137"/>
                <a:gd name="T38" fmla="*/ 8 w 113"/>
                <a:gd name="T39" fmla="*/ 8 h 137"/>
                <a:gd name="T40" fmla="*/ 9 w 113"/>
                <a:gd name="T41" fmla="*/ 8 h 137"/>
                <a:gd name="T42" fmla="*/ 9 w 113"/>
                <a:gd name="T43" fmla="*/ 8 h 137"/>
                <a:gd name="T44" fmla="*/ 9 w 113"/>
                <a:gd name="T45" fmla="*/ 8 h 137"/>
                <a:gd name="T46" fmla="*/ 9 w 113"/>
                <a:gd name="T47" fmla="*/ 81 h 137"/>
                <a:gd name="T48" fmla="*/ 56 w 113"/>
                <a:gd name="T49" fmla="*/ 128 h 137"/>
                <a:gd name="T50" fmla="*/ 56 w 113"/>
                <a:gd name="T51" fmla="*/ 128 h 137"/>
                <a:gd name="T52" fmla="*/ 104 w 113"/>
                <a:gd name="T53" fmla="*/ 81 h 137"/>
                <a:gd name="T54" fmla="*/ 104 w 113"/>
                <a:gd name="T55" fmla="*/ 8 h 137"/>
                <a:gd name="T56" fmla="*/ 104 w 113"/>
                <a:gd name="T57" fmla="*/ 8 h 137"/>
                <a:gd name="T58" fmla="*/ 104 w 113"/>
                <a:gd name="T59" fmla="*/ 8 h 137"/>
                <a:gd name="T60" fmla="*/ 105 w 113"/>
                <a:gd name="T61" fmla="*/ 8 h 137"/>
                <a:gd name="T62" fmla="*/ 105 w 113"/>
                <a:gd name="T63" fmla="*/ 8 h 137"/>
                <a:gd name="T64" fmla="*/ 105 w 113"/>
                <a:gd name="T65" fmla="*/ 81 h 137"/>
                <a:gd name="T66" fmla="*/ 91 w 113"/>
                <a:gd name="T67" fmla="*/ 115 h 137"/>
                <a:gd name="T68" fmla="*/ 56 w 113"/>
                <a:gd name="T69" fmla="*/ 129 h 137"/>
                <a:gd name="T70" fmla="*/ 22 w 113"/>
                <a:gd name="T71" fmla="*/ 115 h 137"/>
                <a:gd name="T72" fmla="*/ 8 w 113"/>
                <a:gd name="T73" fmla="*/ 81 h 137"/>
                <a:gd name="T74" fmla="*/ 4 w 113"/>
                <a:gd name="T75" fmla="*/ 8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37">
                  <a:moveTo>
                    <a:pt x="4" y="81"/>
                  </a:moveTo>
                  <a:cubicBezTo>
                    <a:pt x="0" y="81"/>
                    <a:pt x="0" y="81"/>
                    <a:pt x="0" y="81"/>
                  </a:cubicBezTo>
                  <a:cubicBezTo>
                    <a:pt x="0" y="112"/>
                    <a:pt x="26" y="137"/>
                    <a:pt x="56" y="137"/>
                  </a:cubicBezTo>
                  <a:cubicBezTo>
                    <a:pt x="88" y="137"/>
                    <a:pt x="113" y="112"/>
                    <a:pt x="113" y="81"/>
                  </a:cubicBezTo>
                  <a:cubicBezTo>
                    <a:pt x="113" y="8"/>
                    <a:pt x="113" y="8"/>
                    <a:pt x="113" y="8"/>
                  </a:cubicBezTo>
                  <a:cubicBezTo>
                    <a:pt x="113" y="4"/>
                    <a:pt x="109" y="0"/>
                    <a:pt x="104" y="0"/>
                  </a:cubicBezTo>
                  <a:cubicBezTo>
                    <a:pt x="100" y="0"/>
                    <a:pt x="96" y="4"/>
                    <a:pt x="96" y="8"/>
                  </a:cubicBezTo>
                  <a:cubicBezTo>
                    <a:pt x="96" y="81"/>
                    <a:pt x="96" y="81"/>
                    <a:pt x="96" y="81"/>
                  </a:cubicBezTo>
                  <a:cubicBezTo>
                    <a:pt x="96" y="103"/>
                    <a:pt x="78" y="120"/>
                    <a:pt x="56" y="120"/>
                  </a:cubicBezTo>
                  <a:cubicBezTo>
                    <a:pt x="56" y="124"/>
                    <a:pt x="56" y="124"/>
                    <a:pt x="56" y="124"/>
                  </a:cubicBezTo>
                  <a:cubicBezTo>
                    <a:pt x="56" y="120"/>
                    <a:pt x="56" y="120"/>
                    <a:pt x="56" y="120"/>
                  </a:cubicBezTo>
                  <a:cubicBezTo>
                    <a:pt x="35" y="120"/>
                    <a:pt x="17" y="103"/>
                    <a:pt x="17" y="81"/>
                  </a:cubicBezTo>
                  <a:cubicBezTo>
                    <a:pt x="17" y="8"/>
                    <a:pt x="17" y="8"/>
                    <a:pt x="17" y="8"/>
                  </a:cubicBezTo>
                  <a:cubicBezTo>
                    <a:pt x="17" y="4"/>
                    <a:pt x="13" y="0"/>
                    <a:pt x="9" y="0"/>
                  </a:cubicBezTo>
                  <a:cubicBezTo>
                    <a:pt x="4" y="0"/>
                    <a:pt x="0" y="4"/>
                    <a:pt x="0" y="8"/>
                  </a:cubicBezTo>
                  <a:cubicBezTo>
                    <a:pt x="0" y="81"/>
                    <a:pt x="0" y="81"/>
                    <a:pt x="0" y="81"/>
                  </a:cubicBezTo>
                  <a:cubicBezTo>
                    <a:pt x="4" y="81"/>
                    <a:pt x="4" y="81"/>
                    <a:pt x="4" y="81"/>
                  </a:cubicBezTo>
                  <a:cubicBezTo>
                    <a:pt x="8" y="81"/>
                    <a:pt x="8" y="81"/>
                    <a:pt x="8" y="81"/>
                  </a:cubicBezTo>
                  <a:cubicBezTo>
                    <a:pt x="8" y="8"/>
                    <a:pt x="8" y="8"/>
                    <a:pt x="8" y="8"/>
                  </a:cubicBezTo>
                  <a:cubicBezTo>
                    <a:pt x="8" y="8"/>
                    <a:pt x="8" y="8"/>
                    <a:pt x="8" y="8"/>
                  </a:cubicBezTo>
                  <a:cubicBezTo>
                    <a:pt x="9" y="8"/>
                    <a:pt x="9" y="8"/>
                    <a:pt x="9" y="8"/>
                  </a:cubicBezTo>
                  <a:cubicBezTo>
                    <a:pt x="9" y="8"/>
                    <a:pt x="9" y="8"/>
                    <a:pt x="9" y="8"/>
                  </a:cubicBezTo>
                  <a:cubicBezTo>
                    <a:pt x="9" y="8"/>
                    <a:pt x="9" y="8"/>
                    <a:pt x="9" y="8"/>
                  </a:cubicBezTo>
                  <a:cubicBezTo>
                    <a:pt x="9" y="81"/>
                    <a:pt x="9" y="81"/>
                    <a:pt x="9" y="81"/>
                  </a:cubicBezTo>
                  <a:cubicBezTo>
                    <a:pt x="9" y="107"/>
                    <a:pt x="31" y="128"/>
                    <a:pt x="56" y="128"/>
                  </a:cubicBezTo>
                  <a:cubicBezTo>
                    <a:pt x="56" y="128"/>
                    <a:pt x="56" y="128"/>
                    <a:pt x="56" y="128"/>
                  </a:cubicBezTo>
                  <a:cubicBezTo>
                    <a:pt x="83" y="128"/>
                    <a:pt x="104" y="107"/>
                    <a:pt x="104" y="81"/>
                  </a:cubicBezTo>
                  <a:cubicBezTo>
                    <a:pt x="104" y="8"/>
                    <a:pt x="104" y="8"/>
                    <a:pt x="104" y="8"/>
                  </a:cubicBezTo>
                  <a:cubicBezTo>
                    <a:pt x="104" y="8"/>
                    <a:pt x="104" y="8"/>
                    <a:pt x="104" y="8"/>
                  </a:cubicBezTo>
                  <a:cubicBezTo>
                    <a:pt x="104" y="8"/>
                    <a:pt x="104" y="8"/>
                    <a:pt x="104" y="8"/>
                  </a:cubicBezTo>
                  <a:cubicBezTo>
                    <a:pt x="105" y="8"/>
                    <a:pt x="105" y="8"/>
                    <a:pt x="105" y="8"/>
                  </a:cubicBezTo>
                  <a:cubicBezTo>
                    <a:pt x="105" y="8"/>
                    <a:pt x="105" y="8"/>
                    <a:pt x="105" y="8"/>
                  </a:cubicBezTo>
                  <a:cubicBezTo>
                    <a:pt x="105" y="81"/>
                    <a:pt x="105" y="81"/>
                    <a:pt x="105" y="81"/>
                  </a:cubicBezTo>
                  <a:cubicBezTo>
                    <a:pt x="105" y="94"/>
                    <a:pt x="99" y="106"/>
                    <a:pt x="91" y="115"/>
                  </a:cubicBezTo>
                  <a:cubicBezTo>
                    <a:pt x="82" y="124"/>
                    <a:pt x="70" y="129"/>
                    <a:pt x="56" y="129"/>
                  </a:cubicBezTo>
                  <a:cubicBezTo>
                    <a:pt x="43" y="129"/>
                    <a:pt x="31" y="124"/>
                    <a:pt x="22" y="115"/>
                  </a:cubicBezTo>
                  <a:cubicBezTo>
                    <a:pt x="14" y="106"/>
                    <a:pt x="8" y="94"/>
                    <a:pt x="8" y="81"/>
                  </a:cubicBezTo>
                  <a:cubicBezTo>
                    <a:pt x="4" y="81"/>
                    <a:pt x="4" y="81"/>
                    <a:pt x="4" y="8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4" name="Freeform 96">
              <a:extLst>
                <a:ext uri="{FF2B5EF4-FFF2-40B4-BE49-F238E27FC236}">
                  <a16:creationId xmlns:a16="http://schemas.microsoft.com/office/drawing/2014/main" id="{ACCCAA93-A515-4EAB-975D-00123C7BE1C6}"/>
                </a:ext>
              </a:extLst>
            </p:cNvPr>
            <p:cNvSpPr>
              <a:spLocks/>
            </p:cNvSpPr>
            <p:nvPr userDrawn="1"/>
          </p:nvSpPr>
          <p:spPr bwMode="auto">
            <a:xfrm flipH="1">
              <a:off x="8977488" y="2640730"/>
              <a:ext cx="160517" cy="213545"/>
            </a:xfrm>
            <a:custGeom>
              <a:avLst/>
              <a:gdLst>
                <a:gd name="T0" fmla="*/ 53 w 105"/>
                <a:gd name="T1" fmla="*/ 140 h 140"/>
                <a:gd name="T2" fmla="*/ 100 w 105"/>
                <a:gd name="T3" fmla="*/ 116 h 140"/>
                <a:gd name="T4" fmla="*/ 89 w 105"/>
                <a:gd name="T5" fmla="*/ 72 h 140"/>
                <a:gd name="T6" fmla="*/ 55 w 105"/>
                <a:gd name="T7" fmla="*/ 59 h 140"/>
                <a:gd name="T8" fmla="*/ 54 w 105"/>
                <a:gd name="T9" fmla="*/ 63 h 140"/>
                <a:gd name="T10" fmla="*/ 22 w 105"/>
                <a:gd name="T11" fmla="*/ 44 h 140"/>
                <a:gd name="T12" fmla="*/ 20 w 105"/>
                <a:gd name="T13" fmla="*/ 38 h 140"/>
                <a:gd name="T14" fmla="*/ 29 w 105"/>
                <a:gd name="T15" fmla="*/ 23 h 140"/>
                <a:gd name="T16" fmla="*/ 86 w 105"/>
                <a:gd name="T17" fmla="*/ 29 h 140"/>
                <a:gd name="T18" fmla="*/ 91 w 105"/>
                <a:gd name="T19" fmla="*/ 31 h 140"/>
                <a:gd name="T20" fmla="*/ 97 w 105"/>
                <a:gd name="T21" fmla="*/ 27 h 140"/>
                <a:gd name="T22" fmla="*/ 95 w 105"/>
                <a:gd name="T23" fmla="*/ 16 h 140"/>
                <a:gd name="T24" fmla="*/ 19 w 105"/>
                <a:gd name="T25" fmla="*/ 10 h 140"/>
                <a:gd name="T26" fmla="*/ 8 w 105"/>
                <a:gd name="T27" fmla="*/ 53 h 140"/>
                <a:gd name="T28" fmla="*/ 19 w 105"/>
                <a:gd name="T29" fmla="*/ 64 h 140"/>
                <a:gd name="T30" fmla="*/ 52 w 105"/>
                <a:gd name="T31" fmla="*/ 75 h 140"/>
                <a:gd name="T32" fmla="*/ 80 w 105"/>
                <a:gd name="T33" fmla="*/ 85 h 140"/>
                <a:gd name="T34" fmla="*/ 87 w 105"/>
                <a:gd name="T35" fmla="*/ 92 h 140"/>
                <a:gd name="T36" fmla="*/ 79 w 105"/>
                <a:gd name="T37" fmla="*/ 116 h 140"/>
                <a:gd name="T38" fmla="*/ 53 w 105"/>
                <a:gd name="T39" fmla="*/ 123 h 140"/>
                <a:gd name="T40" fmla="*/ 11 w 105"/>
                <a:gd name="T41" fmla="*/ 111 h 140"/>
                <a:gd name="T42" fmla="*/ 2 w 105"/>
                <a:gd name="T43" fmla="*/ 109 h 140"/>
                <a:gd name="T44" fmla="*/ 3 w 105"/>
                <a:gd name="T45" fmla="*/ 120 h 140"/>
                <a:gd name="T46" fmla="*/ 8 w 105"/>
                <a:gd name="T47" fmla="*/ 114 h 140"/>
                <a:gd name="T48" fmla="*/ 8 w 105"/>
                <a:gd name="T49" fmla="*/ 114 h 140"/>
                <a:gd name="T50" fmla="*/ 8 w 105"/>
                <a:gd name="T51" fmla="*/ 114 h 140"/>
                <a:gd name="T52" fmla="*/ 8 w 105"/>
                <a:gd name="T53" fmla="*/ 114 h 140"/>
                <a:gd name="T54" fmla="*/ 8 w 105"/>
                <a:gd name="T55" fmla="*/ 114 h 140"/>
                <a:gd name="T56" fmla="*/ 8 w 105"/>
                <a:gd name="T57" fmla="*/ 114 h 140"/>
                <a:gd name="T58" fmla="*/ 8 w 105"/>
                <a:gd name="T59" fmla="*/ 114 h 140"/>
                <a:gd name="T60" fmla="*/ 27 w 105"/>
                <a:gd name="T61" fmla="*/ 125 h 140"/>
                <a:gd name="T62" fmla="*/ 53 w 105"/>
                <a:gd name="T63" fmla="*/ 131 h 140"/>
                <a:gd name="T64" fmla="*/ 84 w 105"/>
                <a:gd name="T65" fmla="*/ 122 h 140"/>
                <a:gd name="T66" fmla="*/ 84 w 105"/>
                <a:gd name="T67" fmla="*/ 78 h 140"/>
                <a:gd name="T68" fmla="*/ 52 w 105"/>
                <a:gd name="T69" fmla="*/ 67 h 140"/>
                <a:gd name="T70" fmla="*/ 53 w 105"/>
                <a:gd name="T71" fmla="*/ 67 h 140"/>
                <a:gd name="T72" fmla="*/ 15 w 105"/>
                <a:gd name="T73" fmla="*/ 49 h 140"/>
                <a:gd name="T74" fmla="*/ 24 w 105"/>
                <a:gd name="T75" fmla="*/ 17 h 140"/>
                <a:gd name="T76" fmla="*/ 91 w 105"/>
                <a:gd name="T77" fmla="*/ 22 h 140"/>
                <a:gd name="T78" fmla="*/ 91 w 105"/>
                <a:gd name="T79" fmla="*/ 22 h 140"/>
                <a:gd name="T80" fmla="*/ 90 w 105"/>
                <a:gd name="T81" fmla="*/ 23 h 140"/>
                <a:gd name="T82" fmla="*/ 90 w 105"/>
                <a:gd name="T83" fmla="*/ 23 h 140"/>
                <a:gd name="T84" fmla="*/ 91 w 105"/>
                <a:gd name="T85" fmla="*/ 23 h 140"/>
                <a:gd name="T86" fmla="*/ 91 w 105"/>
                <a:gd name="T87" fmla="*/ 23 h 140"/>
                <a:gd name="T88" fmla="*/ 74 w 105"/>
                <a:gd name="T89" fmla="*/ 13 h 140"/>
                <a:gd name="T90" fmla="*/ 24 w 105"/>
                <a:gd name="T91" fmla="*/ 17 h 140"/>
                <a:gd name="T92" fmla="*/ 15 w 105"/>
                <a:gd name="T93" fmla="*/ 48 h 140"/>
                <a:gd name="T94" fmla="*/ 54 w 105"/>
                <a:gd name="T95" fmla="*/ 67 h 140"/>
                <a:gd name="T96" fmla="*/ 53 w 105"/>
                <a:gd name="T97" fmla="*/ 67 h 140"/>
                <a:gd name="T98" fmla="*/ 94 w 105"/>
                <a:gd name="T99" fmla="*/ 88 h 140"/>
                <a:gd name="T100" fmla="*/ 84 w 105"/>
                <a:gd name="T101" fmla="*/ 122 h 140"/>
                <a:gd name="T102" fmla="*/ 8 w 105"/>
                <a:gd name="T103" fmla="*/ 114 h 140"/>
                <a:gd name="T104" fmla="*/ 6 w 105"/>
                <a:gd name="T105" fmla="*/ 11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140">
                  <a:moveTo>
                    <a:pt x="6" y="117"/>
                  </a:moveTo>
                  <a:cubicBezTo>
                    <a:pt x="3" y="120"/>
                    <a:pt x="3" y="120"/>
                    <a:pt x="3" y="120"/>
                  </a:cubicBezTo>
                  <a:cubicBezTo>
                    <a:pt x="14" y="129"/>
                    <a:pt x="32" y="139"/>
                    <a:pt x="53" y="140"/>
                  </a:cubicBezTo>
                  <a:cubicBezTo>
                    <a:pt x="53" y="140"/>
                    <a:pt x="53" y="140"/>
                    <a:pt x="53" y="140"/>
                  </a:cubicBezTo>
                  <a:cubicBezTo>
                    <a:pt x="67" y="140"/>
                    <a:pt x="79" y="135"/>
                    <a:pt x="89" y="129"/>
                  </a:cubicBezTo>
                  <a:cubicBezTo>
                    <a:pt x="94" y="125"/>
                    <a:pt x="98" y="121"/>
                    <a:pt x="100" y="116"/>
                  </a:cubicBezTo>
                  <a:cubicBezTo>
                    <a:pt x="103" y="111"/>
                    <a:pt x="105" y="105"/>
                    <a:pt x="105" y="100"/>
                  </a:cubicBezTo>
                  <a:cubicBezTo>
                    <a:pt x="105" y="94"/>
                    <a:pt x="103" y="88"/>
                    <a:pt x="101" y="83"/>
                  </a:cubicBezTo>
                  <a:cubicBezTo>
                    <a:pt x="98" y="79"/>
                    <a:pt x="94" y="75"/>
                    <a:pt x="89" y="72"/>
                  </a:cubicBezTo>
                  <a:cubicBezTo>
                    <a:pt x="87" y="75"/>
                    <a:pt x="87" y="75"/>
                    <a:pt x="87" y="75"/>
                  </a:cubicBezTo>
                  <a:cubicBezTo>
                    <a:pt x="89" y="72"/>
                    <a:pt x="89" y="72"/>
                    <a:pt x="89" y="72"/>
                  </a:cubicBezTo>
                  <a:cubicBezTo>
                    <a:pt x="80" y="66"/>
                    <a:pt x="68" y="62"/>
                    <a:pt x="55" y="59"/>
                  </a:cubicBezTo>
                  <a:cubicBezTo>
                    <a:pt x="54" y="59"/>
                    <a:pt x="54" y="59"/>
                    <a:pt x="54" y="59"/>
                  </a:cubicBezTo>
                  <a:cubicBezTo>
                    <a:pt x="54" y="59"/>
                    <a:pt x="54" y="59"/>
                    <a:pt x="54" y="59"/>
                  </a:cubicBezTo>
                  <a:cubicBezTo>
                    <a:pt x="54" y="63"/>
                    <a:pt x="54" y="63"/>
                    <a:pt x="54" y="63"/>
                  </a:cubicBezTo>
                  <a:cubicBezTo>
                    <a:pt x="54" y="59"/>
                    <a:pt x="54" y="59"/>
                    <a:pt x="54" y="59"/>
                  </a:cubicBezTo>
                  <a:cubicBezTo>
                    <a:pt x="43" y="57"/>
                    <a:pt x="34" y="54"/>
                    <a:pt x="28" y="50"/>
                  </a:cubicBezTo>
                  <a:cubicBezTo>
                    <a:pt x="25" y="48"/>
                    <a:pt x="23" y="46"/>
                    <a:pt x="22" y="44"/>
                  </a:cubicBezTo>
                  <a:cubicBezTo>
                    <a:pt x="21" y="42"/>
                    <a:pt x="20" y="40"/>
                    <a:pt x="20" y="38"/>
                  </a:cubicBezTo>
                  <a:cubicBezTo>
                    <a:pt x="16" y="38"/>
                    <a:pt x="16" y="38"/>
                    <a:pt x="16" y="38"/>
                  </a:cubicBezTo>
                  <a:cubicBezTo>
                    <a:pt x="20" y="38"/>
                    <a:pt x="20" y="38"/>
                    <a:pt x="20" y="38"/>
                  </a:cubicBezTo>
                  <a:cubicBezTo>
                    <a:pt x="20" y="33"/>
                    <a:pt x="23" y="28"/>
                    <a:pt x="29" y="23"/>
                  </a:cubicBezTo>
                  <a:cubicBezTo>
                    <a:pt x="26" y="20"/>
                    <a:pt x="26" y="20"/>
                    <a:pt x="26" y="20"/>
                  </a:cubicBezTo>
                  <a:cubicBezTo>
                    <a:pt x="29" y="23"/>
                    <a:pt x="29" y="23"/>
                    <a:pt x="29" y="23"/>
                  </a:cubicBezTo>
                  <a:cubicBezTo>
                    <a:pt x="34" y="19"/>
                    <a:pt x="43" y="16"/>
                    <a:pt x="53" y="16"/>
                  </a:cubicBezTo>
                  <a:cubicBezTo>
                    <a:pt x="59" y="16"/>
                    <a:pt x="65" y="18"/>
                    <a:pt x="70" y="20"/>
                  </a:cubicBezTo>
                  <a:cubicBezTo>
                    <a:pt x="76" y="23"/>
                    <a:pt x="81" y="26"/>
                    <a:pt x="86" y="29"/>
                  </a:cubicBezTo>
                  <a:cubicBezTo>
                    <a:pt x="88" y="26"/>
                    <a:pt x="88" y="26"/>
                    <a:pt x="88" y="26"/>
                  </a:cubicBezTo>
                  <a:cubicBezTo>
                    <a:pt x="86" y="29"/>
                    <a:pt x="86" y="29"/>
                    <a:pt x="86" y="29"/>
                  </a:cubicBezTo>
                  <a:cubicBezTo>
                    <a:pt x="87" y="30"/>
                    <a:pt x="89" y="31"/>
                    <a:pt x="91" y="31"/>
                  </a:cubicBezTo>
                  <a:cubicBezTo>
                    <a:pt x="93" y="31"/>
                    <a:pt x="96" y="29"/>
                    <a:pt x="97" y="27"/>
                  </a:cubicBezTo>
                  <a:cubicBezTo>
                    <a:pt x="94" y="25"/>
                    <a:pt x="94" y="25"/>
                    <a:pt x="94" y="25"/>
                  </a:cubicBezTo>
                  <a:cubicBezTo>
                    <a:pt x="97" y="27"/>
                    <a:pt x="97" y="27"/>
                    <a:pt x="97" y="27"/>
                  </a:cubicBezTo>
                  <a:cubicBezTo>
                    <a:pt x="98" y="26"/>
                    <a:pt x="99" y="24"/>
                    <a:pt x="99" y="23"/>
                  </a:cubicBezTo>
                  <a:cubicBezTo>
                    <a:pt x="99" y="20"/>
                    <a:pt x="97" y="17"/>
                    <a:pt x="95" y="16"/>
                  </a:cubicBezTo>
                  <a:cubicBezTo>
                    <a:pt x="95" y="16"/>
                    <a:pt x="95" y="16"/>
                    <a:pt x="95" y="16"/>
                  </a:cubicBezTo>
                  <a:cubicBezTo>
                    <a:pt x="90" y="12"/>
                    <a:pt x="84" y="9"/>
                    <a:pt x="77" y="5"/>
                  </a:cubicBezTo>
                  <a:cubicBezTo>
                    <a:pt x="70" y="2"/>
                    <a:pt x="62" y="0"/>
                    <a:pt x="53" y="0"/>
                  </a:cubicBezTo>
                  <a:cubicBezTo>
                    <a:pt x="40" y="0"/>
                    <a:pt x="28" y="4"/>
                    <a:pt x="19" y="10"/>
                  </a:cubicBezTo>
                  <a:cubicBezTo>
                    <a:pt x="15" y="14"/>
                    <a:pt x="11" y="18"/>
                    <a:pt x="8" y="22"/>
                  </a:cubicBezTo>
                  <a:cubicBezTo>
                    <a:pt x="6" y="27"/>
                    <a:pt x="4" y="32"/>
                    <a:pt x="4" y="38"/>
                  </a:cubicBezTo>
                  <a:cubicBezTo>
                    <a:pt x="4" y="43"/>
                    <a:pt x="6" y="48"/>
                    <a:pt x="8" y="53"/>
                  </a:cubicBezTo>
                  <a:cubicBezTo>
                    <a:pt x="11" y="57"/>
                    <a:pt x="15" y="61"/>
                    <a:pt x="19" y="64"/>
                  </a:cubicBezTo>
                  <a:cubicBezTo>
                    <a:pt x="21" y="60"/>
                    <a:pt x="21" y="60"/>
                    <a:pt x="21" y="60"/>
                  </a:cubicBezTo>
                  <a:cubicBezTo>
                    <a:pt x="19" y="64"/>
                    <a:pt x="19" y="64"/>
                    <a:pt x="19" y="64"/>
                  </a:cubicBezTo>
                  <a:cubicBezTo>
                    <a:pt x="28" y="69"/>
                    <a:pt x="39" y="73"/>
                    <a:pt x="51" y="75"/>
                  </a:cubicBezTo>
                  <a:cubicBezTo>
                    <a:pt x="52" y="75"/>
                    <a:pt x="52" y="75"/>
                    <a:pt x="52" y="75"/>
                  </a:cubicBezTo>
                  <a:cubicBezTo>
                    <a:pt x="52" y="75"/>
                    <a:pt x="52" y="75"/>
                    <a:pt x="52" y="75"/>
                  </a:cubicBezTo>
                  <a:cubicBezTo>
                    <a:pt x="52" y="71"/>
                    <a:pt x="52" y="71"/>
                    <a:pt x="52" y="71"/>
                  </a:cubicBezTo>
                  <a:cubicBezTo>
                    <a:pt x="52" y="75"/>
                    <a:pt x="52" y="75"/>
                    <a:pt x="52" y="75"/>
                  </a:cubicBezTo>
                  <a:cubicBezTo>
                    <a:pt x="64" y="78"/>
                    <a:pt x="74" y="81"/>
                    <a:pt x="80" y="85"/>
                  </a:cubicBezTo>
                  <a:cubicBezTo>
                    <a:pt x="82" y="82"/>
                    <a:pt x="82" y="82"/>
                    <a:pt x="82" y="82"/>
                  </a:cubicBezTo>
                  <a:cubicBezTo>
                    <a:pt x="80" y="85"/>
                    <a:pt x="80" y="85"/>
                    <a:pt x="80" y="85"/>
                  </a:cubicBezTo>
                  <a:cubicBezTo>
                    <a:pt x="83" y="87"/>
                    <a:pt x="85" y="89"/>
                    <a:pt x="87" y="92"/>
                  </a:cubicBezTo>
                  <a:cubicBezTo>
                    <a:pt x="88" y="94"/>
                    <a:pt x="89" y="96"/>
                    <a:pt x="89" y="100"/>
                  </a:cubicBezTo>
                  <a:cubicBezTo>
                    <a:pt x="89" y="105"/>
                    <a:pt x="86" y="111"/>
                    <a:pt x="79" y="115"/>
                  </a:cubicBezTo>
                  <a:cubicBezTo>
                    <a:pt x="79" y="116"/>
                    <a:pt x="79" y="116"/>
                    <a:pt x="79" y="116"/>
                  </a:cubicBezTo>
                  <a:cubicBezTo>
                    <a:pt x="73" y="120"/>
                    <a:pt x="64" y="123"/>
                    <a:pt x="53" y="123"/>
                  </a:cubicBezTo>
                  <a:cubicBezTo>
                    <a:pt x="53" y="123"/>
                    <a:pt x="53" y="123"/>
                    <a:pt x="53" y="123"/>
                  </a:cubicBezTo>
                  <a:cubicBezTo>
                    <a:pt x="53" y="123"/>
                    <a:pt x="53" y="123"/>
                    <a:pt x="53" y="123"/>
                  </a:cubicBezTo>
                  <a:cubicBezTo>
                    <a:pt x="45" y="123"/>
                    <a:pt x="37" y="121"/>
                    <a:pt x="31" y="118"/>
                  </a:cubicBezTo>
                  <a:cubicBezTo>
                    <a:pt x="24" y="115"/>
                    <a:pt x="18" y="111"/>
                    <a:pt x="13" y="107"/>
                  </a:cubicBezTo>
                  <a:cubicBezTo>
                    <a:pt x="11" y="111"/>
                    <a:pt x="11" y="111"/>
                    <a:pt x="11" y="111"/>
                  </a:cubicBezTo>
                  <a:cubicBezTo>
                    <a:pt x="13" y="108"/>
                    <a:pt x="13" y="108"/>
                    <a:pt x="13" y="108"/>
                  </a:cubicBezTo>
                  <a:cubicBezTo>
                    <a:pt x="12" y="106"/>
                    <a:pt x="10" y="106"/>
                    <a:pt x="8" y="106"/>
                  </a:cubicBezTo>
                  <a:cubicBezTo>
                    <a:pt x="6" y="106"/>
                    <a:pt x="3" y="107"/>
                    <a:pt x="2" y="109"/>
                  </a:cubicBezTo>
                  <a:cubicBezTo>
                    <a:pt x="2" y="109"/>
                    <a:pt x="2" y="109"/>
                    <a:pt x="2" y="109"/>
                  </a:cubicBezTo>
                  <a:cubicBezTo>
                    <a:pt x="1" y="110"/>
                    <a:pt x="0" y="112"/>
                    <a:pt x="0" y="114"/>
                  </a:cubicBezTo>
                  <a:cubicBezTo>
                    <a:pt x="0" y="116"/>
                    <a:pt x="1" y="118"/>
                    <a:pt x="3" y="120"/>
                  </a:cubicBezTo>
                  <a:cubicBezTo>
                    <a:pt x="3" y="120"/>
                    <a:pt x="3" y="120"/>
                    <a:pt x="3" y="120"/>
                  </a:cubicBezTo>
                  <a:cubicBezTo>
                    <a:pt x="6" y="117"/>
                    <a:pt x="6" y="117"/>
                    <a:pt x="6" y="117"/>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13" y="118"/>
                    <a:pt x="20" y="122"/>
                    <a:pt x="27" y="125"/>
                  </a:cubicBezTo>
                  <a:cubicBezTo>
                    <a:pt x="35" y="129"/>
                    <a:pt x="44" y="131"/>
                    <a:pt x="53" y="131"/>
                  </a:cubicBezTo>
                  <a:cubicBezTo>
                    <a:pt x="53" y="131"/>
                    <a:pt x="53" y="131"/>
                    <a:pt x="53" y="131"/>
                  </a:cubicBezTo>
                  <a:cubicBezTo>
                    <a:pt x="53" y="131"/>
                    <a:pt x="53" y="131"/>
                    <a:pt x="53" y="131"/>
                  </a:cubicBezTo>
                  <a:cubicBezTo>
                    <a:pt x="65" y="131"/>
                    <a:pt x="76" y="128"/>
                    <a:pt x="84" y="122"/>
                  </a:cubicBezTo>
                  <a:cubicBezTo>
                    <a:pt x="82" y="119"/>
                    <a:pt x="82" y="119"/>
                    <a:pt x="82" y="119"/>
                  </a:cubicBezTo>
                  <a:cubicBezTo>
                    <a:pt x="84" y="122"/>
                    <a:pt x="84" y="122"/>
                    <a:pt x="84" y="122"/>
                  </a:cubicBezTo>
                  <a:cubicBezTo>
                    <a:pt x="92" y="116"/>
                    <a:pt x="97" y="108"/>
                    <a:pt x="97" y="100"/>
                  </a:cubicBezTo>
                  <a:cubicBezTo>
                    <a:pt x="97" y="95"/>
                    <a:pt x="96" y="91"/>
                    <a:pt x="94" y="88"/>
                  </a:cubicBezTo>
                  <a:cubicBezTo>
                    <a:pt x="91" y="84"/>
                    <a:pt x="88" y="81"/>
                    <a:pt x="84" y="78"/>
                  </a:cubicBezTo>
                  <a:cubicBezTo>
                    <a:pt x="84" y="78"/>
                    <a:pt x="84" y="78"/>
                    <a:pt x="84" y="78"/>
                  </a:cubicBezTo>
                  <a:cubicBezTo>
                    <a:pt x="77" y="73"/>
                    <a:pt x="66" y="70"/>
                    <a:pt x="53" y="67"/>
                  </a:cubicBezTo>
                  <a:cubicBezTo>
                    <a:pt x="52" y="67"/>
                    <a:pt x="52" y="67"/>
                    <a:pt x="52" y="67"/>
                  </a:cubicBezTo>
                  <a:cubicBezTo>
                    <a:pt x="52" y="67"/>
                    <a:pt x="52" y="67"/>
                    <a:pt x="52" y="67"/>
                  </a:cubicBezTo>
                  <a:cubicBezTo>
                    <a:pt x="52" y="71"/>
                    <a:pt x="52" y="71"/>
                    <a:pt x="52" y="71"/>
                  </a:cubicBezTo>
                  <a:cubicBezTo>
                    <a:pt x="53" y="67"/>
                    <a:pt x="53" y="67"/>
                    <a:pt x="53" y="67"/>
                  </a:cubicBezTo>
                  <a:cubicBezTo>
                    <a:pt x="41" y="65"/>
                    <a:pt x="31" y="62"/>
                    <a:pt x="24" y="57"/>
                  </a:cubicBezTo>
                  <a:cubicBezTo>
                    <a:pt x="24" y="57"/>
                    <a:pt x="24" y="57"/>
                    <a:pt x="24" y="57"/>
                  </a:cubicBezTo>
                  <a:cubicBezTo>
                    <a:pt x="20" y="55"/>
                    <a:pt x="17" y="52"/>
                    <a:pt x="15" y="49"/>
                  </a:cubicBezTo>
                  <a:cubicBezTo>
                    <a:pt x="13" y="45"/>
                    <a:pt x="12" y="42"/>
                    <a:pt x="12" y="38"/>
                  </a:cubicBezTo>
                  <a:cubicBezTo>
                    <a:pt x="12" y="34"/>
                    <a:pt x="13" y="30"/>
                    <a:pt x="15" y="26"/>
                  </a:cubicBezTo>
                  <a:cubicBezTo>
                    <a:pt x="17" y="23"/>
                    <a:pt x="20" y="19"/>
                    <a:pt x="24" y="17"/>
                  </a:cubicBezTo>
                  <a:cubicBezTo>
                    <a:pt x="31" y="11"/>
                    <a:pt x="41" y="8"/>
                    <a:pt x="53" y="8"/>
                  </a:cubicBezTo>
                  <a:cubicBezTo>
                    <a:pt x="61" y="8"/>
                    <a:pt x="68" y="10"/>
                    <a:pt x="74" y="13"/>
                  </a:cubicBezTo>
                  <a:cubicBezTo>
                    <a:pt x="80" y="16"/>
                    <a:pt x="85" y="19"/>
                    <a:pt x="91" y="22"/>
                  </a:cubicBezTo>
                  <a:cubicBezTo>
                    <a:pt x="93" y="19"/>
                    <a:pt x="93" y="19"/>
                    <a:pt x="93" y="19"/>
                  </a:cubicBezTo>
                  <a:cubicBezTo>
                    <a:pt x="90" y="22"/>
                    <a:pt x="90" y="22"/>
                    <a:pt x="90" y="22"/>
                  </a:cubicBezTo>
                  <a:cubicBezTo>
                    <a:pt x="91" y="22"/>
                    <a:pt x="91" y="22"/>
                    <a:pt x="91" y="22"/>
                  </a:cubicBezTo>
                  <a:cubicBezTo>
                    <a:pt x="91" y="23"/>
                    <a:pt x="91" y="23"/>
                    <a:pt x="91" y="23"/>
                  </a:cubicBezTo>
                  <a:cubicBezTo>
                    <a:pt x="90" y="23"/>
                    <a:pt x="90" y="23"/>
                    <a:pt x="90" y="23"/>
                  </a:cubicBezTo>
                  <a:cubicBezTo>
                    <a:pt x="90" y="23"/>
                    <a:pt x="90" y="23"/>
                    <a:pt x="90" y="23"/>
                  </a:cubicBezTo>
                  <a:cubicBezTo>
                    <a:pt x="91" y="23"/>
                    <a:pt x="91" y="23"/>
                    <a:pt x="91" y="23"/>
                  </a:cubicBezTo>
                  <a:cubicBezTo>
                    <a:pt x="91" y="23"/>
                    <a:pt x="91" y="23"/>
                    <a:pt x="91" y="23"/>
                  </a:cubicBezTo>
                  <a:cubicBezTo>
                    <a:pt x="90" y="23"/>
                    <a:pt x="90" y="23"/>
                    <a:pt x="90" y="23"/>
                  </a:cubicBezTo>
                  <a:cubicBezTo>
                    <a:pt x="91" y="23"/>
                    <a:pt x="91" y="23"/>
                    <a:pt x="91" y="23"/>
                  </a:cubicBezTo>
                  <a:cubicBezTo>
                    <a:pt x="91" y="23"/>
                    <a:pt x="91" y="23"/>
                    <a:pt x="91" y="23"/>
                  </a:cubicBezTo>
                  <a:cubicBezTo>
                    <a:pt x="91" y="23"/>
                    <a:pt x="91" y="23"/>
                    <a:pt x="91" y="23"/>
                  </a:cubicBezTo>
                  <a:cubicBezTo>
                    <a:pt x="91" y="23"/>
                    <a:pt x="91" y="23"/>
                    <a:pt x="91" y="23"/>
                  </a:cubicBezTo>
                  <a:cubicBezTo>
                    <a:pt x="91" y="23"/>
                    <a:pt x="91" y="23"/>
                    <a:pt x="91" y="23"/>
                  </a:cubicBezTo>
                  <a:cubicBezTo>
                    <a:pt x="91" y="23"/>
                    <a:pt x="91" y="23"/>
                    <a:pt x="91" y="23"/>
                  </a:cubicBezTo>
                  <a:cubicBezTo>
                    <a:pt x="91" y="23"/>
                    <a:pt x="91" y="23"/>
                    <a:pt x="91" y="23"/>
                  </a:cubicBezTo>
                  <a:cubicBezTo>
                    <a:pt x="90" y="23"/>
                    <a:pt x="90" y="23"/>
                    <a:pt x="90" y="23"/>
                  </a:cubicBezTo>
                  <a:cubicBezTo>
                    <a:pt x="85" y="19"/>
                    <a:pt x="80" y="16"/>
                    <a:pt x="74" y="13"/>
                  </a:cubicBezTo>
                  <a:cubicBezTo>
                    <a:pt x="68" y="10"/>
                    <a:pt x="61" y="8"/>
                    <a:pt x="53" y="8"/>
                  </a:cubicBezTo>
                  <a:cubicBezTo>
                    <a:pt x="41" y="8"/>
                    <a:pt x="31" y="12"/>
                    <a:pt x="24" y="17"/>
                  </a:cubicBezTo>
                  <a:cubicBezTo>
                    <a:pt x="24" y="17"/>
                    <a:pt x="24" y="17"/>
                    <a:pt x="24" y="17"/>
                  </a:cubicBezTo>
                  <a:cubicBezTo>
                    <a:pt x="17" y="22"/>
                    <a:pt x="12" y="30"/>
                    <a:pt x="12" y="38"/>
                  </a:cubicBezTo>
                  <a:cubicBezTo>
                    <a:pt x="12" y="38"/>
                    <a:pt x="12" y="38"/>
                    <a:pt x="12" y="38"/>
                  </a:cubicBezTo>
                  <a:cubicBezTo>
                    <a:pt x="12" y="42"/>
                    <a:pt x="13" y="45"/>
                    <a:pt x="15" y="48"/>
                  </a:cubicBezTo>
                  <a:cubicBezTo>
                    <a:pt x="17" y="52"/>
                    <a:pt x="20" y="54"/>
                    <a:pt x="24" y="57"/>
                  </a:cubicBezTo>
                  <a:cubicBezTo>
                    <a:pt x="31" y="62"/>
                    <a:pt x="41" y="65"/>
                    <a:pt x="53" y="67"/>
                  </a:cubicBezTo>
                  <a:cubicBezTo>
                    <a:pt x="54" y="67"/>
                    <a:pt x="54" y="67"/>
                    <a:pt x="54" y="67"/>
                  </a:cubicBezTo>
                  <a:cubicBezTo>
                    <a:pt x="54" y="67"/>
                    <a:pt x="54" y="67"/>
                    <a:pt x="54" y="67"/>
                  </a:cubicBezTo>
                  <a:cubicBezTo>
                    <a:pt x="54" y="63"/>
                    <a:pt x="54" y="63"/>
                    <a:pt x="54" y="63"/>
                  </a:cubicBezTo>
                  <a:cubicBezTo>
                    <a:pt x="53" y="67"/>
                    <a:pt x="53" y="67"/>
                    <a:pt x="53" y="67"/>
                  </a:cubicBezTo>
                  <a:cubicBezTo>
                    <a:pt x="66" y="70"/>
                    <a:pt x="77" y="73"/>
                    <a:pt x="85" y="78"/>
                  </a:cubicBezTo>
                  <a:cubicBezTo>
                    <a:pt x="85" y="78"/>
                    <a:pt x="85" y="78"/>
                    <a:pt x="85" y="78"/>
                  </a:cubicBezTo>
                  <a:cubicBezTo>
                    <a:pt x="88" y="81"/>
                    <a:pt x="92" y="84"/>
                    <a:pt x="94" y="88"/>
                  </a:cubicBezTo>
                  <a:cubicBezTo>
                    <a:pt x="96" y="91"/>
                    <a:pt x="97" y="95"/>
                    <a:pt x="97" y="100"/>
                  </a:cubicBezTo>
                  <a:cubicBezTo>
                    <a:pt x="97" y="104"/>
                    <a:pt x="96" y="108"/>
                    <a:pt x="94" y="112"/>
                  </a:cubicBezTo>
                  <a:cubicBezTo>
                    <a:pt x="91" y="116"/>
                    <a:pt x="88" y="119"/>
                    <a:pt x="84" y="122"/>
                  </a:cubicBezTo>
                  <a:cubicBezTo>
                    <a:pt x="76" y="128"/>
                    <a:pt x="65" y="132"/>
                    <a:pt x="53" y="132"/>
                  </a:cubicBezTo>
                  <a:cubicBezTo>
                    <a:pt x="53" y="132"/>
                    <a:pt x="53" y="132"/>
                    <a:pt x="53" y="132"/>
                  </a:cubicBezTo>
                  <a:cubicBezTo>
                    <a:pt x="35" y="131"/>
                    <a:pt x="18" y="122"/>
                    <a:pt x="8" y="114"/>
                  </a:cubicBezTo>
                  <a:cubicBezTo>
                    <a:pt x="6" y="117"/>
                    <a:pt x="6" y="117"/>
                    <a:pt x="6" y="117"/>
                  </a:cubicBezTo>
                  <a:cubicBezTo>
                    <a:pt x="8" y="114"/>
                    <a:pt x="8" y="114"/>
                    <a:pt x="8" y="114"/>
                  </a:cubicBezTo>
                  <a:cubicBezTo>
                    <a:pt x="6" y="117"/>
                    <a:pt x="6" y="117"/>
                    <a:pt x="6" y="1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5" name="Freeform 162">
              <a:extLst>
                <a:ext uri="{FF2B5EF4-FFF2-40B4-BE49-F238E27FC236}">
                  <a16:creationId xmlns:a16="http://schemas.microsoft.com/office/drawing/2014/main" id="{8E124C93-D486-48F1-91BC-FA8E1B4A8992}"/>
                </a:ext>
              </a:extLst>
            </p:cNvPr>
            <p:cNvSpPr>
              <a:spLocks/>
            </p:cNvSpPr>
            <p:nvPr userDrawn="1"/>
          </p:nvSpPr>
          <p:spPr bwMode="auto">
            <a:xfrm flipH="1">
              <a:off x="9436410" y="1641738"/>
              <a:ext cx="2745908" cy="3428650"/>
            </a:xfrm>
            <a:custGeom>
              <a:avLst/>
              <a:gdLst>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16264 h 3730235"/>
                <a:gd name="connsiteX8" fmla="*/ 66806 w 2776923"/>
                <a:gd name="connsiteY8" fmla="*/ 3441370 h 3730235"/>
                <a:gd name="connsiteX9" fmla="*/ 699064 w 2776923"/>
                <a:gd name="connsiteY9" fmla="*/ 3730235 h 3730235"/>
                <a:gd name="connsiteX10" fmla="*/ 1872367 w 2776923"/>
                <a:gd name="connsiteY10" fmla="*/ 2731012 h 3730235"/>
                <a:gd name="connsiteX11" fmla="*/ 2770059 w 2776923"/>
                <a:gd name="connsiteY11" fmla="*/ 2234277 h 3730235"/>
                <a:gd name="connsiteX12" fmla="*/ 1409197 w 2776923"/>
                <a:gd name="connsiteY12" fmla="*/ 555257 h 3730235"/>
                <a:gd name="connsiteX13" fmla="*/ 1046978 w 2776923"/>
                <a:gd name="connsiteY13" fmla="*/ 760 h 3730235"/>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16264 h 3730235"/>
                <a:gd name="connsiteX8" fmla="*/ 699064 w 2776923"/>
                <a:gd name="connsiteY8" fmla="*/ 3730235 h 3730235"/>
                <a:gd name="connsiteX9" fmla="*/ 1872367 w 2776923"/>
                <a:gd name="connsiteY9" fmla="*/ 2731012 h 3730235"/>
                <a:gd name="connsiteX10" fmla="*/ 2770059 w 2776923"/>
                <a:gd name="connsiteY10" fmla="*/ 2234277 h 3730235"/>
                <a:gd name="connsiteX11" fmla="*/ 1409197 w 2776923"/>
                <a:gd name="connsiteY11" fmla="*/ 555257 h 3730235"/>
                <a:gd name="connsiteX12" fmla="*/ 1046978 w 2776923"/>
                <a:gd name="connsiteY12" fmla="*/ 760 h 3730235"/>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40740 h 3730235"/>
                <a:gd name="connsiteX8" fmla="*/ 699064 w 2776923"/>
                <a:gd name="connsiteY8" fmla="*/ 3730235 h 3730235"/>
                <a:gd name="connsiteX9" fmla="*/ 1872367 w 2776923"/>
                <a:gd name="connsiteY9" fmla="*/ 2731012 h 3730235"/>
                <a:gd name="connsiteX10" fmla="*/ 2770059 w 2776923"/>
                <a:gd name="connsiteY10" fmla="*/ 2234277 h 3730235"/>
                <a:gd name="connsiteX11" fmla="*/ 1409197 w 2776923"/>
                <a:gd name="connsiteY11" fmla="*/ 555257 h 3730235"/>
                <a:gd name="connsiteX12" fmla="*/ 1046978 w 2776923"/>
                <a:gd name="connsiteY12" fmla="*/ 760 h 3730235"/>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40740 h 3730235"/>
                <a:gd name="connsiteX8" fmla="*/ 699064 w 2776923"/>
                <a:gd name="connsiteY8" fmla="*/ 3730235 h 3730235"/>
                <a:gd name="connsiteX9" fmla="*/ 1067661 w 2776923"/>
                <a:gd name="connsiteY9" fmla="*/ 3428515 h 3730235"/>
                <a:gd name="connsiteX10" fmla="*/ 1872367 w 2776923"/>
                <a:gd name="connsiteY10" fmla="*/ 2731012 h 3730235"/>
                <a:gd name="connsiteX11" fmla="*/ 2770059 w 2776923"/>
                <a:gd name="connsiteY11" fmla="*/ 2234277 h 3730235"/>
                <a:gd name="connsiteX12" fmla="*/ 1409197 w 2776923"/>
                <a:gd name="connsiteY12" fmla="*/ 555257 h 3730235"/>
                <a:gd name="connsiteX13" fmla="*/ 1046978 w 2776923"/>
                <a:gd name="connsiteY13" fmla="*/ 760 h 3730235"/>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40740 h 3730235"/>
                <a:gd name="connsiteX8" fmla="*/ 699064 w 2776923"/>
                <a:gd name="connsiteY8" fmla="*/ 3730235 h 3730235"/>
                <a:gd name="connsiteX9" fmla="*/ 1067661 w 2776923"/>
                <a:gd name="connsiteY9" fmla="*/ 3428515 h 3730235"/>
                <a:gd name="connsiteX10" fmla="*/ 1872367 w 2776923"/>
                <a:gd name="connsiteY10" fmla="*/ 2731012 h 3730235"/>
                <a:gd name="connsiteX11" fmla="*/ 2770059 w 2776923"/>
                <a:gd name="connsiteY11" fmla="*/ 2234277 h 3730235"/>
                <a:gd name="connsiteX12" fmla="*/ 1409197 w 2776923"/>
                <a:gd name="connsiteY12" fmla="*/ 555257 h 3730235"/>
                <a:gd name="connsiteX13" fmla="*/ 1046978 w 2776923"/>
                <a:gd name="connsiteY13" fmla="*/ 760 h 3730235"/>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40740 h 3730235"/>
                <a:gd name="connsiteX8" fmla="*/ 699064 w 2776923"/>
                <a:gd name="connsiteY8" fmla="*/ 3730235 h 3730235"/>
                <a:gd name="connsiteX9" fmla="*/ 1067661 w 2776923"/>
                <a:gd name="connsiteY9" fmla="*/ 3428515 h 3730235"/>
                <a:gd name="connsiteX10" fmla="*/ 1872367 w 2776923"/>
                <a:gd name="connsiteY10" fmla="*/ 2731012 h 3730235"/>
                <a:gd name="connsiteX11" fmla="*/ 2770059 w 2776923"/>
                <a:gd name="connsiteY11" fmla="*/ 2234277 h 3730235"/>
                <a:gd name="connsiteX12" fmla="*/ 1409197 w 2776923"/>
                <a:gd name="connsiteY12" fmla="*/ 555257 h 3730235"/>
                <a:gd name="connsiteX13" fmla="*/ 1046978 w 2776923"/>
                <a:gd name="connsiteY13" fmla="*/ 760 h 3730235"/>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40740 h 3730235"/>
                <a:gd name="connsiteX8" fmla="*/ 699064 w 2776923"/>
                <a:gd name="connsiteY8" fmla="*/ 3730235 h 3730235"/>
                <a:gd name="connsiteX9" fmla="*/ 1067661 w 2776923"/>
                <a:gd name="connsiteY9" fmla="*/ 3428515 h 3730235"/>
                <a:gd name="connsiteX10" fmla="*/ 1872367 w 2776923"/>
                <a:gd name="connsiteY10" fmla="*/ 2731012 h 3730235"/>
                <a:gd name="connsiteX11" fmla="*/ 2770059 w 2776923"/>
                <a:gd name="connsiteY11" fmla="*/ 2234277 h 3730235"/>
                <a:gd name="connsiteX12" fmla="*/ 1409197 w 2776923"/>
                <a:gd name="connsiteY12" fmla="*/ 555257 h 3730235"/>
                <a:gd name="connsiteX13" fmla="*/ 1046978 w 2776923"/>
                <a:gd name="connsiteY13" fmla="*/ 760 h 3730235"/>
                <a:gd name="connsiteX0" fmla="*/ 1046978 w 2776923"/>
                <a:gd name="connsiteY0" fmla="*/ 760 h 3730235"/>
                <a:gd name="connsiteX1" fmla="*/ 967136 w 2776923"/>
                <a:gd name="connsiteY1" fmla="*/ 15548 h 3730235"/>
                <a:gd name="connsiteX2" fmla="*/ 967136 w 2776923"/>
                <a:gd name="connsiteY2" fmla="*/ 645604 h 3730235"/>
                <a:gd name="connsiteX3" fmla="*/ 828125 w 2776923"/>
                <a:gd name="connsiteY3" fmla="*/ 1324385 h 3730235"/>
                <a:gd name="connsiteX4" fmla="*/ 996385 w 2776923"/>
                <a:gd name="connsiteY4" fmla="*/ 2037004 h 3730235"/>
                <a:gd name="connsiteX5" fmla="*/ 123573 w 2776923"/>
                <a:gd name="connsiteY5" fmla="*/ 2530213 h 3730235"/>
                <a:gd name="connsiteX6" fmla="*/ 0 w 2776923"/>
                <a:gd name="connsiteY6" fmla="*/ 2607726 h 3730235"/>
                <a:gd name="connsiteX7" fmla="*/ 0 w 2776923"/>
                <a:gd name="connsiteY7" fmla="*/ 3440740 h 3730235"/>
                <a:gd name="connsiteX8" fmla="*/ 699064 w 2776923"/>
                <a:gd name="connsiteY8" fmla="*/ 3730235 h 3730235"/>
                <a:gd name="connsiteX9" fmla="*/ 1067661 w 2776923"/>
                <a:gd name="connsiteY9" fmla="*/ 3428515 h 3730235"/>
                <a:gd name="connsiteX10" fmla="*/ 1872367 w 2776923"/>
                <a:gd name="connsiteY10" fmla="*/ 2731012 h 3730235"/>
                <a:gd name="connsiteX11" fmla="*/ 2770059 w 2776923"/>
                <a:gd name="connsiteY11" fmla="*/ 2234277 h 3730235"/>
                <a:gd name="connsiteX12" fmla="*/ 1409197 w 2776923"/>
                <a:gd name="connsiteY12" fmla="*/ 555257 h 3730235"/>
                <a:gd name="connsiteX13" fmla="*/ 1046978 w 2776923"/>
                <a:gd name="connsiteY13" fmla="*/ 760 h 3730235"/>
                <a:gd name="connsiteX0" fmla="*/ 1046978 w 2776923"/>
                <a:gd name="connsiteY0" fmla="*/ 760 h 3440740"/>
                <a:gd name="connsiteX1" fmla="*/ 967136 w 2776923"/>
                <a:gd name="connsiteY1" fmla="*/ 15548 h 3440740"/>
                <a:gd name="connsiteX2" fmla="*/ 967136 w 2776923"/>
                <a:gd name="connsiteY2" fmla="*/ 645604 h 3440740"/>
                <a:gd name="connsiteX3" fmla="*/ 828125 w 2776923"/>
                <a:gd name="connsiteY3" fmla="*/ 1324385 h 3440740"/>
                <a:gd name="connsiteX4" fmla="*/ 996385 w 2776923"/>
                <a:gd name="connsiteY4" fmla="*/ 2037004 h 3440740"/>
                <a:gd name="connsiteX5" fmla="*/ 123573 w 2776923"/>
                <a:gd name="connsiteY5" fmla="*/ 2530213 h 3440740"/>
                <a:gd name="connsiteX6" fmla="*/ 0 w 2776923"/>
                <a:gd name="connsiteY6" fmla="*/ 2607726 h 3440740"/>
                <a:gd name="connsiteX7" fmla="*/ 0 w 2776923"/>
                <a:gd name="connsiteY7" fmla="*/ 3440740 h 3440740"/>
                <a:gd name="connsiteX8" fmla="*/ 1067661 w 2776923"/>
                <a:gd name="connsiteY8" fmla="*/ 3428515 h 3440740"/>
                <a:gd name="connsiteX9" fmla="*/ 1872367 w 2776923"/>
                <a:gd name="connsiteY9" fmla="*/ 2731012 h 3440740"/>
                <a:gd name="connsiteX10" fmla="*/ 2770059 w 2776923"/>
                <a:gd name="connsiteY10" fmla="*/ 2234277 h 3440740"/>
                <a:gd name="connsiteX11" fmla="*/ 1409197 w 2776923"/>
                <a:gd name="connsiteY11" fmla="*/ 555257 h 3440740"/>
                <a:gd name="connsiteX12" fmla="*/ 1046978 w 2776923"/>
                <a:gd name="connsiteY12" fmla="*/ 760 h 344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6923" h="3440740">
                  <a:moveTo>
                    <a:pt x="1046978" y="760"/>
                  </a:moveTo>
                  <a:cubicBezTo>
                    <a:pt x="1010464" y="-2512"/>
                    <a:pt x="981685" y="5228"/>
                    <a:pt x="967136" y="15548"/>
                  </a:cubicBezTo>
                  <a:cubicBezTo>
                    <a:pt x="910747" y="56830"/>
                    <a:pt x="1000909" y="472694"/>
                    <a:pt x="967136" y="645604"/>
                  </a:cubicBezTo>
                  <a:cubicBezTo>
                    <a:pt x="935172" y="816822"/>
                    <a:pt x="820285" y="1209676"/>
                    <a:pt x="828125" y="1324385"/>
                  </a:cubicBezTo>
                  <a:cubicBezTo>
                    <a:pt x="832648" y="1388676"/>
                    <a:pt x="921301" y="1720284"/>
                    <a:pt x="996385" y="2037004"/>
                  </a:cubicBezTo>
                  <a:cubicBezTo>
                    <a:pt x="737624" y="2196252"/>
                    <a:pt x="392994" y="2369246"/>
                    <a:pt x="123573" y="2530213"/>
                  </a:cubicBezTo>
                  <a:lnTo>
                    <a:pt x="0" y="2607726"/>
                  </a:lnTo>
                  <a:lnTo>
                    <a:pt x="0" y="3440740"/>
                  </a:lnTo>
                  <a:lnTo>
                    <a:pt x="1067661" y="3428515"/>
                  </a:lnTo>
                  <a:cubicBezTo>
                    <a:pt x="1263211" y="3261978"/>
                    <a:pt x="1401882" y="2905576"/>
                    <a:pt x="1872367" y="2731012"/>
                  </a:cubicBezTo>
                  <a:cubicBezTo>
                    <a:pt x="2255929" y="2567238"/>
                    <a:pt x="2847254" y="2597015"/>
                    <a:pt x="2770059" y="2234277"/>
                  </a:cubicBezTo>
                  <a:cubicBezTo>
                    <a:pt x="2770059" y="2234277"/>
                    <a:pt x="1506897" y="1136248"/>
                    <a:pt x="1409197" y="555257"/>
                  </a:cubicBezTo>
                  <a:cubicBezTo>
                    <a:pt x="1335696" y="119514"/>
                    <a:pt x="1156523" y="10579"/>
                    <a:pt x="1046978" y="760"/>
                  </a:cubicBezTo>
                  <a:close/>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6" name="Freeform 99">
              <a:extLst>
                <a:ext uri="{FF2B5EF4-FFF2-40B4-BE49-F238E27FC236}">
                  <a16:creationId xmlns:a16="http://schemas.microsoft.com/office/drawing/2014/main" id="{8E4145C9-A25C-4FB7-9ECD-9272973BEEFD}"/>
                </a:ext>
              </a:extLst>
            </p:cNvPr>
            <p:cNvSpPr>
              <a:spLocks noEditPoints="1"/>
            </p:cNvSpPr>
            <p:nvPr userDrawn="1"/>
          </p:nvSpPr>
          <p:spPr bwMode="auto">
            <a:xfrm flipH="1">
              <a:off x="9911926" y="4287462"/>
              <a:ext cx="428523" cy="87425"/>
            </a:xfrm>
            <a:custGeom>
              <a:avLst/>
              <a:gdLst>
                <a:gd name="T0" fmla="*/ 0 w 281"/>
                <a:gd name="T1" fmla="*/ 56 h 57"/>
                <a:gd name="T2" fmla="*/ 0 w 281"/>
                <a:gd name="T3" fmla="*/ 57 h 57"/>
                <a:gd name="T4" fmla="*/ 0 w 281"/>
                <a:gd name="T5" fmla="*/ 57 h 57"/>
                <a:gd name="T6" fmla="*/ 0 w 281"/>
                <a:gd name="T7" fmla="*/ 56 h 57"/>
                <a:gd name="T8" fmla="*/ 120 w 281"/>
                <a:gd name="T9" fmla="*/ 47 h 57"/>
                <a:gd name="T10" fmla="*/ 16 w 281"/>
                <a:gd name="T11" fmla="*/ 57 h 57"/>
                <a:gd name="T12" fmla="*/ 0 w 281"/>
                <a:gd name="T13" fmla="*/ 56 h 57"/>
                <a:gd name="T14" fmla="*/ 16 w 281"/>
                <a:gd name="T15" fmla="*/ 57 h 57"/>
                <a:gd name="T16" fmla="*/ 120 w 281"/>
                <a:gd name="T17" fmla="*/ 47 h 57"/>
                <a:gd name="T18" fmla="*/ 281 w 281"/>
                <a:gd name="T19" fmla="*/ 0 h 57"/>
                <a:gd name="T20" fmla="*/ 281 w 281"/>
                <a:gd name="T21" fmla="*/ 0 h 57"/>
                <a:gd name="T22" fmla="*/ 120 w 281"/>
                <a:gd name="T23" fmla="*/ 47 h 57"/>
                <a:gd name="T24" fmla="*/ 281 w 281"/>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1" h="57">
                  <a:moveTo>
                    <a:pt x="0" y="56"/>
                  </a:moveTo>
                  <a:cubicBezTo>
                    <a:pt x="0" y="57"/>
                    <a:pt x="0" y="57"/>
                    <a:pt x="0" y="57"/>
                  </a:cubicBezTo>
                  <a:cubicBezTo>
                    <a:pt x="0" y="57"/>
                    <a:pt x="0" y="57"/>
                    <a:pt x="0" y="57"/>
                  </a:cubicBezTo>
                  <a:cubicBezTo>
                    <a:pt x="0" y="56"/>
                    <a:pt x="0" y="56"/>
                    <a:pt x="0" y="56"/>
                  </a:cubicBezTo>
                  <a:moveTo>
                    <a:pt x="120" y="47"/>
                  </a:moveTo>
                  <a:cubicBezTo>
                    <a:pt x="86" y="54"/>
                    <a:pt x="51" y="57"/>
                    <a:pt x="16" y="57"/>
                  </a:cubicBezTo>
                  <a:cubicBezTo>
                    <a:pt x="11" y="57"/>
                    <a:pt x="5" y="57"/>
                    <a:pt x="0" y="56"/>
                  </a:cubicBezTo>
                  <a:cubicBezTo>
                    <a:pt x="5" y="57"/>
                    <a:pt x="11" y="57"/>
                    <a:pt x="16" y="57"/>
                  </a:cubicBezTo>
                  <a:cubicBezTo>
                    <a:pt x="51" y="57"/>
                    <a:pt x="86" y="54"/>
                    <a:pt x="120" y="47"/>
                  </a:cubicBezTo>
                  <a:moveTo>
                    <a:pt x="281" y="0"/>
                  </a:moveTo>
                  <a:cubicBezTo>
                    <a:pt x="281" y="0"/>
                    <a:pt x="281" y="0"/>
                    <a:pt x="281" y="0"/>
                  </a:cubicBezTo>
                  <a:cubicBezTo>
                    <a:pt x="234" y="18"/>
                    <a:pt x="181" y="35"/>
                    <a:pt x="120" y="47"/>
                  </a:cubicBezTo>
                  <a:cubicBezTo>
                    <a:pt x="181" y="35"/>
                    <a:pt x="234" y="18"/>
                    <a:pt x="281" y="0"/>
                  </a:cubicBezTo>
                </a:path>
              </a:pathLst>
            </a:custGeom>
            <a:solidFill>
              <a:srgbClr val="54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7" name="Freeform 101">
              <a:extLst>
                <a:ext uri="{FF2B5EF4-FFF2-40B4-BE49-F238E27FC236}">
                  <a16:creationId xmlns:a16="http://schemas.microsoft.com/office/drawing/2014/main" id="{8D99271C-F17F-4E05-B233-24C1DE333E8E}"/>
                </a:ext>
              </a:extLst>
            </p:cNvPr>
            <p:cNvSpPr>
              <a:spLocks/>
            </p:cNvSpPr>
            <p:nvPr userDrawn="1"/>
          </p:nvSpPr>
          <p:spPr bwMode="auto">
            <a:xfrm flipH="1">
              <a:off x="8791174" y="1628900"/>
              <a:ext cx="667865" cy="752424"/>
            </a:xfrm>
            <a:custGeom>
              <a:avLst/>
              <a:gdLst>
                <a:gd name="T0" fmla="*/ 372 w 437"/>
                <a:gd name="T1" fmla="*/ 42 h 492"/>
                <a:gd name="T2" fmla="*/ 401 w 437"/>
                <a:gd name="T3" fmla="*/ 198 h 492"/>
                <a:gd name="T4" fmla="*/ 222 w 437"/>
                <a:gd name="T5" fmla="*/ 445 h 492"/>
                <a:gd name="T6" fmla="*/ 64 w 437"/>
                <a:gd name="T7" fmla="*/ 451 h 492"/>
                <a:gd name="T8" fmla="*/ 36 w 437"/>
                <a:gd name="T9" fmla="*/ 295 h 492"/>
                <a:gd name="T10" fmla="*/ 214 w 437"/>
                <a:gd name="T11" fmla="*/ 48 h 492"/>
                <a:gd name="T12" fmla="*/ 372 w 437"/>
                <a:gd name="T13" fmla="*/ 42 h 492"/>
              </a:gdLst>
              <a:ahLst/>
              <a:cxnLst>
                <a:cxn ang="0">
                  <a:pos x="T0" y="T1"/>
                </a:cxn>
                <a:cxn ang="0">
                  <a:pos x="T2" y="T3"/>
                </a:cxn>
                <a:cxn ang="0">
                  <a:pos x="T4" y="T5"/>
                </a:cxn>
                <a:cxn ang="0">
                  <a:pos x="T6" y="T7"/>
                </a:cxn>
                <a:cxn ang="0">
                  <a:pos x="T8" y="T9"/>
                </a:cxn>
                <a:cxn ang="0">
                  <a:pos x="T10" y="T11"/>
                </a:cxn>
                <a:cxn ang="0">
                  <a:pos x="T12" y="T13"/>
                </a:cxn>
              </a:cxnLst>
              <a:rect l="0" t="0" r="r" b="b"/>
              <a:pathLst>
                <a:path w="437" h="492">
                  <a:moveTo>
                    <a:pt x="372" y="42"/>
                  </a:moveTo>
                  <a:cubicBezTo>
                    <a:pt x="424" y="83"/>
                    <a:pt x="437" y="153"/>
                    <a:pt x="401" y="198"/>
                  </a:cubicBezTo>
                  <a:cubicBezTo>
                    <a:pt x="222" y="445"/>
                    <a:pt x="222" y="445"/>
                    <a:pt x="222" y="445"/>
                  </a:cubicBezTo>
                  <a:cubicBezTo>
                    <a:pt x="186" y="489"/>
                    <a:pt x="115" y="492"/>
                    <a:pt x="64" y="451"/>
                  </a:cubicBezTo>
                  <a:cubicBezTo>
                    <a:pt x="12" y="409"/>
                    <a:pt x="0" y="339"/>
                    <a:pt x="36" y="295"/>
                  </a:cubicBezTo>
                  <a:cubicBezTo>
                    <a:pt x="214" y="48"/>
                    <a:pt x="214" y="48"/>
                    <a:pt x="214" y="48"/>
                  </a:cubicBezTo>
                  <a:cubicBezTo>
                    <a:pt x="250" y="3"/>
                    <a:pt x="321" y="0"/>
                    <a:pt x="372" y="42"/>
                  </a:cubicBezTo>
                </a:path>
              </a:pathLst>
            </a:custGeom>
            <a:solidFill>
              <a:srgbClr val="FF304C">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98" name="Freeform 102">
              <a:extLst>
                <a:ext uri="{FF2B5EF4-FFF2-40B4-BE49-F238E27FC236}">
                  <a16:creationId xmlns:a16="http://schemas.microsoft.com/office/drawing/2014/main" id="{6D3F937F-1382-4B7B-B7CA-33A0DD4EF7E9}"/>
                </a:ext>
              </a:extLst>
            </p:cNvPr>
            <p:cNvSpPr>
              <a:spLocks/>
            </p:cNvSpPr>
            <p:nvPr userDrawn="1"/>
          </p:nvSpPr>
          <p:spPr bwMode="auto">
            <a:xfrm flipH="1">
              <a:off x="9069212" y="819149"/>
              <a:ext cx="1881775" cy="3468313"/>
            </a:xfrm>
            <a:custGeom>
              <a:avLst/>
              <a:gdLst>
                <a:gd name="T0" fmla="*/ 1231 w 1231"/>
                <a:gd name="T1" fmla="*/ 2172 h 2268"/>
                <a:gd name="T2" fmla="*/ 1135 w 1231"/>
                <a:gd name="T3" fmla="*/ 2268 h 2268"/>
                <a:gd name="T4" fmla="*/ 95 w 1231"/>
                <a:gd name="T5" fmla="*/ 2268 h 2268"/>
                <a:gd name="T6" fmla="*/ 0 w 1231"/>
                <a:gd name="T7" fmla="*/ 2172 h 2268"/>
                <a:gd name="T8" fmla="*/ 0 w 1231"/>
                <a:gd name="T9" fmla="*/ 96 h 2268"/>
                <a:gd name="T10" fmla="*/ 95 w 1231"/>
                <a:gd name="T11" fmla="*/ 0 h 2268"/>
                <a:gd name="T12" fmla="*/ 1135 w 1231"/>
                <a:gd name="T13" fmla="*/ 0 h 2268"/>
                <a:gd name="T14" fmla="*/ 1231 w 1231"/>
                <a:gd name="T15" fmla="*/ 96 h 2268"/>
                <a:gd name="T16" fmla="*/ 1231 w 1231"/>
                <a:gd name="T17" fmla="*/ 2172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1" h="2268">
                  <a:moveTo>
                    <a:pt x="1231" y="2172"/>
                  </a:moveTo>
                  <a:cubicBezTo>
                    <a:pt x="1231" y="2225"/>
                    <a:pt x="1188" y="2268"/>
                    <a:pt x="1135" y="2268"/>
                  </a:cubicBezTo>
                  <a:cubicBezTo>
                    <a:pt x="95" y="2268"/>
                    <a:pt x="95" y="2268"/>
                    <a:pt x="95" y="2268"/>
                  </a:cubicBezTo>
                  <a:cubicBezTo>
                    <a:pt x="43" y="2268"/>
                    <a:pt x="0" y="2225"/>
                    <a:pt x="0" y="2172"/>
                  </a:cubicBezTo>
                  <a:cubicBezTo>
                    <a:pt x="0" y="96"/>
                    <a:pt x="0" y="96"/>
                    <a:pt x="0" y="96"/>
                  </a:cubicBezTo>
                  <a:cubicBezTo>
                    <a:pt x="0" y="43"/>
                    <a:pt x="43" y="0"/>
                    <a:pt x="95" y="0"/>
                  </a:cubicBezTo>
                  <a:cubicBezTo>
                    <a:pt x="1135" y="0"/>
                    <a:pt x="1135" y="0"/>
                    <a:pt x="1135" y="0"/>
                  </a:cubicBezTo>
                  <a:cubicBezTo>
                    <a:pt x="1188" y="0"/>
                    <a:pt x="1231" y="43"/>
                    <a:pt x="1231" y="96"/>
                  </a:cubicBezTo>
                  <a:cubicBezTo>
                    <a:pt x="1231" y="2172"/>
                    <a:pt x="1231" y="2172"/>
                    <a:pt x="1231" y="2172"/>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9" name="Rectangle 103">
              <a:extLst>
                <a:ext uri="{FF2B5EF4-FFF2-40B4-BE49-F238E27FC236}">
                  <a16:creationId xmlns:a16="http://schemas.microsoft.com/office/drawing/2014/main" id="{00CE7D40-FC34-4F27-BAF4-2BC42FD7D0E5}"/>
                </a:ext>
              </a:extLst>
            </p:cNvPr>
            <p:cNvSpPr>
              <a:spLocks noChangeArrowheads="1"/>
            </p:cNvSpPr>
            <p:nvPr userDrawn="1"/>
          </p:nvSpPr>
          <p:spPr bwMode="auto">
            <a:xfrm flipH="1">
              <a:off x="9069212" y="1107220"/>
              <a:ext cx="1881775" cy="2611267"/>
            </a:xfrm>
            <a:prstGeom prst="rect">
              <a:avLst/>
            </a:prstGeom>
            <a:solidFill>
              <a:srgbClr val="88D5E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0" name="Rectangle 104">
              <a:extLst>
                <a:ext uri="{FF2B5EF4-FFF2-40B4-BE49-F238E27FC236}">
                  <a16:creationId xmlns:a16="http://schemas.microsoft.com/office/drawing/2014/main" id="{1AABD6DB-7E4A-4F16-992A-6F7E59575F36}"/>
                </a:ext>
              </a:extLst>
            </p:cNvPr>
            <p:cNvSpPr>
              <a:spLocks noChangeArrowheads="1"/>
            </p:cNvSpPr>
            <p:nvPr userDrawn="1"/>
          </p:nvSpPr>
          <p:spPr bwMode="auto">
            <a:xfrm flipH="1">
              <a:off x="9069212" y="1107220"/>
              <a:ext cx="1881775" cy="261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1" name="Freeform 105">
              <a:extLst>
                <a:ext uri="{FF2B5EF4-FFF2-40B4-BE49-F238E27FC236}">
                  <a16:creationId xmlns:a16="http://schemas.microsoft.com/office/drawing/2014/main" id="{BE851144-5FE1-458A-8941-F4AB128159E5}"/>
                </a:ext>
              </a:extLst>
            </p:cNvPr>
            <p:cNvSpPr>
              <a:spLocks/>
            </p:cNvSpPr>
            <p:nvPr userDrawn="1"/>
          </p:nvSpPr>
          <p:spPr bwMode="auto">
            <a:xfrm flipH="1">
              <a:off x="9744243" y="938104"/>
              <a:ext cx="515947" cy="40129"/>
            </a:xfrm>
            <a:custGeom>
              <a:avLst/>
              <a:gdLst>
                <a:gd name="T0" fmla="*/ 337 w 337"/>
                <a:gd name="T1" fmla="*/ 13 h 26"/>
                <a:gd name="T2" fmla="*/ 324 w 337"/>
                <a:gd name="T3" fmla="*/ 26 h 26"/>
                <a:gd name="T4" fmla="*/ 12 w 337"/>
                <a:gd name="T5" fmla="*/ 26 h 26"/>
                <a:gd name="T6" fmla="*/ 0 w 337"/>
                <a:gd name="T7" fmla="*/ 13 h 26"/>
                <a:gd name="T8" fmla="*/ 12 w 337"/>
                <a:gd name="T9" fmla="*/ 0 h 26"/>
                <a:gd name="T10" fmla="*/ 324 w 337"/>
                <a:gd name="T11" fmla="*/ 0 h 26"/>
                <a:gd name="T12" fmla="*/ 337 w 337"/>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337" h="26">
                  <a:moveTo>
                    <a:pt x="337" y="13"/>
                  </a:moveTo>
                  <a:cubicBezTo>
                    <a:pt x="337" y="20"/>
                    <a:pt x="331" y="26"/>
                    <a:pt x="324" y="26"/>
                  </a:cubicBezTo>
                  <a:cubicBezTo>
                    <a:pt x="12" y="26"/>
                    <a:pt x="12" y="26"/>
                    <a:pt x="12" y="26"/>
                  </a:cubicBezTo>
                  <a:cubicBezTo>
                    <a:pt x="5" y="26"/>
                    <a:pt x="0" y="20"/>
                    <a:pt x="0" y="13"/>
                  </a:cubicBezTo>
                  <a:cubicBezTo>
                    <a:pt x="0" y="6"/>
                    <a:pt x="5" y="0"/>
                    <a:pt x="12" y="0"/>
                  </a:cubicBezTo>
                  <a:cubicBezTo>
                    <a:pt x="324" y="0"/>
                    <a:pt x="324" y="0"/>
                    <a:pt x="324" y="0"/>
                  </a:cubicBezTo>
                  <a:cubicBezTo>
                    <a:pt x="331" y="0"/>
                    <a:pt x="337" y="6"/>
                    <a:pt x="337" y="13"/>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2" name="Oval 106">
              <a:extLst>
                <a:ext uri="{FF2B5EF4-FFF2-40B4-BE49-F238E27FC236}">
                  <a16:creationId xmlns:a16="http://schemas.microsoft.com/office/drawing/2014/main" id="{305C99C7-E189-4355-85AE-B632C1E97E84}"/>
                </a:ext>
              </a:extLst>
            </p:cNvPr>
            <p:cNvSpPr>
              <a:spLocks noChangeArrowheads="1"/>
            </p:cNvSpPr>
            <p:nvPr userDrawn="1"/>
          </p:nvSpPr>
          <p:spPr bwMode="auto">
            <a:xfrm flipH="1">
              <a:off x="9823068" y="3814510"/>
              <a:ext cx="374062" cy="375495"/>
            </a:xfrm>
            <a:prstGeom prst="ellipse">
              <a:avLst/>
            </a:prstGeom>
            <a:solidFill>
              <a:srgbClr val="C9D6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3" name="Oval 107">
              <a:extLst>
                <a:ext uri="{FF2B5EF4-FFF2-40B4-BE49-F238E27FC236}">
                  <a16:creationId xmlns:a16="http://schemas.microsoft.com/office/drawing/2014/main" id="{7D9660D5-42EF-4B89-8B6F-7E06BF54079A}"/>
                </a:ext>
              </a:extLst>
            </p:cNvPr>
            <p:cNvSpPr>
              <a:spLocks noChangeArrowheads="1"/>
            </p:cNvSpPr>
            <p:nvPr userDrawn="1"/>
          </p:nvSpPr>
          <p:spPr bwMode="auto">
            <a:xfrm flipH="1">
              <a:off x="9823068" y="3814510"/>
              <a:ext cx="374062" cy="375495"/>
            </a:xfrm>
            <a:prstGeom prst="ellipse">
              <a:avLst/>
            </a:prstGeom>
            <a:solidFill>
              <a:srgbClr val="86086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4" name="Oval 108">
              <a:extLst>
                <a:ext uri="{FF2B5EF4-FFF2-40B4-BE49-F238E27FC236}">
                  <a16:creationId xmlns:a16="http://schemas.microsoft.com/office/drawing/2014/main" id="{BDAC4D4B-0FD3-42A8-9D76-2DF4BE28F4B0}"/>
                </a:ext>
              </a:extLst>
            </p:cNvPr>
            <p:cNvSpPr>
              <a:spLocks noChangeArrowheads="1"/>
            </p:cNvSpPr>
            <p:nvPr userDrawn="1"/>
          </p:nvSpPr>
          <p:spPr bwMode="auto">
            <a:xfrm flipH="1">
              <a:off x="9870364" y="3861806"/>
              <a:ext cx="280905" cy="2823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5" name="Freeform 109">
              <a:extLst>
                <a:ext uri="{FF2B5EF4-FFF2-40B4-BE49-F238E27FC236}">
                  <a16:creationId xmlns:a16="http://schemas.microsoft.com/office/drawing/2014/main" id="{F13874EC-5926-446E-B81B-E275D058B351}"/>
                </a:ext>
              </a:extLst>
            </p:cNvPr>
            <p:cNvSpPr>
              <a:spLocks/>
            </p:cNvSpPr>
            <p:nvPr userDrawn="1"/>
          </p:nvSpPr>
          <p:spPr bwMode="auto">
            <a:xfrm flipH="1">
              <a:off x="9069212" y="819149"/>
              <a:ext cx="227877" cy="214978"/>
            </a:xfrm>
            <a:custGeom>
              <a:avLst/>
              <a:gdLst>
                <a:gd name="T0" fmla="*/ 53 w 149"/>
                <a:gd name="T1" fmla="*/ 0 h 141"/>
                <a:gd name="T2" fmla="*/ 0 w 149"/>
                <a:gd name="T3" fmla="*/ 0 h 141"/>
                <a:gd name="T4" fmla="*/ 0 w 149"/>
                <a:gd name="T5" fmla="*/ 0 h 141"/>
                <a:gd name="T6" fmla="*/ 53 w 149"/>
                <a:gd name="T7" fmla="*/ 0 h 141"/>
                <a:gd name="T8" fmla="*/ 149 w 149"/>
                <a:gd name="T9" fmla="*/ 96 h 141"/>
                <a:gd name="T10" fmla="*/ 149 w 149"/>
                <a:gd name="T11" fmla="*/ 141 h 141"/>
                <a:gd name="T12" fmla="*/ 149 w 149"/>
                <a:gd name="T13" fmla="*/ 141 h 141"/>
                <a:gd name="T14" fmla="*/ 149 w 149"/>
                <a:gd name="T15" fmla="*/ 96 h 141"/>
                <a:gd name="T16" fmla="*/ 53 w 149"/>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41">
                  <a:moveTo>
                    <a:pt x="53" y="0"/>
                  </a:moveTo>
                  <a:cubicBezTo>
                    <a:pt x="0" y="0"/>
                    <a:pt x="0" y="0"/>
                    <a:pt x="0" y="0"/>
                  </a:cubicBezTo>
                  <a:cubicBezTo>
                    <a:pt x="0" y="0"/>
                    <a:pt x="0" y="0"/>
                    <a:pt x="0" y="0"/>
                  </a:cubicBezTo>
                  <a:cubicBezTo>
                    <a:pt x="53" y="0"/>
                    <a:pt x="53" y="0"/>
                    <a:pt x="53" y="0"/>
                  </a:cubicBezTo>
                  <a:cubicBezTo>
                    <a:pt x="106" y="0"/>
                    <a:pt x="149" y="43"/>
                    <a:pt x="149" y="96"/>
                  </a:cubicBezTo>
                  <a:cubicBezTo>
                    <a:pt x="149" y="141"/>
                    <a:pt x="149" y="141"/>
                    <a:pt x="149" y="141"/>
                  </a:cubicBezTo>
                  <a:cubicBezTo>
                    <a:pt x="149" y="141"/>
                    <a:pt x="149" y="141"/>
                    <a:pt x="149" y="141"/>
                  </a:cubicBezTo>
                  <a:cubicBezTo>
                    <a:pt x="149" y="96"/>
                    <a:pt x="149" y="96"/>
                    <a:pt x="149" y="96"/>
                  </a:cubicBezTo>
                  <a:cubicBezTo>
                    <a:pt x="149" y="43"/>
                    <a:pt x="106" y="0"/>
                    <a:pt x="53" y="0"/>
                  </a:cubicBezTo>
                </a:path>
              </a:pathLst>
            </a:custGeom>
            <a:solidFill>
              <a:srgbClr val="E6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6" name="Freeform 110">
              <a:extLst>
                <a:ext uri="{FF2B5EF4-FFF2-40B4-BE49-F238E27FC236}">
                  <a16:creationId xmlns:a16="http://schemas.microsoft.com/office/drawing/2014/main" id="{5438F47F-265F-47CB-AB27-2914423FE390}"/>
                </a:ext>
              </a:extLst>
            </p:cNvPr>
            <p:cNvSpPr>
              <a:spLocks noEditPoints="1"/>
            </p:cNvSpPr>
            <p:nvPr userDrawn="1"/>
          </p:nvSpPr>
          <p:spPr bwMode="auto">
            <a:xfrm flipH="1">
              <a:off x="9069212" y="819149"/>
              <a:ext cx="227877" cy="3468313"/>
            </a:xfrm>
            <a:custGeom>
              <a:avLst/>
              <a:gdLst>
                <a:gd name="T0" fmla="*/ 149 w 149"/>
                <a:gd name="T1" fmla="*/ 1896 h 2268"/>
                <a:gd name="T2" fmla="*/ 95 w 149"/>
                <a:gd name="T3" fmla="*/ 1896 h 2268"/>
                <a:gd name="T4" fmla="*/ 95 w 149"/>
                <a:gd name="T5" fmla="*/ 2172 h 2268"/>
                <a:gd name="T6" fmla="*/ 0 w 149"/>
                <a:gd name="T7" fmla="*/ 2268 h 2268"/>
                <a:gd name="T8" fmla="*/ 53 w 149"/>
                <a:gd name="T9" fmla="*/ 2268 h 2268"/>
                <a:gd name="T10" fmla="*/ 149 w 149"/>
                <a:gd name="T11" fmla="*/ 2172 h 2268"/>
                <a:gd name="T12" fmla="*/ 149 w 149"/>
                <a:gd name="T13" fmla="*/ 1896 h 2268"/>
                <a:gd name="T14" fmla="*/ 53 w 149"/>
                <a:gd name="T15" fmla="*/ 0 h 2268"/>
                <a:gd name="T16" fmla="*/ 0 w 149"/>
                <a:gd name="T17" fmla="*/ 0 h 2268"/>
                <a:gd name="T18" fmla="*/ 95 w 149"/>
                <a:gd name="T19" fmla="*/ 96 h 2268"/>
                <a:gd name="T20" fmla="*/ 95 w 149"/>
                <a:gd name="T21" fmla="*/ 188 h 2268"/>
                <a:gd name="T22" fmla="*/ 149 w 149"/>
                <a:gd name="T23" fmla="*/ 188 h 2268"/>
                <a:gd name="T24" fmla="*/ 149 w 149"/>
                <a:gd name="T25" fmla="*/ 141 h 2268"/>
                <a:gd name="T26" fmla="*/ 149 w 149"/>
                <a:gd name="T27" fmla="*/ 96 h 2268"/>
                <a:gd name="T28" fmla="*/ 53 w 149"/>
                <a:gd name="T29" fmla="*/ 0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9" h="2268">
                  <a:moveTo>
                    <a:pt x="149" y="1896"/>
                  </a:moveTo>
                  <a:cubicBezTo>
                    <a:pt x="95" y="1896"/>
                    <a:pt x="95" y="1896"/>
                    <a:pt x="95" y="1896"/>
                  </a:cubicBezTo>
                  <a:cubicBezTo>
                    <a:pt x="95" y="2172"/>
                    <a:pt x="95" y="2172"/>
                    <a:pt x="95" y="2172"/>
                  </a:cubicBezTo>
                  <a:cubicBezTo>
                    <a:pt x="95" y="2225"/>
                    <a:pt x="53" y="2268"/>
                    <a:pt x="0" y="2268"/>
                  </a:cubicBezTo>
                  <a:cubicBezTo>
                    <a:pt x="53" y="2268"/>
                    <a:pt x="53" y="2268"/>
                    <a:pt x="53" y="2268"/>
                  </a:cubicBezTo>
                  <a:cubicBezTo>
                    <a:pt x="106" y="2268"/>
                    <a:pt x="149" y="2225"/>
                    <a:pt x="149" y="2172"/>
                  </a:cubicBezTo>
                  <a:cubicBezTo>
                    <a:pt x="149" y="1896"/>
                    <a:pt x="149" y="1896"/>
                    <a:pt x="149" y="1896"/>
                  </a:cubicBezTo>
                  <a:moveTo>
                    <a:pt x="53" y="0"/>
                  </a:moveTo>
                  <a:cubicBezTo>
                    <a:pt x="0" y="0"/>
                    <a:pt x="0" y="0"/>
                    <a:pt x="0" y="0"/>
                  </a:cubicBezTo>
                  <a:cubicBezTo>
                    <a:pt x="53" y="0"/>
                    <a:pt x="95" y="43"/>
                    <a:pt x="95" y="96"/>
                  </a:cubicBezTo>
                  <a:cubicBezTo>
                    <a:pt x="95" y="188"/>
                    <a:pt x="95" y="188"/>
                    <a:pt x="95" y="188"/>
                  </a:cubicBezTo>
                  <a:cubicBezTo>
                    <a:pt x="149" y="188"/>
                    <a:pt x="149" y="188"/>
                    <a:pt x="149" y="188"/>
                  </a:cubicBezTo>
                  <a:cubicBezTo>
                    <a:pt x="149" y="141"/>
                    <a:pt x="149" y="141"/>
                    <a:pt x="149" y="141"/>
                  </a:cubicBezTo>
                  <a:cubicBezTo>
                    <a:pt x="149" y="96"/>
                    <a:pt x="149" y="96"/>
                    <a:pt x="149" y="96"/>
                  </a:cubicBezTo>
                  <a:cubicBezTo>
                    <a:pt x="149" y="43"/>
                    <a:pt x="106" y="0"/>
                    <a:pt x="53" y="0"/>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7" name="Freeform 111">
              <a:extLst>
                <a:ext uri="{FF2B5EF4-FFF2-40B4-BE49-F238E27FC236}">
                  <a16:creationId xmlns:a16="http://schemas.microsoft.com/office/drawing/2014/main" id="{188E8AD0-CB76-49C7-9D8A-95244C3E97F6}"/>
                </a:ext>
              </a:extLst>
            </p:cNvPr>
            <p:cNvSpPr>
              <a:spLocks noEditPoints="1"/>
            </p:cNvSpPr>
            <p:nvPr userDrawn="1"/>
          </p:nvSpPr>
          <p:spPr bwMode="auto">
            <a:xfrm flipH="1">
              <a:off x="9069212" y="1107220"/>
              <a:ext cx="81692" cy="2611267"/>
            </a:xfrm>
            <a:custGeom>
              <a:avLst/>
              <a:gdLst>
                <a:gd name="T0" fmla="*/ 0 w 54"/>
                <a:gd name="T1" fmla="*/ 1629 h 1708"/>
                <a:gd name="T2" fmla="*/ 0 w 54"/>
                <a:gd name="T3" fmla="*/ 1708 h 1708"/>
                <a:gd name="T4" fmla="*/ 54 w 54"/>
                <a:gd name="T5" fmla="*/ 1708 h 1708"/>
                <a:gd name="T6" fmla="*/ 54 w 54"/>
                <a:gd name="T7" fmla="*/ 1637 h 1708"/>
                <a:gd name="T8" fmla="*/ 43 w 54"/>
                <a:gd name="T9" fmla="*/ 1637 h 1708"/>
                <a:gd name="T10" fmla="*/ 43 w 54"/>
                <a:gd name="T11" fmla="*/ 1637 h 1708"/>
                <a:gd name="T12" fmla="*/ 0 w 54"/>
                <a:gd name="T13" fmla="*/ 1629 h 1708"/>
                <a:gd name="T14" fmla="*/ 25 w 54"/>
                <a:gd name="T15" fmla="*/ 1375 h 1708"/>
                <a:gd name="T16" fmla="*/ 0 w 54"/>
                <a:gd name="T17" fmla="*/ 1378 h 1708"/>
                <a:gd name="T18" fmla="*/ 0 w 54"/>
                <a:gd name="T19" fmla="*/ 1394 h 1708"/>
                <a:gd name="T20" fmla="*/ 25 w 54"/>
                <a:gd name="T21" fmla="*/ 1375 h 1708"/>
                <a:gd name="T22" fmla="*/ 54 w 54"/>
                <a:gd name="T23" fmla="*/ 692 h 1708"/>
                <a:gd name="T24" fmla="*/ 16 w 54"/>
                <a:gd name="T25" fmla="*/ 720 h 1708"/>
                <a:gd name="T26" fmla="*/ 0 w 54"/>
                <a:gd name="T27" fmla="*/ 730 h 1708"/>
                <a:gd name="T28" fmla="*/ 0 w 54"/>
                <a:gd name="T29" fmla="*/ 785 h 1708"/>
                <a:gd name="T30" fmla="*/ 54 w 54"/>
                <a:gd name="T31" fmla="*/ 745 h 1708"/>
                <a:gd name="T32" fmla="*/ 54 w 54"/>
                <a:gd name="T33" fmla="*/ 692 h 1708"/>
                <a:gd name="T34" fmla="*/ 54 w 54"/>
                <a:gd name="T35" fmla="*/ 0 h 1708"/>
                <a:gd name="T36" fmla="*/ 54 w 54"/>
                <a:gd name="T37" fmla="*/ 0 h 1708"/>
                <a:gd name="T38" fmla="*/ 0 w 54"/>
                <a:gd name="T39" fmla="*/ 0 h 1708"/>
                <a:gd name="T40" fmla="*/ 0 w 54"/>
                <a:gd name="T41" fmla="*/ 432 h 1708"/>
                <a:gd name="T42" fmla="*/ 38 w 54"/>
                <a:gd name="T43" fmla="*/ 404 h 1708"/>
                <a:gd name="T44" fmla="*/ 54 w 54"/>
                <a:gd name="T45" fmla="*/ 394 h 1708"/>
                <a:gd name="T46" fmla="*/ 54 w 54"/>
                <a:gd name="T47" fmla="*/ 394 h 1708"/>
                <a:gd name="T48" fmla="*/ 54 w 54"/>
                <a:gd name="T49" fmla="*/ 361 h 1708"/>
                <a:gd name="T50" fmla="*/ 54 w 54"/>
                <a:gd name="T51" fmla="*/ 0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708">
                  <a:moveTo>
                    <a:pt x="0" y="1629"/>
                  </a:moveTo>
                  <a:cubicBezTo>
                    <a:pt x="0" y="1708"/>
                    <a:pt x="0" y="1708"/>
                    <a:pt x="0" y="1708"/>
                  </a:cubicBezTo>
                  <a:cubicBezTo>
                    <a:pt x="54" y="1708"/>
                    <a:pt x="54" y="1708"/>
                    <a:pt x="54" y="1708"/>
                  </a:cubicBezTo>
                  <a:cubicBezTo>
                    <a:pt x="54" y="1637"/>
                    <a:pt x="54" y="1637"/>
                    <a:pt x="54" y="1637"/>
                  </a:cubicBezTo>
                  <a:cubicBezTo>
                    <a:pt x="50" y="1637"/>
                    <a:pt x="47" y="1637"/>
                    <a:pt x="43" y="1637"/>
                  </a:cubicBezTo>
                  <a:cubicBezTo>
                    <a:pt x="43" y="1637"/>
                    <a:pt x="43" y="1637"/>
                    <a:pt x="43" y="1637"/>
                  </a:cubicBezTo>
                  <a:cubicBezTo>
                    <a:pt x="29" y="1637"/>
                    <a:pt x="14" y="1634"/>
                    <a:pt x="0" y="1629"/>
                  </a:cubicBezTo>
                  <a:moveTo>
                    <a:pt x="25" y="1375"/>
                  </a:moveTo>
                  <a:cubicBezTo>
                    <a:pt x="17" y="1377"/>
                    <a:pt x="9" y="1378"/>
                    <a:pt x="0" y="1378"/>
                  </a:cubicBezTo>
                  <a:cubicBezTo>
                    <a:pt x="0" y="1394"/>
                    <a:pt x="0" y="1394"/>
                    <a:pt x="0" y="1394"/>
                  </a:cubicBezTo>
                  <a:cubicBezTo>
                    <a:pt x="25" y="1375"/>
                    <a:pt x="25" y="1375"/>
                    <a:pt x="25" y="1375"/>
                  </a:cubicBezTo>
                  <a:moveTo>
                    <a:pt x="54" y="692"/>
                  </a:moveTo>
                  <a:cubicBezTo>
                    <a:pt x="16" y="720"/>
                    <a:pt x="16" y="720"/>
                    <a:pt x="16" y="720"/>
                  </a:cubicBezTo>
                  <a:cubicBezTo>
                    <a:pt x="11" y="724"/>
                    <a:pt x="6" y="727"/>
                    <a:pt x="0" y="730"/>
                  </a:cubicBezTo>
                  <a:cubicBezTo>
                    <a:pt x="0" y="785"/>
                    <a:pt x="0" y="785"/>
                    <a:pt x="0" y="785"/>
                  </a:cubicBezTo>
                  <a:cubicBezTo>
                    <a:pt x="54" y="745"/>
                    <a:pt x="54" y="745"/>
                    <a:pt x="54" y="745"/>
                  </a:cubicBezTo>
                  <a:cubicBezTo>
                    <a:pt x="54" y="692"/>
                    <a:pt x="54" y="692"/>
                    <a:pt x="54" y="692"/>
                  </a:cubicBezTo>
                  <a:moveTo>
                    <a:pt x="54" y="0"/>
                  </a:moveTo>
                  <a:cubicBezTo>
                    <a:pt x="54" y="0"/>
                    <a:pt x="54" y="0"/>
                    <a:pt x="54" y="0"/>
                  </a:cubicBezTo>
                  <a:cubicBezTo>
                    <a:pt x="0" y="0"/>
                    <a:pt x="0" y="0"/>
                    <a:pt x="0" y="0"/>
                  </a:cubicBezTo>
                  <a:cubicBezTo>
                    <a:pt x="0" y="432"/>
                    <a:pt x="0" y="432"/>
                    <a:pt x="0" y="432"/>
                  </a:cubicBezTo>
                  <a:cubicBezTo>
                    <a:pt x="38" y="404"/>
                    <a:pt x="38" y="404"/>
                    <a:pt x="38" y="404"/>
                  </a:cubicBezTo>
                  <a:cubicBezTo>
                    <a:pt x="43" y="400"/>
                    <a:pt x="48" y="397"/>
                    <a:pt x="54" y="394"/>
                  </a:cubicBezTo>
                  <a:cubicBezTo>
                    <a:pt x="54" y="394"/>
                    <a:pt x="54" y="394"/>
                    <a:pt x="54" y="394"/>
                  </a:cubicBezTo>
                  <a:cubicBezTo>
                    <a:pt x="54" y="361"/>
                    <a:pt x="54" y="361"/>
                    <a:pt x="54" y="361"/>
                  </a:cubicBezTo>
                  <a:cubicBezTo>
                    <a:pt x="54" y="0"/>
                    <a:pt x="54" y="0"/>
                    <a:pt x="54" y="0"/>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8" name="Freeform 112">
              <a:extLst>
                <a:ext uri="{FF2B5EF4-FFF2-40B4-BE49-F238E27FC236}">
                  <a16:creationId xmlns:a16="http://schemas.microsoft.com/office/drawing/2014/main" id="{FEAB613D-EC41-4E9D-96A3-E10354FA65F5}"/>
                </a:ext>
              </a:extLst>
            </p:cNvPr>
            <p:cNvSpPr>
              <a:spLocks noEditPoints="1"/>
            </p:cNvSpPr>
            <p:nvPr userDrawn="1"/>
          </p:nvSpPr>
          <p:spPr bwMode="auto">
            <a:xfrm flipH="1">
              <a:off x="9150904" y="3033423"/>
              <a:ext cx="193481" cy="564676"/>
            </a:xfrm>
            <a:custGeom>
              <a:avLst/>
              <a:gdLst>
                <a:gd name="T0" fmla="*/ 126 w 126"/>
                <a:gd name="T1" fmla="*/ 134 h 369"/>
                <a:gd name="T2" fmla="*/ 82 w 126"/>
                <a:gd name="T3" fmla="*/ 168 h 369"/>
                <a:gd name="T4" fmla="*/ 72 w 126"/>
                <a:gd name="T5" fmla="*/ 326 h 369"/>
                <a:gd name="T6" fmla="*/ 126 w 126"/>
                <a:gd name="T7" fmla="*/ 369 h 369"/>
                <a:gd name="T8" fmla="*/ 126 w 126"/>
                <a:gd name="T9" fmla="*/ 134 h 369"/>
                <a:gd name="T10" fmla="*/ 8 w 126"/>
                <a:gd name="T11" fmla="*/ 0 h 369"/>
                <a:gd name="T12" fmla="*/ 0 w 126"/>
                <a:gd name="T13" fmla="*/ 0 h 369"/>
                <a:gd name="T14" fmla="*/ 26 w 126"/>
                <a:gd name="T15" fmla="*/ 67 h 369"/>
                <a:gd name="T16" fmla="*/ 124 w 126"/>
                <a:gd name="T17" fmla="*/ 119 h 369"/>
                <a:gd name="T18" fmla="*/ 126 w 126"/>
                <a:gd name="T19" fmla="*/ 118 h 369"/>
                <a:gd name="T20" fmla="*/ 126 w 126"/>
                <a:gd name="T21" fmla="*/ 83 h 369"/>
                <a:gd name="T22" fmla="*/ 124 w 126"/>
                <a:gd name="T23" fmla="*/ 83 h 369"/>
                <a:gd name="T24" fmla="*/ 26 w 126"/>
                <a:gd name="T25" fmla="*/ 32 h 369"/>
                <a:gd name="T26" fmla="*/ 8 w 126"/>
                <a:gd name="T27"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369">
                  <a:moveTo>
                    <a:pt x="126" y="134"/>
                  </a:moveTo>
                  <a:cubicBezTo>
                    <a:pt x="82" y="168"/>
                    <a:pt x="82" y="168"/>
                    <a:pt x="82" y="168"/>
                  </a:cubicBezTo>
                  <a:cubicBezTo>
                    <a:pt x="36" y="203"/>
                    <a:pt x="32" y="273"/>
                    <a:pt x="72" y="326"/>
                  </a:cubicBezTo>
                  <a:cubicBezTo>
                    <a:pt x="87" y="346"/>
                    <a:pt x="106" y="360"/>
                    <a:pt x="126" y="369"/>
                  </a:cubicBezTo>
                  <a:cubicBezTo>
                    <a:pt x="126" y="134"/>
                    <a:pt x="126" y="134"/>
                    <a:pt x="126" y="134"/>
                  </a:cubicBezTo>
                  <a:moveTo>
                    <a:pt x="8" y="0"/>
                  </a:moveTo>
                  <a:cubicBezTo>
                    <a:pt x="0" y="0"/>
                    <a:pt x="0" y="0"/>
                    <a:pt x="0" y="0"/>
                  </a:cubicBezTo>
                  <a:cubicBezTo>
                    <a:pt x="2" y="23"/>
                    <a:pt x="10" y="46"/>
                    <a:pt x="26" y="67"/>
                  </a:cubicBezTo>
                  <a:cubicBezTo>
                    <a:pt x="51" y="100"/>
                    <a:pt x="88" y="119"/>
                    <a:pt x="124" y="119"/>
                  </a:cubicBezTo>
                  <a:cubicBezTo>
                    <a:pt x="125" y="119"/>
                    <a:pt x="126" y="118"/>
                    <a:pt x="126" y="118"/>
                  </a:cubicBezTo>
                  <a:cubicBezTo>
                    <a:pt x="126" y="83"/>
                    <a:pt x="126" y="83"/>
                    <a:pt x="126" y="83"/>
                  </a:cubicBezTo>
                  <a:cubicBezTo>
                    <a:pt x="126" y="83"/>
                    <a:pt x="125" y="83"/>
                    <a:pt x="124" y="83"/>
                  </a:cubicBezTo>
                  <a:cubicBezTo>
                    <a:pt x="88" y="83"/>
                    <a:pt x="51" y="65"/>
                    <a:pt x="26" y="32"/>
                  </a:cubicBezTo>
                  <a:cubicBezTo>
                    <a:pt x="18" y="22"/>
                    <a:pt x="12" y="11"/>
                    <a:pt x="8" y="0"/>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9" name="Freeform 113">
              <a:extLst>
                <a:ext uri="{FF2B5EF4-FFF2-40B4-BE49-F238E27FC236}">
                  <a16:creationId xmlns:a16="http://schemas.microsoft.com/office/drawing/2014/main" id="{5556A3F0-1F93-422A-9F0A-0CC0A849FAAB}"/>
                </a:ext>
              </a:extLst>
            </p:cNvPr>
            <p:cNvSpPr>
              <a:spLocks/>
            </p:cNvSpPr>
            <p:nvPr userDrawn="1"/>
          </p:nvSpPr>
          <p:spPr bwMode="auto">
            <a:xfrm flipH="1">
              <a:off x="9069212" y="3133746"/>
              <a:ext cx="81692" cy="475818"/>
            </a:xfrm>
            <a:custGeom>
              <a:avLst/>
              <a:gdLst>
                <a:gd name="T0" fmla="*/ 54 w 54"/>
                <a:gd name="T1" fmla="*/ 0 h 311"/>
                <a:gd name="T2" fmla="*/ 0 w 54"/>
                <a:gd name="T3" fmla="*/ 17 h 311"/>
                <a:gd name="T4" fmla="*/ 0 w 54"/>
                <a:gd name="T5" fmla="*/ 52 h 311"/>
                <a:gd name="T6" fmla="*/ 25 w 54"/>
                <a:gd name="T7" fmla="*/ 49 h 311"/>
                <a:gd name="T8" fmla="*/ 0 w 54"/>
                <a:gd name="T9" fmla="*/ 68 h 311"/>
                <a:gd name="T10" fmla="*/ 0 w 54"/>
                <a:gd name="T11" fmla="*/ 303 h 311"/>
                <a:gd name="T12" fmla="*/ 43 w 54"/>
                <a:gd name="T13" fmla="*/ 311 h 311"/>
                <a:gd name="T14" fmla="*/ 43 w 54"/>
                <a:gd name="T15" fmla="*/ 311 h 311"/>
                <a:gd name="T16" fmla="*/ 54 w 54"/>
                <a:gd name="T17" fmla="*/ 311 h 311"/>
                <a:gd name="T18" fmla="*/ 54 w 54"/>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311">
                  <a:moveTo>
                    <a:pt x="54" y="0"/>
                  </a:moveTo>
                  <a:cubicBezTo>
                    <a:pt x="38" y="11"/>
                    <a:pt x="19" y="17"/>
                    <a:pt x="0" y="17"/>
                  </a:cubicBezTo>
                  <a:cubicBezTo>
                    <a:pt x="0" y="52"/>
                    <a:pt x="0" y="52"/>
                    <a:pt x="0" y="52"/>
                  </a:cubicBezTo>
                  <a:cubicBezTo>
                    <a:pt x="9" y="52"/>
                    <a:pt x="17" y="51"/>
                    <a:pt x="25" y="49"/>
                  </a:cubicBezTo>
                  <a:cubicBezTo>
                    <a:pt x="0" y="68"/>
                    <a:pt x="0" y="68"/>
                    <a:pt x="0" y="68"/>
                  </a:cubicBezTo>
                  <a:cubicBezTo>
                    <a:pt x="0" y="303"/>
                    <a:pt x="0" y="303"/>
                    <a:pt x="0" y="303"/>
                  </a:cubicBezTo>
                  <a:cubicBezTo>
                    <a:pt x="14" y="308"/>
                    <a:pt x="29" y="311"/>
                    <a:pt x="43" y="311"/>
                  </a:cubicBezTo>
                  <a:cubicBezTo>
                    <a:pt x="43" y="311"/>
                    <a:pt x="43" y="311"/>
                    <a:pt x="43" y="311"/>
                  </a:cubicBezTo>
                  <a:cubicBezTo>
                    <a:pt x="47" y="311"/>
                    <a:pt x="50" y="311"/>
                    <a:pt x="54" y="311"/>
                  </a:cubicBezTo>
                  <a:cubicBezTo>
                    <a:pt x="54" y="0"/>
                    <a:pt x="54" y="0"/>
                    <a:pt x="54" y="0"/>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0" name="Freeform 114">
              <a:extLst>
                <a:ext uri="{FF2B5EF4-FFF2-40B4-BE49-F238E27FC236}">
                  <a16:creationId xmlns:a16="http://schemas.microsoft.com/office/drawing/2014/main" id="{255750F5-2971-4625-BC6D-B2EAF97F9385}"/>
                </a:ext>
              </a:extLst>
            </p:cNvPr>
            <p:cNvSpPr>
              <a:spLocks/>
            </p:cNvSpPr>
            <p:nvPr userDrawn="1"/>
          </p:nvSpPr>
          <p:spPr bwMode="auto">
            <a:xfrm flipH="1">
              <a:off x="9150904" y="1766486"/>
              <a:ext cx="266573" cy="470085"/>
            </a:xfrm>
            <a:custGeom>
              <a:avLst/>
              <a:gdLst>
                <a:gd name="T0" fmla="*/ 174 w 174"/>
                <a:gd name="T1" fmla="*/ 0 h 307"/>
                <a:gd name="T2" fmla="*/ 67 w 174"/>
                <a:gd name="T3" fmla="*/ 82 h 307"/>
                <a:gd name="T4" fmla="*/ 29 w 174"/>
                <a:gd name="T5" fmla="*/ 114 h 307"/>
                <a:gd name="T6" fmla="*/ 35 w 174"/>
                <a:gd name="T7" fmla="*/ 256 h 307"/>
                <a:gd name="T8" fmla="*/ 133 w 174"/>
                <a:gd name="T9" fmla="*/ 307 h 307"/>
                <a:gd name="T10" fmla="*/ 174 w 174"/>
                <a:gd name="T11" fmla="*/ 298 h 307"/>
                <a:gd name="T12" fmla="*/ 174 w 174"/>
                <a:gd name="T13" fmla="*/ 0 h 307"/>
              </a:gdLst>
              <a:ahLst/>
              <a:cxnLst>
                <a:cxn ang="0">
                  <a:pos x="T0" y="T1"/>
                </a:cxn>
                <a:cxn ang="0">
                  <a:pos x="T2" y="T3"/>
                </a:cxn>
                <a:cxn ang="0">
                  <a:pos x="T4" y="T5"/>
                </a:cxn>
                <a:cxn ang="0">
                  <a:pos x="T6" y="T7"/>
                </a:cxn>
                <a:cxn ang="0">
                  <a:pos x="T8" y="T9"/>
                </a:cxn>
                <a:cxn ang="0">
                  <a:pos x="T10" y="T11"/>
                </a:cxn>
                <a:cxn ang="0">
                  <a:pos x="T12" y="T13"/>
                </a:cxn>
              </a:cxnLst>
              <a:rect l="0" t="0" r="r" b="b"/>
              <a:pathLst>
                <a:path w="174" h="307">
                  <a:moveTo>
                    <a:pt x="174" y="0"/>
                  </a:moveTo>
                  <a:cubicBezTo>
                    <a:pt x="67" y="82"/>
                    <a:pt x="67" y="82"/>
                    <a:pt x="67" y="82"/>
                  </a:cubicBezTo>
                  <a:cubicBezTo>
                    <a:pt x="62" y="97"/>
                    <a:pt x="51" y="110"/>
                    <a:pt x="29" y="114"/>
                  </a:cubicBezTo>
                  <a:cubicBezTo>
                    <a:pt x="0" y="152"/>
                    <a:pt x="1" y="210"/>
                    <a:pt x="35" y="256"/>
                  </a:cubicBezTo>
                  <a:cubicBezTo>
                    <a:pt x="61" y="289"/>
                    <a:pt x="98" y="307"/>
                    <a:pt x="133" y="307"/>
                  </a:cubicBezTo>
                  <a:cubicBezTo>
                    <a:pt x="147" y="307"/>
                    <a:pt x="161" y="304"/>
                    <a:pt x="174" y="298"/>
                  </a:cubicBezTo>
                  <a:cubicBezTo>
                    <a:pt x="174" y="0"/>
                    <a:pt x="174" y="0"/>
                    <a:pt x="174" y="0"/>
                  </a:cubicBezTo>
                </a:path>
              </a:pathLst>
            </a:custGeom>
            <a:solidFill>
              <a:srgbClr val="FF304C">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1" name="Freeform 115">
              <a:extLst>
                <a:ext uri="{FF2B5EF4-FFF2-40B4-BE49-F238E27FC236}">
                  <a16:creationId xmlns:a16="http://schemas.microsoft.com/office/drawing/2014/main" id="{4D461231-4E9F-4135-9774-F25074D6A724}"/>
                </a:ext>
              </a:extLst>
            </p:cNvPr>
            <p:cNvSpPr>
              <a:spLocks/>
            </p:cNvSpPr>
            <p:nvPr userDrawn="1"/>
          </p:nvSpPr>
          <p:spPr bwMode="auto">
            <a:xfrm flipH="1">
              <a:off x="9069212" y="1709159"/>
              <a:ext cx="81692" cy="513081"/>
            </a:xfrm>
            <a:custGeom>
              <a:avLst/>
              <a:gdLst>
                <a:gd name="T0" fmla="*/ 54 w 54"/>
                <a:gd name="T1" fmla="*/ 0 h 336"/>
                <a:gd name="T2" fmla="*/ 54 w 54"/>
                <a:gd name="T3" fmla="*/ 0 h 336"/>
                <a:gd name="T4" fmla="*/ 38 w 54"/>
                <a:gd name="T5" fmla="*/ 10 h 336"/>
                <a:gd name="T6" fmla="*/ 0 w 54"/>
                <a:gd name="T7" fmla="*/ 38 h 336"/>
                <a:gd name="T8" fmla="*/ 0 w 54"/>
                <a:gd name="T9" fmla="*/ 336 h 336"/>
                <a:gd name="T10" fmla="*/ 16 w 54"/>
                <a:gd name="T11" fmla="*/ 326 h 336"/>
                <a:gd name="T12" fmla="*/ 54 w 54"/>
                <a:gd name="T13" fmla="*/ 298 h 336"/>
                <a:gd name="T14" fmla="*/ 54 w 54"/>
                <a:gd name="T15" fmla="*/ 0 h 3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36">
                  <a:moveTo>
                    <a:pt x="54" y="0"/>
                  </a:moveTo>
                  <a:cubicBezTo>
                    <a:pt x="54" y="0"/>
                    <a:pt x="54" y="0"/>
                    <a:pt x="54" y="0"/>
                  </a:cubicBezTo>
                  <a:cubicBezTo>
                    <a:pt x="48" y="3"/>
                    <a:pt x="43" y="6"/>
                    <a:pt x="38" y="10"/>
                  </a:cubicBezTo>
                  <a:cubicBezTo>
                    <a:pt x="0" y="38"/>
                    <a:pt x="0" y="38"/>
                    <a:pt x="0" y="38"/>
                  </a:cubicBezTo>
                  <a:cubicBezTo>
                    <a:pt x="0" y="336"/>
                    <a:pt x="0" y="336"/>
                    <a:pt x="0" y="336"/>
                  </a:cubicBezTo>
                  <a:cubicBezTo>
                    <a:pt x="6" y="333"/>
                    <a:pt x="11" y="330"/>
                    <a:pt x="16" y="326"/>
                  </a:cubicBezTo>
                  <a:cubicBezTo>
                    <a:pt x="54" y="298"/>
                    <a:pt x="54" y="298"/>
                    <a:pt x="54" y="298"/>
                  </a:cubicBezTo>
                  <a:cubicBezTo>
                    <a:pt x="54" y="0"/>
                    <a:pt x="54" y="0"/>
                    <a:pt x="54" y="0"/>
                  </a:cubicBezTo>
                </a:path>
              </a:pathLst>
            </a:custGeom>
            <a:solidFill>
              <a:srgbClr val="FF304C">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2" name="Freeform 118">
              <a:extLst>
                <a:ext uri="{FF2B5EF4-FFF2-40B4-BE49-F238E27FC236}">
                  <a16:creationId xmlns:a16="http://schemas.microsoft.com/office/drawing/2014/main" id="{3BC4BCC5-17BF-4696-9B64-D4FA0F8C2879}"/>
                </a:ext>
              </a:extLst>
            </p:cNvPr>
            <p:cNvSpPr>
              <a:spLocks/>
            </p:cNvSpPr>
            <p:nvPr userDrawn="1"/>
          </p:nvSpPr>
          <p:spPr bwMode="auto">
            <a:xfrm flipH="1">
              <a:off x="8630657" y="2960330"/>
              <a:ext cx="664999" cy="620570"/>
            </a:xfrm>
            <a:custGeom>
              <a:avLst/>
              <a:gdLst>
                <a:gd name="T0" fmla="*/ 395 w 435"/>
                <a:gd name="T1" fmla="*/ 67 h 406"/>
                <a:gd name="T2" fmla="*/ 384 w 435"/>
                <a:gd name="T3" fmla="*/ 225 h 406"/>
                <a:gd name="T4" fmla="*/ 195 w 435"/>
                <a:gd name="T5" fmla="*/ 371 h 406"/>
                <a:gd name="T6" fmla="*/ 40 w 435"/>
                <a:gd name="T7" fmla="*/ 339 h 406"/>
                <a:gd name="T8" fmla="*/ 50 w 435"/>
                <a:gd name="T9" fmla="*/ 181 h 406"/>
                <a:gd name="T10" fmla="*/ 240 w 435"/>
                <a:gd name="T11" fmla="*/ 34 h 406"/>
                <a:gd name="T12" fmla="*/ 395 w 435"/>
                <a:gd name="T13" fmla="*/ 67 h 406"/>
              </a:gdLst>
              <a:ahLst/>
              <a:cxnLst>
                <a:cxn ang="0">
                  <a:pos x="T0" y="T1"/>
                </a:cxn>
                <a:cxn ang="0">
                  <a:pos x="T2" y="T3"/>
                </a:cxn>
                <a:cxn ang="0">
                  <a:pos x="T4" y="T5"/>
                </a:cxn>
                <a:cxn ang="0">
                  <a:pos x="T6" y="T7"/>
                </a:cxn>
                <a:cxn ang="0">
                  <a:pos x="T8" y="T9"/>
                </a:cxn>
                <a:cxn ang="0">
                  <a:pos x="T10" y="T11"/>
                </a:cxn>
                <a:cxn ang="0">
                  <a:pos x="T12" y="T13"/>
                </a:cxn>
              </a:cxnLst>
              <a:rect l="0" t="0" r="r" b="b"/>
              <a:pathLst>
                <a:path w="435" h="406">
                  <a:moveTo>
                    <a:pt x="395" y="67"/>
                  </a:moveTo>
                  <a:cubicBezTo>
                    <a:pt x="435" y="119"/>
                    <a:pt x="430" y="190"/>
                    <a:pt x="384" y="225"/>
                  </a:cubicBezTo>
                  <a:cubicBezTo>
                    <a:pt x="195" y="371"/>
                    <a:pt x="195" y="371"/>
                    <a:pt x="195" y="371"/>
                  </a:cubicBezTo>
                  <a:cubicBezTo>
                    <a:pt x="149" y="406"/>
                    <a:pt x="80" y="391"/>
                    <a:pt x="40" y="339"/>
                  </a:cubicBezTo>
                  <a:cubicBezTo>
                    <a:pt x="0" y="286"/>
                    <a:pt x="4" y="216"/>
                    <a:pt x="50" y="181"/>
                  </a:cubicBezTo>
                  <a:cubicBezTo>
                    <a:pt x="240" y="34"/>
                    <a:pt x="240" y="34"/>
                    <a:pt x="240" y="34"/>
                  </a:cubicBezTo>
                  <a:cubicBezTo>
                    <a:pt x="285" y="0"/>
                    <a:pt x="355" y="14"/>
                    <a:pt x="395" y="67"/>
                  </a:cubicBezTo>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3" name="Freeform 119">
              <a:extLst>
                <a:ext uri="{FF2B5EF4-FFF2-40B4-BE49-F238E27FC236}">
                  <a16:creationId xmlns:a16="http://schemas.microsoft.com/office/drawing/2014/main" id="{7536423E-984F-4A70-874E-ADC7EE51F4E0}"/>
                </a:ext>
              </a:extLst>
            </p:cNvPr>
            <p:cNvSpPr>
              <a:spLocks/>
            </p:cNvSpPr>
            <p:nvPr userDrawn="1"/>
          </p:nvSpPr>
          <p:spPr bwMode="auto">
            <a:xfrm flipH="1">
              <a:off x="9454739" y="3193940"/>
              <a:ext cx="1110721" cy="329633"/>
            </a:xfrm>
            <a:custGeom>
              <a:avLst/>
              <a:gdLst>
                <a:gd name="T0" fmla="*/ 709 w 727"/>
                <a:gd name="T1" fmla="*/ 0 h 216"/>
                <a:gd name="T2" fmla="*/ 18 w 727"/>
                <a:gd name="T3" fmla="*/ 0 h 216"/>
                <a:gd name="T4" fmla="*/ 0 w 727"/>
                <a:gd name="T5" fmla="*/ 19 h 216"/>
                <a:gd name="T6" fmla="*/ 0 w 727"/>
                <a:gd name="T7" fmla="*/ 198 h 216"/>
                <a:gd name="T8" fmla="*/ 18 w 727"/>
                <a:gd name="T9" fmla="*/ 216 h 216"/>
                <a:gd name="T10" fmla="*/ 709 w 727"/>
                <a:gd name="T11" fmla="*/ 216 h 216"/>
                <a:gd name="T12" fmla="*/ 727 w 727"/>
                <a:gd name="T13" fmla="*/ 198 h 216"/>
                <a:gd name="T14" fmla="*/ 727 w 727"/>
                <a:gd name="T15" fmla="*/ 19 h 216"/>
                <a:gd name="T16" fmla="*/ 709 w 727"/>
                <a:gd name="T1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7" h="216">
                  <a:moveTo>
                    <a:pt x="709" y="0"/>
                  </a:moveTo>
                  <a:cubicBezTo>
                    <a:pt x="18" y="0"/>
                    <a:pt x="18" y="0"/>
                    <a:pt x="18" y="0"/>
                  </a:cubicBezTo>
                  <a:cubicBezTo>
                    <a:pt x="8" y="0"/>
                    <a:pt x="0" y="8"/>
                    <a:pt x="0" y="19"/>
                  </a:cubicBezTo>
                  <a:cubicBezTo>
                    <a:pt x="0" y="198"/>
                    <a:pt x="0" y="198"/>
                    <a:pt x="0" y="198"/>
                  </a:cubicBezTo>
                  <a:cubicBezTo>
                    <a:pt x="0" y="208"/>
                    <a:pt x="8" y="216"/>
                    <a:pt x="18" y="216"/>
                  </a:cubicBezTo>
                  <a:cubicBezTo>
                    <a:pt x="709" y="216"/>
                    <a:pt x="709" y="216"/>
                    <a:pt x="709" y="216"/>
                  </a:cubicBezTo>
                  <a:cubicBezTo>
                    <a:pt x="719" y="216"/>
                    <a:pt x="727" y="208"/>
                    <a:pt x="727" y="198"/>
                  </a:cubicBezTo>
                  <a:cubicBezTo>
                    <a:pt x="727" y="19"/>
                    <a:pt x="727" y="19"/>
                    <a:pt x="727" y="19"/>
                  </a:cubicBezTo>
                  <a:cubicBezTo>
                    <a:pt x="727" y="8"/>
                    <a:pt x="719" y="0"/>
                    <a:pt x="709" y="0"/>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4" name="Freeform 120">
              <a:extLst>
                <a:ext uri="{FF2B5EF4-FFF2-40B4-BE49-F238E27FC236}">
                  <a16:creationId xmlns:a16="http://schemas.microsoft.com/office/drawing/2014/main" id="{CEFEC117-A764-46CE-8B78-076076B9FE0A}"/>
                </a:ext>
              </a:extLst>
            </p:cNvPr>
            <p:cNvSpPr>
              <a:spLocks noEditPoints="1"/>
            </p:cNvSpPr>
            <p:nvPr userDrawn="1"/>
          </p:nvSpPr>
          <p:spPr bwMode="auto">
            <a:xfrm flipH="1">
              <a:off x="10103973" y="1656130"/>
              <a:ext cx="609105" cy="664999"/>
            </a:xfrm>
            <a:custGeom>
              <a:avLst/>
              <a:gdLst>
                <a:gd name="T0" fmla="*/ 398 w 398"/>
                <a:gd name="T1" fmla="*/ 413 h 435"/>
                <a:gd name="T2" fmla="*/ 398 w 398"/>
                <a:gd name="T3" fmla="*/ 429 h 435"/>
                <a:gd name="T4" fmla="*/ 398 w 398"/>
                <a:gd name="T5" fmla="*/ 431 h 435"/>
                <a:gd name="T6" fmla="*/ 397 w 398"/>
                <a:gd name="T7" fmla="*/ 435 h 435"/>
                <a:gd name="T8" fmla="*/ 398 w 398"/>
                <a:gd name="T9" fmla="*/ 435 h 435"/>
                <a:gd name="T10" fmla="*/ 398 w 398"/>
                <a:gd name="T11" fmla="*/ 429 h 435"/>
                <a:gd name="T12" fmla="*/ 398 w 398"/>
                <a:gd name="T13" fmla="*/ 426 h 435"/>
                <a:gd name="T14" fmla="*/ 398 w 398"/>
                <a:gd name="T15" fmla="*/ 413 h 435"/>
                <a:gd name="T16" fmla="*/ 0 w 398"/>
                <a:gd name="T17" fmla="*/ 413 h 435"/>
                <a:gd name="T18" fmla="*/ 0 w 398"/>
                <a:gd name="T19" fmla="*/ 435 h 435"/>
                <a:gd name="T20" fmla="*/ 1 w 398"/>
                <a:gd name="T21" fmla="*/ 435 h 435"/>
                <a:gd name="T22" fmla="*/ 1 w 398"/>
                <a:gd name="T23" fmla="*/ 429 h 435"/>
                <a:gd name="T24" fmla="*/ 0 w 398"/>
                <a:gd name="T25" fmla="*/ 421 h 435"/>
                <a:gd name="T26" fmla="*/ 0 w 398"/>
                <a:gd name="T27" fmla="*/ 413 h 435"/>
                <a:gd name="T28" fmla="*/ 45 w 398"/>
                <a:gd name="T29" fmla="*/ 0 h 435"/>
                <a:gd name="T30" fmla="*/ 45 w 398"/>
                <a:gd name="T31" fmla="*/ 15 h 435"/>
                <a:gd name="T32" fmla="*/ 120 w 398"/>
                <a:gd name="T33" fmla="*/ 154 h 435"/>
                <a:gd name="T34" fmla="*/ 157 w 398"/>
                <a:gd name="T35" fmla="*/ 144 h 435"/>
                <a:gd name="T36" fmla="*/ 45 w 398"/>
                <a:gd name="T37" fmla="*/ 0 h 435"/>
                <a:gd name="T38" fmla="*/ 379 w 398"/>
                <a:gd name="T39" fmla="*/ 0 h 435"/>
                <a:gd name="T40" fmla="*/ 257 w 398"/>
                <a:gd name="T41" fmla="*/ 147 h 435"/>
                <a:gd name="T42" fmla="*/ 294 w 398"/>
                <a:gd name="T43" fmla="*/ 161 h 435"/>
                <a:gd name="T44" fmla="*/ 380 w 398"/>
                <a:gd name="T45" fmla="*/ 15 h 435"/>
                <a:gd name="T46" fmla="*/ 379 w 398"/>
                <a:gd name="T47"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8" h="435">
                  <a:moveTo>
                    <a:pt x="398" y="413"/>
                  </a:moveTo>
                  <a:cubicBezTo>
                    <a:pt x="398" y="418"/>
                    <a:pt x="398" y="424"/>
                    <a:pt x="398" y="429"/>
                  </a:cubicBezTo>
                  <a:cubicBezTo>
                    <a:pt x="398" y="429"/>
                    <a:pt x="398" y="430"/>
                    <a:pt x="398" y="431"/>
                  </a:cubicBezTo>
                  <a:cubicBezTo>
                    <a:pt x="398" y="432"/>
                    <a:pt x="398" y="434"/>
                    <a:pt x="397" y="435"/>
                  </a:cubicBezTo>
                  <a:cubicBezTo>
                    <a:pt x="398" y="435"/>
                    <a:pt x="398" y="435"/>
                    <a:pt x="398" y="435"/>
                  </a:cubicBezTo>
                  <a:cubicBezTo>
                    <a:pt x="398" y="433"/>
                    <a:pt x="398" y="431"/>
                    <a:pt x="398" y="429"/>
                  </a:cubicBezTo>
                  <a:cubicBezTo>
                    <a:pt x="398" y="426"/>
                    <a:pt x="398" y="426"/>
                    <a:pt x="398" y="426"/>
                  </a:cubicBezTo>
                  <a:cubicBezTo>
                    <a:pt x="398" y="421"/>
                    <a:pt x="398" y="417"/>
                    <a:pt x="398" y="413"/>
                  </a:cubicBezTo>
                  <a:moveTo>
                    <a:pt x="0" y="413"/>
                  </a:moveTo>
                  <a:cubicBezTo>
                    <a:pt x="0" y="420"/>
                    <a:pt x="0" y="428"/>
                    <a:pt x="0" y="435"/>
                  </a:cubicBezTo>
                  <a:cubicBezTo>
                    <a:pt x="1" y="435"/>
                    <a:pt x="1" y="435"/>
                    <a:pt x="1" y="435"/>
                  </a:cubicBezTo>
                  <a:cubicBezTo>
                    <a:pt x="1" y="433"/>
                    <a:pt x="1" y="431"/>
                    <a:pt x="1" y="429"/>
                  </a:cubicBezTo>
                  <a:cubicBezTo>
                    <a:pt x="0" y="426"/>
                    <a:pt x="0" y="424"/>
                    <a:pt x="0" y="421"/>
                  </a:cubicBezTo>
                  <a:cubicBezTo>
                    <a:pt x="0" y="418"/>
                    <a:pt x="0" y="416"/>
                    <a:pt x="0" y="413"/>
                  </a:cubicBezTo>
                  <a:moveTo>
                    <a:pt x="45" y="0"/>
                  </a:moveTo>
                  <a:cubicBezTo>
                    <a:pt x="45" y="5"/>
                    <a:pt x="45" y="10"/>
                    <a:pt x="45" y="15"/>
                  </a:cubicBezTo>
                  <a:cubicBezTo>
                    <a:pt x="45" y="73"/>
                    <a:pt x="75" y="124"/>
                    <a:pt x="120" y="154"/>
                  </a:cubicBezTo>
                  <a:cubicBezTo>
                    <a:pt x="132" y="149"/>
                    <a:pt x="145" y="146"/>
                    <a:pt x="157" y="144"/>
                  </a:cubicBezTo>
                  <a:cubicBezTo>
                    <a:pt x="96" y="123"/>
                    <a:pt x="51" y="67"/>
                    <a:pt x="45" y="0"/>
                  </a:cubicBezTo>
                  <a:moveTo>
                    <a:pt x="379" y="0"/>
                  </a:moveTo>
                  <a:cubicBezTo>
                    <a:pt x="373" y="71"/>
                    <a:pt x="323" y="129"/>
                    <a:pt x="257" y="147"/>
                  </a:cubicBezTo>
                  <a:cubicBezTo>
                    <a:pt x="269" y="150"/>
                    <a:pt x="281" y="155"/>
                    <a:pt x="294" y="161"/>
                  </a:cubicBezTo>
                  <a:cubicBezTo>
                    <a:pt x="345" y="132"/>
                    <a:pt x="380" y="78"/>
                    <a:pt x="380" y="15"/>
                  </a:cubicBezTo>
                  <a:cubicBezTo>
                    <a:pt x="380" y="10"/>
                    <a:pt x="380" y="5"/>
                    <a:pt x="379" y="0"/>
                  </a:cubicBezTo>
                </a:path>
              </a:pathLst>
            </a:custGeom>
            <a:solidFill>
              <a:srgbClr val="0F999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5" name="Freeform 121">
              <a:extLst>
                <a:ext uri="{FF2B5EF4-FFF2-40B4-BE49-F238E27FC236}">
                  <a16:creationId xmlns:a16="http://schemas.microsoft.com/office/drawing/2014/main" id="{BFCA188A-0A68-4438-9A92-FBB336DE9A52}"/>
                </a:ext>
              </a:extLst>
            </p:cNvPr>
            <p:cNvSpPr>
              <a:spLocks/>
            </p:cNvSpPr>
            <p:nvPr userDrawn="1"/>
          </p:nvSpPr>
          <p:spPr bwMode="auto">
            <a:xfrm flipH="1">
              <a:off x="9307122" y="1419655"/>
              <a:ext cx="705128" cy="626303"/>
            </a:xfrm>
            <a:custGeom>
              <a:avLst/>
              <a:gdLst>
                <a:gd name="T0" fmla="*/ 405 w 461"/>
                <a:gd name="T1" fmla="*/ 0 h 409"/>
                <a:gd name="T2" fmla="*/ 56 w 461"/>
                <a:gd name="T3" fmla="*/ 0 h 409"/>
                <a:gd name="T4" fmla="*/ 0 w 461"/>
                <a:gd name="T5" fmla="*/ 71 h 409"/>
                <a:gd name="T6" fmla="*/ 0 w 461"/>
                <a:gd name="T7" fmla="*/ 271 h 409"/>
                <a:gd name="T8" fmla="*/ 0 w 461"/>
                <a:gd name="T9" fmla="*/ 409 h 409"/>
                <a:gd name="T10" fmla="*/ 0 w 461"/>
                <a:gd name="T11" fmla="*/ 409 h 409"/>
                <a:gd name="T12" fmla="*/ 71 w 461"/>
                <a:gd name="T13" fmla="*/ 342 h 409"/>
                <a:gd name="T14" fmla="*/ 405 w 461"/>
                <a:gd name="T15" fmla="*/ 342 h 409"/>
                <a:gd name="T16" fmla="*/ 418 w 461"/>
                <a:gd name="T17" fmla="*/ 341 h 409"/>
                <a:gd name="T18" fmla="*/ 435 w 461"/>
                <a:gd name="T19" fmla="*/ 325 h 409"/>
                <a:gd name="T20" fmla="*/ 456 w 461"/>
                <a:gd name="T21" fmla="*/ 309 h 409"/>
                <a:gd name="T22" fmla="*/ 461 w 461"/>
                <a:gd name="T23" fmla="*/ 271 h 409"/>
                <a:gd name="T24" fmla="*/ 461 w 461"/>
                <a:gd name="T25" fmla="*/ 71 h 409"/>
                <a:gd name="T26" fmla="*/ 405 w 461"/>
                <a:gd name="T27"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1" h="409">
                  <a:moveTo>
                    <a:pt x="405" y="0"/>
                  </a:moveTo>
                  <a:cubicBezTo>
                    <a:pt x="56" y="0"/>
                    <a:pt x="56" y="0"/>
                    <a:pt x="56" y="0"/>
                  </a:cubicBezTo>
                  <a:cubicBezTo>
                    <a:pt x="0" y="0"/>
                    <a:pt x="0" y="50"/>
                    <a:pt x="0" y="71"/>
                  </a:cubicBezTo>
                  <a:cubicBezTo>
                    <a:pt x="0" y="271"/>
                    <a:pt x="0" y="271"/>
                    <a:pt x="0" y="271"/>
                  </a:cubicBezTo>
                  <a:cubicBezTo>
                    <a:pt x="0" y="409"/>
                    <a:pt x="0" y="409"/>
                    <a:pt x="0" y="409"/>
                  </a:cubicBezTo>
                  <a:cubicBezTo>
                    <a:pt x="0" y="409"/>
                    <a:pt x="0" y="409"/>
                    <a:pt x="0" y="409"/>
                  </a:cubicBezTo>
                  <a:cubicBezTo>
                    <a:pt x="2" y="409"/>
                    <a:pt x="59" y="397"/>
                    <a:pt x="71" y="342"/>
                  </a:cubicBezTo>
                  <a:cubicBezTo>
                    <a:pt x="405" y="342"/>
                    <a:pt x="405" y="342"/>
                    <a:pt x="405" y="342"/>
                  </a:cubicBezTo>
                  <a:cubicBezTo>
                    <a:pt x="410" y="342"/>
                    <a:pt x="414" y="342"/>
                    <a:pt x="418" y="341"/>
                  </a:cubicBezTo>
                  <a:cubicBezTo>
                    <a:pt x="423" y="335"/>
                    <a:pt x="428" y="330"/>
                    <a:pt x="435" y="325"/>
                  </a:cubicBezTo>
                  <a:cubicBezTo>
                    <a:pt x="456" y="309"/>
                    <a:pt x="456" y="309"/>
                    <a:pt x="456" y="309"/>
                  </a:cubicBezTo>
                  <a:cubicBezTo>
                    <a:pt x="461" y="295"/>
                    <a:pt x="461" y="280"/>
                    <a:pt x="461" y="271"/>
                  </a:cubicBezTo>
                  <a:cubicBezTo>
                    <a:pt x="461" y="71"/>
                    <a:pt x="461" y="71"/>
                    <a:pt x="461" y="71"/>
                  </a:cubicBezTo>
                  <a:cubicBezTo>
                    <a:pt x="461" y="49"/>
                    <a:pt x="460" y="0"/>
                    <a:pt x="405" y="0"/>
                  </a:cubicBezTo>
                </a:path>
              </a:pathLst>
            </a:custGeom>
            <a:solidFill>
              <a:srgbClr val="0F999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6" name="Freeform 122">
              <a:extLst>
                <a:ext uri="{FF2B5EF4-FFF2-40B4-BE49-F238E27FC236}">
                  <a16:creationId xmlns:a16="http://schemas.microsoft.com/office/drawing/2014/main" id="{0B8E0009-99F0-4F27-A2E7-9CB4EA4844DF}"/>
                </a:ext>
              </a:extLst>
            </p:cNvPr>
            <p:cNvSpPr>
              <a:spLocks/>
            </p:cNvSpPr>
            <p:nvPr userDrawn="1"/>
          </p:nvSpPr>
          <p:spPr bwMode="auto">
            <a:xfrm flipH="1">
              <a:off x="9315721" y="1892607"/>
              <a:ext cx="57327" cy="48728"/>
            </a:xfrm>
            <a:custGeom>
              <a:avLst/>
              <a:gdLst>
                <a:gd name="T0" fmla="*/ 38 w 38"/>
                <a:gd name="T1" fmla="*/ 0 h 32"/>
                <a:gd name="T2" fmla="*/ 17 w 38"/>
                <a:gd name="T3" fmla="*/ 16 h 32"/>
                <a:gd name="T4" fmla="*/ 0 w 38"/>
                <a:gd name="T5" fmla="*/ 32 h 32"/>
                <a:gd name="T6" fmla="*/ 38 w 38"/>
                <a:gd name="T7" fmla="*/ 0 h 32"/>
              </a:gdLst>
              <a:ahLst/>
              <a:cxnLst>
                <a:cxn ang="0">
                  <a:pos x="T0" y="T1"/>
                </a:cxn>
                <a:cxn ang="0">
                  <a:pos x="T2" y="T3"/>
                </a:cxn>
                <a:cxn ang="0">
                  <a:pos x="T4" y="T5"/>
                </a:cxn>
                <a:cxn ang="0">
                  <a:pos x="T6" y="T7"/>
                </a:cxn>
              </a:cxnLst>
              <a:rect l="0" t="0" r="r" b="b"/>
              <a:pathLst>
                <a:path w="38" h="32">
                  <a:moveTo>
                    <a:pt x="38" y="0"/>
                  </a:moveTo>
                  <a:cubicBezTo>
                    <a:pt x="17" y="16"/>
                    <a:pt x="17" y="16"/>
                    <a:pt x="17" y="16"/>
                  </a:cubicBezTo>
                  <a:cubicBezTo>
                    <a:pt x="10" y="21"/>
                    <a:pt x="5" y="26"/>
                    <a:pt x="0" y="32"/>
                  </a:cubicBezTo>
                  <a:cubicBezTo>
                    <a:pt x="22" y="28"/>
                    <a:pt x="33" y="15"/>
                    <a:pt x="38" y="0"/>
                  </a:cubicBezTo>
                </a:path>
              </a:pathLst>
            </a:custGeom>
            <a:solidFill>
              <a:srgbClr val="EE9F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7" name="Freeform 123">
              <a:extLst>
                <a:ext uri="{FF2B5EF4-FFF2-40B4-BE49-F238E27FC236}">
                  <a16:creationId xmlns:a16="http://schemas.microsoft.com/office/drawing/2014/main" id="{A4280F77-5E5D-4158-841F-4BA9C5769032}"/>
                </a:ext>
              </a:extLst>
            </p:cNvPr>
            <p:cNvSpPr>
              <a:spLocks/>
            </p:cNvSpPr>
            <p:nvPr userDrawn="1"/>
          </p:nvSpPr>
          <p:spPr bwMode="auto">
            <a:xfrm flipH="1">
              <a:off x="10102540" y="1376659"/>
              <a:ext cx="611971" cy="1061992"/>
            </a:xfrm>
            <a:custGeom>
              <a:avLst/>
              <a:gdLst>
                <a:gd name="T0" fmla="*/ 395 w 400"/>
                <a:gd name="T1" fmla="*/ 510 h 694"/>
                <a:gd name="T2" fmla="*/ 258 w 400"/>
                <a:gd name="T3" fmla="*/ 329 h 694"/>
                <a:gd name="T4" fmla="*/ 381 w 400"/>
                <a:gd name="T5" fmla="*/ 168 h 694"/>
                <a:gd name="T6" fmla="*/ 213 w 400"/>
                <a:gd name="T7" fmla="*/ 0 h 694"/>
                <a:gd name="T8" fmla="*/ 46 w 400"/>
                <a:gd name="T9" fmla="*/ 168 h 694"/>
                <a:gd name="T10" fmla="*/ 158 w 400"/>
                <a:gd name="T11" fmla="*/ 326 h 694"/>
                <a:gd name="T12" fmla="*/ 4 w 400"/>
                <a:gd name="T13" fmla="*/ 520 h 694"/>
                <a:gd name="T14" fmla="*/ 1 w 400"/>
                <a:gd name="T15" fmla="*/ 603 h 694"/>
                <a:gd name="T16" fmla="*/ 2 w 400"/>
                <a:gd name="T17" fmla="*/ 611 h 694"/>
                <a:gd name="T18" fmla="*/ 4 w 400"/>
                <a:gd name="T19" fmla="*/ 693 h 694"/>
                <a:gd name="T20" fmla="*/ 191 w 400"/>
                <a:gd name="T21" fmla="*/ 693 h 694"/>
                <a:gd name="T22" fmla="*/ 395 w 400"/>
                <a:gd name="T23" fmla="*/ 693 h 694"/>
                <a:gd name="T24" fmla="*/ 399 w 400"/>
                <a:gd name="T25" fmla="*/ 613 h 694"/>
                <a:gd name="T26" fmla="*/ 399 w 400"/>
                <a:gd name="T27" fmla="*/ 611 h 694"/>
                <a:gd name="T28" fmla="*/ 395 w 400"/>
                <a:gd name="T29" fmla="*/ 51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694">
                  <a:moveTo>
                    <a:pt x="395" y="510"/>
                  </a:moveTo>
                  <a:cubicBezTo>
                    <a:pt x="378" y="387"/>
                    <a:pt x="315" y="344"/>
                    <a:pt x="258" y="329"/>
                  </a:cubicBezTo>
                  <a:cubicBezTo>
                    <a:pt x="329" y="310"/>
                    <a:pt x="381" y="245"/>
                    <a:pt x="381" y="168"/>
                  </a:cubicBezTo>
                  <a:cubicBezTo>
                    <a:pt x="381" y="75"/>
                    <a:pt x="306" y="0"/>
                    <a:pt x="213" y="0"/>
                  </a:cubicBezTo>
                  <a:cubicBezTo>
                    <a:pt x="121" y="0"/>
                    <a:pt x="46" y="75"/>
                    <a:pt x="46" y="168"/>
                  </a:cubicBezTo>
                  <a:cubicBezTo>
                    <a:pt x="46" y="241"/>
                    <a:pt x="93" y="303"/>
                    <a:pt x="158" y="326"/>
                  </a:cubicBezTo>
                  <a:cubicBezTo>
                    <a:pt x="96" y="337"/>
                    <a:pt x="21" y="378"/>
                    <a:pt x="4" y="520"/>
                  </a:cubicBezTo>
                  <a:cubicBezTo>
                    <a:pt x="1" y="544"/>
                    <a:pt x="0" y="572"/>
                    <a:pt x="1" y="603"/>
                  </a:cubicBezTo>
                  <a:cubicBezTo>
                    <a:pt x="1" y="606"/>
                    <a:pt x="1" y="608"/>
                    <a:pt x="2" y="611"/>
                  </a:cubicBezTo>
                  <a:cubicBezTo>
                    <a:pt x="3" y="635"/>
                    <a:pt x="4" y="670"/>
                    <a:pt x="4" y="693"/>
                  </a:cubicBezTo>
                  <a:cubicBezTo>
                    <a:pt x="67" y="694"/>
                    <a:pt x="129" y="694"/>
                    <a:pt x="191" y="693"/>
                  </a:cubicBezTo>
                  <a:cubicBezTo>
                    <a:pt x="260" y="693"/>
                    <a:pt x="327" y="692"/>
                    <a:pt x="395" y="693"/>
                  </a:cubicBezTo>
                  <a:cubicBezTo>
                    <a:pt x="396" y="668"/>
                    <a:pt x="397" y="639"/>
                    <a:pt x="399" y="613"/>
                  </a:cubicBezTo>
                  <a:cubicBezTo>
                    <a:pt x="399" y="612"/>
                    <a:pt x="399" y="611"/>
                    <a:pt x="399" y="611"/>
                  </a:cubicBezTo>
                  <a:cubicBezTo>
                    <a:pt x="400" y="572"/>
                    <a:pt x="399" y="539"/>
                    <a:pt x="395" y="5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8" name="Freeform 124">
              <a:extLst>
                <a:ext uri="{FF2B5EF4-FFF2-40B4-BE49-F238E27FC236}">
                  <a16:creationId xmlns:a16="http://schemas.microsoft.com/office/drawing/2014/main" id="{C9F424F1-02C7-4FCC-9254-7727498DEC7E}"/>
                </a:ext>
              </a:extLst>
            </p:cNvPr>
            <p:cNvSpPr>
              <a:spLocks/>
            </p:cNvSpPr>
            <p:nvPr userDrawn="1"/>
          </p:nvSpPr>
          <p:spPr bwMode="auto">
            <a:xfrm flipH="1">
              <a:off x="9307122" y="1376659"/>
              <a:ext cx="705128" cy="627736"/>
            </a:xfrm>
            <a:custGeom>
              <a:avLst/>
              <a:gdLst>
                <a:gd name="T0" fmla="*/ 405 w 461"/>
                <a:gd name="T1" fmla="*/ 0 h 410"/>
                <a:gd name="T2" fmla="*/ 56 w 461"/>
                <a:gd name="T3" fmla="*/ 0 h 410"/>
                <a:gd name="T4" fmla="*/ 0 w 461"/>
                <a:gd name="T5" fmla="*/ 72 h 410"/>
                <a:gd name="T6" fmla="*/ 0 w 461"/>
                <a:gd name="T7" fmla="*/ 271 h 410"/>
                <a:gd name="T8" fmla="*/ 0 w 461"/>
                <a:gd name="T9" fmla="*/ 410 h 410"/>
                <a:gd name="T10" fmla="*/ 71 w 461"/>
                <a:gd name="T11" fmla="*/ 343 h 410"/>
                <a:gd name="T12" fmla="*/ 405 w 461"/>
                <a:gd name="T13" fmla="*/ 343 h 410"/>
                <a:gd name="T14" fmla="*/ 461 w 461"/>
                <a:gd name="T15" fmla="*/ 271 h 410"/>
                <a:gd name="T16" fmla="*/ 461 w 461"/>
                <a:gd name="T17" fmla="*/ 72 h 410"/>
                <a:gd name="T18" fmla="*/ 405 w 461"/>
                <a:gd name="T19"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1" h="410">
                  <a:moveTo>
                    <a:pt x="405" y="0"/>
                  </a:moveTo>
                  <a:cubicBezTo>
                    <a:pt x="56" y="0"/>
                    <a:pt x="56" y="0"/>
                    <a:pt x="56" y="0"/>
                  </a:cubicBezTo>
                  <a:cubicBezTo>
                    <a:pt x="0" y="0"/>
                    <a:pt x="0" y="51"/>
                    <a:pt x="0" y="72"/>
                  </a:cubicBezTo>
                  <a:cubicBezTo>
                    <a:pt x="0" y="271"/>
                    <a:pt x="0" y="271"/>
                    <a:pt x="0" y="271"/>
                  </a:cubicBezTo>
                  <a:cubicBezTo>
                    <a:pt x="0" y="410"/>
                    <a:pt x="0" y="410"/>
                    <a:pt x="0" y="410"/>
                  </a:cubicBezTo>
                  <a:cubicBezTo>
                    <a:pt x="0" y="410"/>
                    <a:pt x="59" y="399"/>
                    <a:pt x="71" y="343"/>
                  </a:cubicBezTo>
                  <a:cubicBezTo>
                    <a:pt x="405" y="343"/>
                    <a:pt x="405" y="343"/>
                    <a:pt x="405" y="343"/>
                  </a:cubicBezTo>
                  <a:cubicBezTo>
                    <a:pt x="461" y="343"/>
                    <a:pt x="461" y="293"/>
                    <a:pt x="461" y="271"/>
                  </a:cubicBezTo>
                  <a:cubicBezTo>
                    <a:pt x="461" y="72"/>
                    <a:pt x="461" y="72"/>
                    <a:pt x="461" y="72"/>
                  </a:cubicBezTo>
                  <a:cubicBezTo>
                    <a:pt x="461" y="51"/>
                    <a:pt x="461" y="0"/>
                    <a:pt x="40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9" name="Freeform 125">
              <a:extLst>
                <a:ext uri="{FF2B5EF4-FFF2-40B4-BE49-F238E27FC236}">
                  <a16:creationId xmlns:a16="http://schemas.microsoft.com/office/drawing/2014/main" id="{8CDB349B-516C-494D-A428-C6F0FD886F84}"/>
                </a:ext>
              </a:extLst>
            </p:cNvPr>
            <p:cNvSpPr>
              <a:spLocks/>
            </p:cNvSpPr>
            <p:nvPr userDrawn="1"/>
          </p:nvSpPr>
          <p:spPr bwMode="auto">
            <a:xfrm flipH="1">
              <a:off x="9801571" y="1598803"/>
              <a:ext cx="108922" cy="84558"/>
            </a:xfrm>
            <a:custGeom>
              <a:avLst/>
              <a:gdLst>
                <a:gd name="T0" fmla="*/ 35 w 71"/>
                <a:gd name="T1" fmla="*/ 0 h 55"/>
                <a:gd name="T2" fmla="*/ 35 w 71"/>
                <a:gd name="T3" fmla="*/ 55 h 55"/>
                <a:gd name="T4" fmla="*/ 35 w 71"/>
                <a:gd name="T5" fmla="*/ 0 h 55"/>
              </a:gdLst>
              <a:ahLst/>
              <a:cxnLst>
                <a:cxn ang="0">
                  <a:pos x="T0" y="T1"/>
                </a:cxn>
                <a:cxn ang="0">
                  <a:pos x="T2" y="T3"/>
                </a:cxn>
                <a:cxn ang="0">
                  <a:pos x="T4" y="T5"/>
                </a:cxn>
              </a:cxnLst>
              <a:rect l="0" t="0" r="r" b="b"/>
              <a:pathLst>
                <a:path w="71" h="55">
                  <a:moveTo>
                    <a:pt x="35" y="0"/>
                  </a:moveTo>
                  <a:cubicBezTo>
                    <a:pt x="0" y="0"/>
                    <a:pt x="0" y="55"/>
                    <a:pt x="35" y="55"/>
                  </a:cubicBezTo>
                  <a:cubicBezTo>
                    <a:pt x="71" y="55"/>
                    <a:pt x="71" y="0"/>
                    <a:pt x="35" y="0"/>
                  </a:cubicBezTo>
                </a:path>
              </a:pathLst>
            </a:custGeom>
            <a:solidFill>
              <a:srgbClr val="01D1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0" name="Freeform 126">
              <a:extLst>
                <a:ext uri="{FF2B5EF4-FFF2-40B4-BE49-F238E27FC236}">
                  <a16:creationId xmlns:a16="http://schemas.microsoft.com/office/drawing/2014/main" id="{E2B54EF8-CAFD-46AA-9A27-091CB0FE4E4A}"/>
                </a:ext>
              </a:extLst>
            </p:cNvPr>
            <p:cNvSpPr>
              <a:spLocks/>
            </p:cNvSpPr>
            <p:nvPr userDrawn="1"/>
          </p:nvSpPr>
          <p:spPr bwMode="auto">
            <a:xfrm flipH="1">
              <a:off x="9605225" y="1598803"/>
              <a:ext cx="108922" cy="84558"/>
            </a:xfrm>
            <a:custGeom>
              <a:avLst/>
              <a:gdLst>
                <a:gd name="T0" fmla="*/ 36 w 71"/>
                <a:gd name="T1" fmla="*/ 0 h 55"/>
                <a:gd name="T2" fmla="*/ 36 w 71"/>
                <a:gd name="T3" fmla="*/ 55 h 55"/>
                <a:gd name="T4" fmla="*/ 36 w 71"/>
                <a:gd name="T5" fmla="*/ 0 h 55"/>
              </a:gdLst>
              <a:ahLst/>
              <a:cxnLst>
                <a:cxn ang="0">
                  <a:pos x="T0" y="T1"/>
                </a:cxn>
                <a:cxn ang="0">
                  <a:pos x="T2" y="T3"/>
                </a:cxn>
                <a:cxn ang="0">
                  <a:pos x="T4" y="T5"/>
                </a:cxn>
              </a:cxnLst>
              <a:rect l="0" t="0" r="r" b="b"/>
              <a:pathLst>
                <a:path w="71" h="55">
                  <a:moveTo>
                    <a:pt x="36" y="0"/>
                  </a:moveTo>
                  <a:cubicBezTo>
                    <a:pt x="0" y="0"/>
                    <a:pt x="0" y="55"/>
                    <a:pt x="36" y="55"/>
                  </a:cubicBezTo>
                  <a:cubicBezTo>
                    <a:pt x="71" y="55"/>
                    <a:pt x="71" y="0"/>
                    <a:pt x="36" y="0"/>
                  </a:cubicBezTo>
                </a:path>
              </a:pathLst>
            </a:custGeom>
            <a:solidFill>
              <a:srgbClr val="01D1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1" name="Freeform 127">
              <a:extLst>
                <a:ext uri="{FF2B5EF4-FFF2-40B4-BE49-F238E27FC236}">
                  <a16:creationId xmlns:a16="http://schemas.microsoft.com/office/drawing/2014/main" id="{F73AC3BD-3E81-4D72-84EA-A38DE67BD7B9}"/>
                </a:ext>
              </a:extLst>
            </p:cNvPr>
            <p:cNvSpPr>
              <a:spLocks/>
            </p:cNvSpPr>
            <p:nvPr userDrawn="1"/>
          </p:nvSpPr>
          <p:spPr bwMode="auto">
            <a:xfrm flipH="1">
              <a:off x="9410311" y="1598803"/>
              <a:ext cx="108922" cy="84558"/>
            </a:xfrm>
            <a:custGeom>
              <a:avLst/>
              <a:gdLst>
                <a:gd name="T0" fmla="*/ 36 w 71"/>
                <a:gd name="T1" fmla="*/ 0 h 55"/>
                <a:gd name="T2" fmla="*/ 36 w 71"/>
                <a:gd name="T3" fmla="*/ 55 h 55"/>
                <a:gd name="T4" fmla="*/ 36 w 71"/>
                <a:gd name="T5" fmla="*/ 0 h 55"/>
              </a:gdLst>
              <a:ahLst/>
              <a:cxnLst>
                <a:cxn ang="0">
                  <a:pos x="T0" y="T1"/>
                </a:cxn>
                <a:cxn ang="0">
                  <a:pos x="T2" y="T3"/>
                </a:cxn>
                <a:cxn ang="0">
                  <a:pos x="T4" y="T5"/>
                </a:cxn>
              </a:cxnLst>
              <a:rect l="0" t="0" r="r" b="b"/>
              <a:pathLst>
                <a:path w="71" h="55">
                  <a:moveTo>
                    <a:pt x="36" y="0"/>
                  </a:moveTo>
                  <a:cubicBezTo>
                    <a:pt x="0" y="0"/>
                    <a:pt x="0" y="55"/>
                    <a:pt x="36" y="55"/>
                  </a:cubicBezTo>
                  <a:cubicBezTo>
                    <a:pt x="71" y="55"/>
                    <a:pt x="71" y="0"/>
                    <a:pt x="36" y="0"/>
                  </a:cubicBezTo>
                </a:path>
              </a:pathLst>
            </a:custGeom>
            <a:solidFill>
              <a:srgbClr val="01D1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2" name="Freeform 128">
              <a:extLst>
                <a:ext uri="{FF2B5EF4-FFF2-40B4-BE49-F238E27FC236}">
                  <a16:creationId xmlns:a16="http://schemas.microsoft.com/office/drawing/2014/main" id="{423AD95F-80CD-4896-A089-9E45708B528C}"/>
                </a:ext>
              </a:extLst>
            </p:cNvPr>
            <p:cNvSpPr>
              <a:spLocks/>
            </p:cNvSpPr>
            <p:nvPr userDrawn="1"/>
          </p:nvSpPr>
          <p:spPr bwMode="auto">
            <a:xfrm flipH="1">
              <a:off x="9344380" y="2962274"/>
              <a:ext cx="1590406" cy="159389"/>
            </a:xfrm>
            <a:custGeom>
              <a:avLst/>
              <a:gdLst>
                <a:gd name="T0" fmla="*/ 997 w 998"/>
                <a:gd name="T1" fmla="*/ 0 h 102"/>
                <a:gd name="T2" fmla="*/ 683 w 998"/>
                <a:gd name="T3" fmla="*/ 0 h 102"/>
                <a:gd name="T4" fmla="*/ 621 w 998"/>
                <a:gd name="T5" fmla="*/ 0 h 102"/>
                <a:gd name="T6" fmla="*/ 609 w 998"/>
                <a:gd name="T7" fmla="*/ 0 h 102"/>
                <a:gd name="T8" fmla="*/ 562 w 998"/>
                <a:gd name="T9" fmla="*/ 63 h 102"/>
                <a:gd name="T10" fmla="*/ 515 w 998"/>
                <a:gd name="T11" fmla="*/ 0 h 102"/>
                <a:gd name="T12" fmla="*/ 0 w 998"/>
                <a:gd name="T13" fmla="*/ 0 h 102"/>
                <a:gd name="T14" fmla="*/ 0 w 998"/>
                <a:gd name="T15" fmla="*/ 40 h 102"/>
                <a:gd name="T16" fmla="*/ 515 w 998"/>
                <a:gd name="T17" fmla="*/ 40 h 102"/>
                <a:gd name="T18" fmla="*/ 562 w 998"/>
                <a:gd name="T19" fmla="*/ 102 h 102"/>
                <a:gd name="T20" fmla="*/ 609 w 998"/>
                <a:gd name="T21" fmla="*/ 40 h 102"/>
                <a:gd name="T22" fmla="*/ 621 w 998"/>
                <a:gd name="T23" fmla="*/ 40 h 102"/>
                <a:gd name="T24" fmla="*/ 683 w 998"/>
                <a:gd name="T25" fmla="*/ 40 h 102"/>
                <a:gd name="T26" fmla="*/ 998 w 998"/>
                <a:gd name="T27" fmla="*/ 40 h 102"/>
                <a:gd name="T28" fmla="*/ 998 w 998"/>
                <a:gd name="T29" fmla="*/ 12 h 102"/>
                <a:gd name="T30" fmla="*/ 997 w 998"/>
                <a:gd name="T31" fmla="*/ 0 h 102"/>
                <a:gd name="connsiteX0" fmla="*/ 9990 w 10000"/>
                <a:gd name="connsiteY0" fmla="*/ 0 h 10000"/>
                <a:gd name="connsiteX1" fmla="*/ 6844 w 10000"/>
                <a:gd name="connsiteY1" fmla="*/ 0 h 10000"/>
                <a:gd name="connsiteX2" fmla="*/ 6222 w 10000"/>
                <a:gd name="connsiteY2" fmla="*/ 0 h 10000"/>
                <a:gd name="connsiteX3" fmla="*/ 6102 w 10000"/>
                <a:gd name="connsiteY3" fmla="*/ 0 h 10000"/>
                <a:gd name="connsiteX4" fmla="*/ 5631 w 10000"/>
                <a:gd name="connsiteY4" fmla="*/ 6176 h 10000"/>
                <a:gd name="connsiteX5" fmla="*/ 5160 w 10000"/>
                <a:gd name="connsiteY5" fmla="*/ 0 h 10000"/>
                <a:gd name="connsiteX6" fmla="*/ 0 w 10000"/>
                <a:gd name="connsiteY6" fmla="*/ 0 h 10000"/>
                <a:gd name="connsiteX7" fmla="*/ 0 w 10000"/>
                <a:gd name="connsiteY7" fmla="*/ 3922 h 10000"/>
                <a:gd name="connsiteX8" fmla="*/ 5160 w 10000"/>
                <a:gd name="connsiteY8" fmla="*/ 3922 h 10000"/>
                <a:gd name="connsiteX9" fmla="*/ 5631 w 10000"/>
                <a:gd name="connsiteY9" fmla="*/ 10000 h 10000"/>
                <a:gd name="connsiteX10" fmla="*/ 6102 w 10000"/>
                <a:gd name="connsiteY10" fmla="*/ 3922 h 10000"/>
                <a:gd name="connsiteX11" fmla="*/ 6222 w 10000"/>
                <a:gd name="connsiteY11" fmla="*/ 3922 h 10000"/>
                <a:gd name="connsiteX12" fmla="*/ 6844 w 10000"/>
                <a:gd name="connsiteY12" fmla="*/ 3922 h 10000"/>
                <a:gd name="connsiteX13" fmla="*/ 10000 w 10000"/>
                <a:gd name="connsiteY13" fmla="*/ 3922 h 10000"/>
                <a:gd name="connsiteX14" fmla="*/ 10000 w 10000"/>
                <a:gd name="connsiteY14" fmla="*/ 1176 h 10000"/>
                <a:gd name="connsiteX15" fmla="*/ 9990 w 10000"/>
                <a:gd name="connsiteY15" fmla="*/ 0 h 10000"/>
                <a:gd name="connsiteX0" fmla="*/ 9990 w 10000"/>
                <a:gd name="connsiteY0" fmla="*/ 0 h 10000"/>
                <a:gd name="connsiteX1" fmla="*/ 6844 w 10000"/>
                <a:gd name="connsiteY1" fmla="*/ 0 h 10000"/>
                <a:gd name="connsiteX2" fmla="*/ 6222 w 10000"/>
                <a:gd name="connsiteY2" fmla="*/ 0 h 10000"/>
                <a:gd name="connsiteX3" fmla="*/ 6102 w 10000"/>
                <a:gd name="connsiteY3" fmla="*/ 0 h 10000"/>
                <a:gd name="connsiteX4" fmla="*/ 5631 w 10000"/>
                <a:gd name="connsiteY4" fmla="*/ 6176 h 10000"/>
                <a:gd name="connsiteX5" fmla="*/ 5160 w 10000"/>
                <a:gd name="connsiteY5" fmla="*/ 0 h 10000"/>
                <a:gd name="connsiteX6" fmla="*/ 0 w 10000"/>
                <a:gd name="connsiteY6" fmla="*/ 0 h 10000"/>
                <a:gd name="connsiteX7" fmla="*/ 0 w 10000"/>
                <a:gd name="connsiteY7" fmla="*/ 3922 h 10000"/>
                <a:gd name="connsiteX8" fmla="*/ 5160 w 10000"/>
                <a:gd name="connsiteY8" fmla="*/ 3922 h 10000"/>
                <a:gd name="connsiteX9" fmla="*/ 5631 w 10000"/>
                <a:gd name="connsiteY9" fmla="*/ 10000 h 10000"/>
                <a:gd name="connsiteX10" fmla="*/ 6102 w 10000"/>
                <a:gd name="connsiteY10" fmla="*/ 3922 h 10000"/>
                <a:gd name="connsiteX11" fmla="*/ 6222 w 10000"/>
                <a:gd name="connsiteY11" fmla="*/ 3922 h 10000"/>
                <a:gd name="connsiteX12" fmla="*/ 6844 w 10000"/>
                <a:gd name="connsiteY12" fmla="*/ 3922 h 10000"/>
                <a:gd name="connsiteX13" fmla="*/ 10000 w 10000"/>
                <a:gd name="connsiteY13" fmla="*/ 3922 h 10000"/>
                <a:gd name="connsiteX14" fmla="*/ 10000 w 10000"/>
                <a:gd name="connsiteY14" fmla="*/ 1176 h 10000"/>
                <a:gd name="connsiteX15" fmla="*/ 9990 w 10000"/>
                <a:gd name="connsiteY15" fmla="*/ 0 h 10000"/>
                <a:gd name="connsiteX0" fmla="*/ 9990 w 10000"/>
                <a:gd name="connsiteY0" fmla="*/ 0 h 10000"/>
                <a:gd name="connsiteX1" fmla="*/ 6844 w 10000"/>
                <a:gd name="connsiteY1" fmla="*/ 0 h 10000"/>
                <a:gd name="connsiteX2" fmla="*/ 6222 w 10000"/>
                <a:gd name="connsiteY2" fmla="*/ 0 h 10000"/>
                <a:gd name="connsiteX3" fmla="*/ 6102 w 10000"/>
                <a:gd name="connsiteY3" fmla="*/ 0 h 10000"/>
                <a:gd name="connsiteX4" fmla="*/ 5631 w 10000"/>
                <a:gd name="connsiteY4" fmla="*/ 6176 h 10000"/>
                <a:gd name="connsiteX5" fmla="*/ 5160 w 10000"/>
                <a:gd name="connsiteY5" fmla="*/ 0 h 10000"/>
                <a:gd name="connsiteX6" fmla="*/ 0 w 10000"/>
                <a:gd name="connsiteY6" fmla="*/ 0 h 10000"/>
                <a:gd name="connsiteX7" fmla="*/ 0 w 10000"/>
                <a:gd name="connsiteY7" fmla="*/ 3922 h 10000"/>
                <a:gd name="connsiteX8" fmla="*/ 5160 w 10000"/>
                <a:gd name="connsiteY8" fmla="*/ 3922 h 10000"/>
                <a:gd name="connsiteX9" fmla="*/ 5631 w 10000"/>
                <a:gd name="connsiteY9" fmla="*/ 10000 h 10000"/>
                <a:gd name="connsiteX10" fmla="*/ 6102 w 10000"/>
                <a:gd name="connsiteY10" fmla="*/ 3922 h 10000"/>
                <a:gd name="connsiteX11" fmla="*/ 6222 w 10000"/>
                <a:gd name="connsiteY11" fmla="*/ 3922 h 10000"/>
                <a:gd name="connsiteX12" fmla="*/ 6844 w 10000"/>
                <a:gd name="connsiteY12" fmla="*/ 3922 h 10000"/>
                <a:gd name="connsiteX13" fmla="*/ 10000 w 10000"/>
                <a:gd name="connsiteY13" fmla="*/ 3922 h 10000"/>
                <a:gd name="connsiteX14" fmla="*/ 10000 w 10000"/>
                <a:gd name="connsiteY14" fmla="*/ 1176 h 10000"/>
                <a:gd name="connsiteX15" fmla="*/ 9990 w 10000"/>
                <a:gd name="connsiteY15" fmla="*/ 0 h 10000"/>
                <a:gd name="connsiteX0" fmla="*/ 9990 w 10000"/>
                <a:gd name="connsiteY0" fmla="*/ 0 h 10000"/>
                <a:gd name="connsiteX1" fmla="*/ 6844 w 10000"/>
                <a:gd name="connsiteY1" fmla="*/ 0 h 10000"/>
                <a:gd name="connsiteX2" fmla="*/ 6222 w 10000"/>
                <a:gd name="connsiteY2" fmla="*/ 0 h 10000"/>
                <a:gd name="connsiteX3" fmla="*/ 6102 w 10000"/>
                <a:gd name="connsiteY3" fmla="*/ 0 h 10000"/>
                <a:gd name="connsiteX4" fmla="*/ 5631 w 10000"/>
                <a:gd name="connsiteY4" fmla="*/ 6176 h 10000"/>
                <a:gd name="connsiteX5" fmla="*/ 5160 w 10000"/>
                <a:gd name="connsiteY5" fmla="*/ 0 h 10000"/>
                <a:gd name="connsiteX6" fmla="*/ 0 w 10000"/>
                <a:gd name="connsiteY6" fmla="*/ 0 h 10000"/>
                <a:gd name="connsiteX7" fmla="*/ 0 w 10000"/>
                <a:gd name="connsiteY7" fmla="*/ 3922 h 10000"/>
                <a:gd name="connsiteX8" fmla="*/ 5160 w 10000"/>
                <a:gd name="connsiteY8" fmla="*/ 3922 h 10000"/>
                <a:gd name="connsiteX9" fmla="*/ 5631 w 10000"/>
                <a:gd name="connsiteY9" fmla="*/ 10000 h 10000"/>
                <a:gd name="connsiteX10" fmla="*/ 6102 w 10000"/>
                <a:gd name="connsiteY10" fmla="*/ 3922 h 10000"/>
                <a:gd name="connsiteX11" fmla="*/ 6222 w 10000"/>
                <a:gd name="connsiteY11" fmla="*/ 3922 h 10000"/>
                <a:gd name="connsiteX12" fmla="*/ 6844 w 10000"/>
                <a:gd name="connsiteY12" fmla="*/ 3922 h 10000"/>
                <a:gd name="connsiteX13" fmla="*/ 10000 w 10000"/>
                <a:gd name="connsiteY13" fmla="*/ 3922 h 10000"/>
                <a:gd name="connsiteX14" fmla="*/ 10000 w 10000"/>
                <a:gd name="connsiteY14" fmla="*/ 1176 h 10000"/>
                <a:gd name="connsiteX15" fmla="*/ 9990 w 10000"/>
                <a:gd name="connsiteY15" fmla="*/ 0 h 10000"/>
                <a:gd name="connsiteX0" fmla="*/ 9990 w 10000"/>
                <a:gd name="connsiteY0" fmla="*/ 0 h 10000"/>
                <a:gd name="connsiteX1" fmla="*/ 6844 w 10000"/>
                <a:gd name="connsiteY1" fmla="*/ 0 h 10000"/>
                <a:gd name="connsiteX2" fmla="*/ 6222 w 10000"/>
                <a:gd name="connsiteY2" fmla="*/ 0 h 10000"/>
                <a:gd name="connsiteX3" fmla="*/ 6102 w 10000"/>
                <a:gd name="connsiteY3" fmla="*/ 0 h 10000"/>
                <a:gd name="connsiteX4" fmla="*/ 5631 w 10000"/>
                <a:gd name="connsiteY4" fmla="*/ 6176 h 10000"/>
                <a:gd name="connsiteX5" fmla="*/ 5160 w 10000"/>
                <a:gd name="connsiteY5" fmla="*/ 0 h 10000"/>
                <a:gd name="connsiteX6" fmla="*/ 0 w 10000"/>
                <a:gd name="connsiteY6" fmla="*/ 0 h 10000"/>
                <a:gd name="connsiteX7" fmla="*/ 1071 w 10000"/>
                <a:gd name="connsiteY7" fmla="*/ 3770 h 10000"/>
                <a:gd name="connsiteX8" fmla="*/ 5160 w 10000"/>
                <a:gd name="connsiteY8" fmla="*/ 3922 h 10000"/>
                <a:gd name="connsiteX9" fmla="*/ 5631 w 10000"/>
                <a:gd name="connsiteY9" fmla="*/ 10000 h 10000"/>
                <a:gd name="connsiteX10" fmla="*/ 6102 w 10000"/>
                <a:gd name="connsiteY10" fmla="*/ 3922 h 10000"/>
                <a:gd name="connsiteX11" fmla="*/ 6222 w 10000"/>
                <a:gd name="connsiteY11" fmla="*/ 3922 h 10000"/>
                <a:gd name="connsiteX12" fmla="*/ 6844 w 10000"/>
                <a:gd name="connsiteY12" fmla="*/ 3922 h 10000"/>
                <a:gd name="connsiteX13" fmla="*/ 10000 w 10000"/>
                <a:gd name="connsiteY13" fmla="*/ 3922 h 10000"/>
                <a:gd name="connsiteX14" fmla="*/ 10000 w 10000"/>
                <a:gd name="connsiteY14" fmla="*/ 1176 h 10000"/>
                <a:gd name="connsiteX15" fmla="*/ 9990 w 10000"/>
                <a:gd name="connsiteY15" fmla="*/ 0 h 10000"/>
                <a:gd name="connsiteX0" fmla="*/ 8919 w 8929"/>
                <a:gd name="connsiteY0" fmla="*/ 305 h 10305"/>
                <a:gd name="connsiteX1" fmla="*/ 5773 w 8929"/>
                <a:gd name="connsiteY1" fmla="*/ 305 h 10305"/>
                <a:gd name="connsiteX2" fmla="*/ 5151 w 8929"/>
                <a:gd name="connsiteY2" fmla="*/ 305 h 10305"/>
                <a:gd name="connsiteX3" fmla="*/ 5031 w 8929"/>
                <a:gd name="connsiteY3" fmla="*/ 305 h 10305"/>
                <a:gd name="connsiteX4" fmla="*/ 4560 w 8929"/>
                <a:gd name="connsiteY4" fmla="*/ 6481 h 10305"/>
                <a:gd name="connsiteX5" fmla="*/ 4089 w 8929"/>
                <a:gd name="connsiteY5" fmla="*/ 305 h 10305"/>
                <a:gd name="connsiteX6" fmla="*/ 0 w 8929"/>
                <a:gd name="connsiteY6" fmla="*/ 0 h 10305"/>
                <a:gd name="connsiteX7" fmla="*/ 0 w 8929"/>
                <a:gd name="connsiteY7" fmla="*/ 4075 h 10305"/>
                <a:gd name="connsiteX8" fmla="*/ 4089 w 8929"/>
                <a:gd name="connsiteY8" fmla="*/ 4227 h 10305"/>
                <a:gd name="connsiteX9" fmla="*/ 4560 w 8929"/>
                <a:gd name="connsiteY9" fmla="*/ 10305 h 10305"/>
                <a:gd name="connsiteX10" fmla="*/ 5031 w 8929"/>
                <a:gd name="connsiteY10" fmla="*/ 4227 h 10305"/>
                <a:gd name="connsiteX11" fmla="*/ 5151 w 8929"/>
                <a:gd name="connsiteY11" fmla="*/ 4227 h 10305"/>
                <a:gd name="connsiteX12" fmla="*/ 5773 w 8929"/>
                <a:gd name="connsiteY12" fmla="*/ 4227 h 10305"/>
                <a:gd name="connsiteX13" fmla="*/ 8929 w 8929"/>
                <a:gd name="connsiteY13" fmla="*/ 4227 h 10305"/>
                <a:gd name="connsiteX14" fmla="*/ 8929 w 8929"/>
                <a:gd name="connsiteY14" fmla="*/ 1481 h 10305"/>
                <a:gd name="connsiteX15" fmla="*/ 8919 w 8929"/>
                <a:gd name="connsiteY15" fmla="*/ 305 h 10305"/>
                <a:gd name="connsiteX0" fmla="*/ 9989 w 10000"/>
                <a:gd name="connsiteY0" fmla="*/ 296 h 10000"/>
                <a:gd name="connsiteX1" fmla="*/ 6465 w 10000"/>
                <a:gd name="connsiteY1" fmla="*/ 296 h 10000"/>
                <a:gd name="connsiteX2" fmla="*/ 5769 w 10000"/>
                <a:gd name="connsiteY2" fmla="*/ 296 h 10000"/>
                <a:gd name="connsiteX3" fmla="*/ 5634 w 10000"/>
                <a:gd name="connsiteY3" fmla="*/ 296 h 10000"/>
                <a:gd name="connsiteX4" fmla="*/ 5107 w 10000"/>
                <a:gd name="connsiteY4" fmla="*/ 6289 h 10000"/>
                <a:gd name="connsiteX5" fmla="*/ 4579 w 10000"/>
                <a:gd name="connsiteY5" fmla="*/ 296 h 10000"/>
                <a:gd name="connsiteX6" fmla="*/ 0 w 10000"/>
                <a:gd name="connsiteY6" fmla="*/ 0 h 10000"/>
                <a:gd name="connsiteX7" fmla="*/ 0 w 10000"/>
                <a:gd name="connsiteY7" fmla="*/ 3954 h 10000"/>
                <a:gd name="connsiteX8" fmla="*/ 807 w 10000"/>
                <a:gd name="connsiteY8" fmla="*/ 3945 h 10000"/>
                <a:gd name="connsiteX9" fmla="*/ 4579 w 10000"/>
                <a:gd name="connsiteY9" fmla="*/ 4102 h 10000"/>
                <a:gd name="connsiteX10" fmla="*/ 5107 w 10000"/>
                <a:gd name="connsiteY10" fmla="*/ 10000 h 10000"/>
                <a:gd name="connsiteX11" fmla="*/ 5634 w 10000"/>
                <a:gd name="connsiteY11" fmla="*/ 4102 h 10000"/>
                <a:gd name="connsiteX12" fmla="*/ 5769 w 10000"/>
                <a:gd name="connsiteY12" fmla="*/ 4102 h 10000"/>
                <a:gd name="connsiteX13" fmla="*/ 6465 w 10000"/>
                <a:gd name="connsiteY13" fmla="*/ 4102 h 10000"/>
                <a:gd name="connsiteX14" fmla="*/ 10000 w 10000"/>
                <a:gd name="connsiteY14" fmla="*/ 4102 h 10000"/>
                <a:gd name="connsiteX15" fmla="*/ 10000 w 10000"/>
                <a:gd name="connsiteY15" fmla="*/ 1437 h 10000"/>
                <a:gd name="connsiteX16" fmla="*/ 9989 w 10000"/>
                <a:gd name="connsiteY16" fmla="*/ 296 h 10000"/>
                <a:gd name="connsiteX0" fmla="*/ 9989 w 10000"/>
                <a:gd name="connsiteY0" fmla="*/ 296 h 10000"/>
                <a:gd name="connsiteX1" fmla="*/ 6465 w 10000"/>
                <a:gd name="connsiteY1" fmla="*/ 296 h 10000"/>
                <a:gd name="connsiteX2" fmla="*/ 5769 w 10000"/>
                <a:gd name="connsiteY2" fmla="*/ 296 h 10000"/>
                <a:gd name="connsiteX3" fmla="*/ 5634 w 10000"/>
                <a:gd name="connsiteY3" fmla="*/ 296 h 10000"/>
                <a:gd name="connsiteX4" fmla="*/ 5107 w 10000"/>
                <a:gd name="connsiteY4" fmla="*/ 6289 h 10000"/>
                <a:gd name="connsiteX5" fmla="*/ 4579 w 10000"/>
                <a:gd name="connsiteY5" fmla="*/ 296 h 10000"/>
                <a:gd name="connsiteX6" fmla="*/ 973 w 10000"/>
                <a:gd name="connsiteY6" fmla="*/ 99 h 10000"/>
                <a:gd name="connsiteX7" fmla="*/ 0 w 10000"/>
                <a:gd name="connsiteY7" fmla="*/ 0 h 10000"/>
                <a:gd name="connsiteX8" fmla="*/ 0 w 10000"/>
                <a:gd name="connsiteY8" fmla="*/ 3954 h 10000"/>
                <a:gd name="connsiteX9" fmla="*/ 807 w 10000"/>
                <a:gd name="connsiteY9" fmla="*/ 3945 h 10000"/>
                <a:gd name="connsiteX10" fmla="*/ 4579 w 10000"/>
                <a:gd name="connsiteY10" fmla="*/ 4102 h 10000"/>
                <a:gd name="connsiteX11" fmla="*/ 5107 w 10000"/>
                <a:gd name="connsiteY11" fmla="*/ 10000 h 10000"/>
                <a:gd name="connsiteX12" fmla="*/ 5634 w 10000"/>
                <a:gd name="connsiteY12" fmla="*/ 4102 h 10000"/>
                <a:gd name="connsiteX13" fmla="*/ 5769 w 10000"/>
                <a:gd name="connsiteY13" fmla="*/ 4102 h 10000"/>
                <a:gd name="connsiteX14" fmla="*/ 6465 w 10000"/>
                <a:gd name="connsiteY14" fmla="*/ 4102 h 10000"/>
                <a:gd name="connsiteX15" fmla="*/ 10000 w 10000"/>
                <a:gd name="connsiteY15" fmla="*/ 4102 h 10000"/>
                <a:gd name="connsiteX16" fmla="*/ 10000 w 10000"/>
                <a:gd name="connsiteY16" fmla="*/ 1437 h 10000"/>
                <a:gd name="connsiteX17" fmla="*/ 9989 w 10000"/>
                <a:gd name="connsiteY17" fmla="*/ 296 h 10000"/>
                <a:gd name="connsiteX0" fmla="*/ 9989 w 10000"/>
                <a:gd name="connsiteY0" fmla="*/ 296 h 10000"/>
                <a:gd name="connsiteX1" fmla="*/ 6465 w 10000"/>
                <a:gd name="connsiteY1" fmla="*/ 296 h 10000"/>
                <a:gd name="connsiteX2" fmla="*/ 5769 w 10000"/>
                <a:gd name="connsiteY2" fmla="*/ 296 h 10000"/>
                <a:gd name="connsiteX3" fmla="*/ 5634 w 10000"/>
                <a:gd name="connsiteY3" fmla="*/ 296 h 10000"/>
                <a:gd name="connsiteX4" fmla="*/ 5107 w 10000"/>
                <a:gd name="connsiteY4" fmla="*/ 6289 h 10000"/>
                <a:gd name="connsiteX5" fmla="*/ 4579 w 10000"/>
                <a:gd name="connsiteY5" fmla="*/ 296 h 10000"/>
                <a:gd name="connsiteX6" fmla="*/ 973 w 10000"/>
                <a:gd name="connsiteY6" fmla="*/ 99 h 10000"/>
                <a:gd name="connsiteX7" fmla="*/ 0 w 10000"/>
                <a:gd name="connsiteY7" fmla="*/ 0 h 10000"/>
                <a:gd name="connsiteX8" fmla="*/ 807 w 10000"/>
                <a:gd name="connsiteY8" fmla="*/ 3945 h 10000"/>
                <a:gd name="connsiteX9" fmla="*/ 4579 w 10000"/>
                <a:gd name="connsiteY9" fmla="*/ 4102 h 10000"/>
                <a:gd name="connsiteX10" fmla="*/ 5107 w 10000"/>
                <a:gd name="connsiteY10" fmla="*/ 10000 h 10000"/>
                <a:gd name="connsiteX11" fmla="*/ 5634 w 10000"/>
                <a:gd name="connsiteY11" fmla="*/ 4102 h 10000"/>
                <a:gd name="connsiteX12" fmla="*/ 5769 w 10000"/>
                <a:gd name="connsiteY12" fmla="*/ 4102 h 10000"/>
                <a:gd name="connsiteX13" fmla="*/ 6465 w 10000"/>
                <a:gd name="connsiteY13" fmla="*/ 4102 h 10000"/>
                <a:gd name="connsiteX14" fmla="*/ 10000 w 10000"/>
                <a:gd name="connsiteY14" fmla="*/ 4102 h 10000"/>
                <a:gd name="connsiteX15" fmla="*/ 10000 w 10000"/>
                <a:gd name="connsiteY15" fmla="*/ 1437 h 10000"/>
                <a:gd name="connsiteX16" fmla="*/ 9989 w 10000"/>
                <a:gd name="connsiteY16" fmla="*/ 296 h 10000"/>
                <a:gd name="connsiteX0" fmla="*/ 9182 w 9193"/>
                <a:gd name="connsiteY0" fmla="*/ 197 h 9901"/>
                <a:gd name="connsiteX1" fmla="*/ 5658 w 9193"/>
                <a:gd name="connsiteY1" fmla="*/ 197 h 9901"/>
                <a:gd name="connsiteX2" fmla="*/ 4962 w 9193"/>
                <a:gd name="connsiteY2" fmla="*/ 197 h 9901"/>
                <a:gd name="connsiteX3" fmla="*/ 4827 w 9193"/>
                <a:gd name="connsiteY3" fmla="*/ 197 h 9901"/>
                <a:gd name="connsiteX4" fmla="*/ 4300 w 9193"/>
                <a:gd name="connsiteY4" fmla="*/ 6190 h 9901"/>
                <a:gd name="connsiteX5" fmla="*/ 3772 w 9193"/>
                <a:gd name="connsiteY5" fmla="*/ 197 h 9901"/>
                <a:gd name="connsiteX6" fmla="*/ 166 w 9193"/>
                <a:gd name="connsiteY6" fmla="*/ 0 h 9901"/>
                <a:gd name="connsiteX7" fmla="*/ 0 w 9193"/>
                <a:gd name="connsiteY7" fmla="*/ 3846 h 9901"/>
                <a:gd name="connsiteX8" fmla="*/ 3772 w 9193"/>
                <a:gd name="connsiteY8" fmla="*/ 4003 h 9901"/>
                <a:gd name="connsiteX9" fmla="*/ 4300 w 9193"/>
                <a:gd name="connsiteY9" fmla="*/ 9901 h 9901"/>
                <a:gd name="connsiteX10" fmla="*/ 4827 w 9193"/>
                <a:gd name="connsiteY10" fmla="*/ 4003 h 9901"/>
                <a:gd name="connsiteX11" fmla="*/ 4962 w 9193"/>
                <a:gd name="connsiteY11" fmla="*/ 4003 h 9901"/>
                <a:gd name="connsiteX12" fmla="*/ 5658 w 9193"/>
                <a:gd name="connsiteY12" fmla="*/ 4003 h 9901"/>
                <a:gd name="connsiteX13" fmla="*/ 9193 w 9193"/>
                <a:gd name="connsiteY13" fmla="*/ 4003 h 9901"/>
                <a:gd name="connsiteX14" fmla="*/ 9193 w 9193"/>
                <a:gd name="connsiteY14" fmla="*/ 1338 h 9901"/>
                <a:gd name="connsiteX15" fmla="*/ 9182 w 9193"/>
                <a:gd name="connsiteY15" fmla="*/ 197 h 9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93" h="9901">
                  <a:moveTo>
                    <a:pt x="9182" y="197"/>
                  </a:moveTo>
                  <a:lnTo>
                    <a:pt x="5658" y="197"/>
                  </a:lnTo>
                  <a:lnTo>
                    <a:pt x="4962" y="197"/>
                  </a:lnTo>
                  <a:lnTo>
                    <a:pt x="4827" y="197"/>
                  </a:lnTo>
                  <a:cubicBezTo>
                    <a:pt x="4651" y="2195"/>
                    <a:pt x="4476" y="4192"/>
                    <a:pt x="4300" y="6190"/>
                  </a:cubicBezTo>
                  <a:lnTo>
                    <a:pt x="3772" y="197"/>
                  </a:lnTo>
                  <a:lnTo>
                    <a:pt x="166" y="0"/>
                  </a:lnTo>
                  <a:cubicBezTo>
                    <a:pt x="111" y="1282"/>
                    <a:pt x="55" y="2564"/>
                    <a:pt x="0" y="3846"/>
                  </a:cubicBezTo>
                  <a:lnTo>
                    <a:pt x="3772" y="4003"/>
                  </a:lnTo>
                  <a:lnTo>
                    <a:pt x="4300" y="9901"/>
                  </a:lnTo>
                  <a:cubicBezTo>
                    <a:pt x="4476" y="7935"/>
                    <a:pt x="4651" y="5969"/>
                    <a:pt x="4827" y="4003"/>
                  </a:cubicBezTo>
                  <a:lnTo>
                    <a:pt x="4962" y="4003"/>
                  </a:lnTo>
                  <a:lnTo>
                    <a:pt x="5658" y="4003"/>
                  </a:lnTo>
                  <a:lnTo>
                    <a:pt x="9193" y="4003"/>
                  </a:lnTo>
                  <a:cubicBezTo>
                    <a:pt x="9182" y="3051"/>
                    <a:pt x="9182" y="2195"/>
                    <a:pt x="9193" y="1338"/>
                  </a:cubicBezTo>
                  <a:cubicBezTo>
                    <a:pt x="9193" y="958"/>
                    <a:pt x="9182" y="577"/>
                    <a:pt x="9182" y="197"/>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3" name="Freeform 129">
              <a:extLst>
                <a:ext uri="{FF2B5EF4-FFF2-40B4-BE49-F238E27FC236}">
                  <a16:creationId xmlns:a16="http://schemas.microsoft.com/office/drawing/2014/main" id="{46A71315-E647-4262-ACD7-B71C6A6DFCDB}"/>
                </a:ext>
              </a:extLst>
            </p:cNvPr>
            <p:cNvSpPr>
              <a:spLocks/>
            </p:cNvSpPr>
            <p:nvPr userDrawn="1"/>
          </p:nvSpPr>
          <p:spPr bwMode="auto">
            <a:xfrm flipH="1">
              <a:off x="9331485" y="2990428"/>
              <a:ext cx="14332" cy="42996"/>
            </a:xfrm>
            <a:custGeom>
              <a:avLst/>
              <a:gdLst>
                <a:gd name="T0" fmla="*/ 1 w 9"/>
                <a:gd name="T1" fmla="*/ 0 h 28"/>
                <a:gd name="T2" fmla="*/ 1 w 9"/>
                <a:gd name="T3" fmla="*/ 28 h 28"/>
                <a:gd name="T4" fmla="*/ 9 w 9"/>
                <a:gd name="T5" fmla="*/ 28 h 28"/>
                <a:gd name="T6" fmla="*/ 1 w 9"/>
                <a:gd name="T7" fmla="*/ 0 h 28"/>
              </a:gdLst>
              <a:ahLst/>
              <a:cxnLst>
                <a:cxn ang="0">
                  <a:pos x="T0" y="T1"/>
                </a:cxn>
                <a:cxn ang="0">
                  <a:pos x="T2" y="T3"/>
                </a:cxn>
                <a:cxn ang="0">
                  <a:pos x="T4" y="T5"/>
                </a:cxn>
                <a:cxn ang="0">
                  <a:pos x="T6" y="T7"/>
                </a:cxn>
              </a:cxnLst>
              <a:rect l="0" t="0" r="r" b="b"/>
              <a:pathLst>
                <a:path w="9" h="28">
                  <a:moveTo>
                    <a:pt x="1" y="0"/>
                  </a:moveTo>
                  <a:cubicBezTo>
                    <a:pt x="0" y="9"/>
                    <a:pt x="0" y="18"/>
                    <a:pt x="1" y="28"/>
                  </a:cubicBezTo>
                  <a:cubicBezTo>
                    <a:pt x="9" y="28"/>
                    <a:pt x="9" y="28"/>
                    <a:pt x="9" y="28"/>
                  </a:cubicBezTo>
                  <a:cubicBezTo>
                    <a:pt x="5" y="18"/>
                    <a:pt x="3" y="9"/>
                    <a:pt x="1" y="0"/>
                  </a:cubicBezTo>
                </a:path>
              </a:pathLst>
            </a:custGeom>
            <a:solidFill>
              <a:srgbClr val="EE9F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4" name="Freeform 130">
              <a:extLst>
                <a:ext uri="{FF2B5EF4-FFF2-40B4-BE49-F238E27FC236}">
                  <a16:creationId xmlns:a16="http://schemas.microsoft.com/office/drawing/2014/main" id="{E9B6DADF-A178-4798-BF1F-0B31511C78BC}"/>
                </a:ext>
              </a:extLst>
            </p:cNvPr>
            <p:cNvSpPr>
              <a:spLocks/>
            </p:cNvSpPr>
            <p:nvPr userDrawn="1"/>
          </p:nvSpPr>
          <p:spPr bwMode="auto">
            <a:xfrm flipH="1">
              <a:off x="8957423" y="2967497"/>
              <a:ext cx="388394" cy="65927"/>
            </a:xfrm>
            <a:custGeom>
              <a:avLst/>
              <a:gdLst>
                <a:gd name="T0" fmla="*/ 254 w 254"/>
                <a:gd name="T1" fmla="*/ 0 h 43"/>
                <a:gd name="T2" fmla="*/ 224 w 254"/>
                <a:gd name="T3" fmla="*/ 3 h 43"/>
                <a:gd name="T4" fmla="*/ 0 w 254"/>
                <a:gd name="T5" fmla="*/ 3 h 43"/>
                <a:gd name="T6" fmla="*/ 1 w 254"/>
                <a:gd name="T7" fmla="*/ 15 h 43"/>
                <a:gd name="T8" fmla="*/ 9 w 254"/>
                <a:gd name="T9" fmla="*/ 43 h 43"/>
                <a:gd name="T10" fmla="*/ 185 w 254"/>
                <a:gd name="T11" fmla="*/ 43 h 43"/>
                <a:gd name="T12" fmla="*/ 254 w 254"/>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54" h="43">
                  <a:moveTo>
                    <a:pt x="254" y="0"/>
                  </a:moveTo>
                  <a:cubicBezTo>
                    <a:pt x="246" y="2"/>
                    <a:pt x="236" y="3"/>
                    <a:pt x="224" y="3"/>
                  </a:cubicBezTo>
                  <a:cubicBezTo>
                    <a:pt x="0" y="3"/>
                    <a:pt x="0" y="3"/>
                    <a:pt x="0" y="3"/>
                  </a:cubicBezTo>
                  <a:cubicBezTo>
                    <a:pt x="0" y="7"/>
                    <a:pt x="1" y="11"/>
                    <a:pt x="1" y="15"/>
                  </a:cubicBezTo>
                  <a:cubicBezTo>
                    <a:pt x="3" y="24"/>
                    <a:pt x="5" y="33"/>
                    <a:pt x="9" y="43"/>
                  </a:cubicBezTo>
                  <a:cubicBezTo>
                    <a:pt x="185" y="43"/>
                    <a:pt x="185" y="43"/>
                    <a:pt x="185" y="43"/>
                  </a:cubicBezTo>
                  <a:cubicBezTo>
                    <a:pt x="228" y="43"/>
                    <a:pt x="246" y="27"/>
                    <a:pt x="254" y="0"/>
                  </a:cubicBezTo>
                </a:path>
              </a:pathLst>
            </a:custGeom>
            <a:solidFill>
              <a:srgbClr val="0F999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5" name="Freeform 133">
              <a:extLst>
                <a:ext uri="{FF2B5EF4-FFF2-40B4-BE49-F238E27FC236}">
                  <a16:creationId xmlns:a16="http://schemas.microsoft.com/office/drawing/2014/main" id="{085DE63E-CCD7-4F75-A256-9FD047E15D84}"/>
                </a:ext>
              </a:extLst>
            </p:cNvPr>
            <p:cNvSpPr>
              <a:spLocks/>
            </p:cNvSpPr>
            <p:nvPr userDrawn="1"/>
          </p:nvSpPr>
          <p:spPr bwMode="auto">
            <a:xfrm flipH="1">
              <a:off x="10723110" y="819149"/>
              <a:ext cx="227877" cy="288071"/>
            </a:xfrm>
            <a:custGeom>
              <a:avLst/>
              <a:gdLst>
                <a:gd name="T0" fmla="*/ 149 w 149"/>
                <a:gd name="T1" fmla="*/ 0 h 188"/>
                <a:gd name="T2" fmla="*/ 95 w 149"/>
                <a:gd name="T3" fmla="*/ 0 h 188"/>
                <a:gd name="T4" fmla="*/ 0 w 149"/>
                <a:gd name="T5" fmla="*/ 96 h 188"/>
                <a:gd name="T6" fmla="*/ 0 w 149"/>
                <a:gd name="T7" fmla="*/ 188 h 188"/>
                <a:gd name="T8" fmla="*/ 53 w 149"/>
                <a:gd name="T9" fmla="*/ 188 h 188"/>
                <a:gd name="T10" fmla="*/ 53 w 149"/>
                <a:gd name="T11" fmla="*/ 96 h 188"/>
                <a:gd name="T12" fmla="*/ 149 w 14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49" h="188">
                  <a:moveTo>
                    <a:pt x="149" y="0"/>
                  </a:moveTo>
                  <a:cubicBezTo>
                    <a:pt x="95" y="0"/>
                    <a:pt x="95" y="0"/>
                    <a:pt x="95" y="0"/>
                  </a:cubicBezTo>
                  <a:cubicBezTo>
                    <a:pt x="43" y="0"/>
                    <a:pt x="0" y="43"/>
                    <a:pt x="0" y="96"/>
                  </a:cubicBezTo>
                  <a:cubicBezTo>
                    <a:pt x="0" y="188"/>
                    <a:pt x="0" y="188"/>
                    <a:pt x="0" y="188"/>
                  </a:cubicBezTo>
                  <a:cubicBezTo>
                    <a:pt x="53" y="188"/>
                    <a:pt x="53" y="188"/>
                    <a:pt x="53" y="188"/>
                  </a:cubicBezTo>
                  <a:cubicBezTo>
                    <a:pt x="53" y="96"/>
                    <a:pt x="53" y="96"/>
                    <a:pt x="53" y="96"/>
                  </a:cubicBezTo>
                  <a:cubicBezTo>
                    <a:pt x="53" y="43"/>
                    <a:pt x="96" y="0"/>
                    <a:pt x="149" y="0"/>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6" name="Rectangle 134">
              <a:extLst>
                <a:ext uri="{FF2B5EF4-FFF2-40B4-BE49-F238E27FC236}">
                  <a16:creationId xmlns:a16="http://schemas.microsoft.com/office/drawing/2014/main" id="{BA9DF272-F029-4B9D-9735-A1CAD5B65E7A}"/>
                </a:ext>
              </a:extLst>
            </p:cNvPr>
            <p:cNvSpPr>
              <a:spLocks noChangeArrowheads="1"/>
            </p:cNvSpPr>
            <p:nvPr userDrawn="1"/>
          </p:nvSpPr>
          <p:spPr bwMode="auto">
            <a:xfrm flipH="1">
              <a:off x="10870728" y="1107220"/>
              <a:ext cx="80258" cy="1213910"/>
            </a:xfrm>
            <a:prstGeom prst="rect">
              <a:avLst/>
            </a:pr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7" name="Rectangle 135">
              <a:extLst>
                <a:ext uri="{FF2B5EF4-FFF2-40B4-BE49-F238E27FC236}">
                  <a16:creationId xmlns:a16="http://schemas.microsoft.com/office/drawing/2014/main" id="{34C8A653-D050-4817-A239-899F6E882C55}"/>
                </a:ext>
              </a:extLst>
            </p:cNvPr>
            <p:cNvSpPr>
              <a:spLocks noChangeArrowheads="1"/>
            </p:cNvSpPr>
            <p:nvPr userDrawn="1"/>
          </p:nvSpPr>
          <p:spPr bwMode="auto">
            <a:xfrm flipH="1">
              <a:off x="10870728" y="1107220"/>
              <a:ext cx="80258" cy="121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8" name="Freeform 136">
              <a:extLst>
                <a:ext uri="{FF2B5EF4-FFF2-40B4-BE49-F238E27FC236}">
                  <a16:creationId xmlns:a16="http://schemas.microsoft.com/office/drawing/2014/main" id="{CBDE6D9E-9685-4A1C-86DB-72AE11D37C99}"/>
                </a:ext>
              </a:extLst>
            </p:cNvPr>
            <p:cNvSpPr>
              <a:spLocks/>
            </p:cNvSpPr>
            <p:nvPr userDrawn="1"/>
          </p:nvSpPr>
          <p:spPr bwMode="auto">
            <a:xfrm flipH="1">
              <a:off x="10723110" y="3718487"/>
              <a:ext cx="227877" cy="568976"/>
            </a:xfrm>
            <a:custGeom>
              <a:avLst/>
              <a:gdLst>
                <a:gd name="T0" fmla="*/ 53 w 149"/>
                <a:gd name="T1" fmla="*/ 0 h 372"/>
                <a:gd name="T2" fmla="*/ 0 w 149"/>
                <a:gd name="T3" fmla="*/ 0 h 372"/>
                <a:gd name="T4" fmla="*/ 0 w 149"/>
                <a:gd name="T5" fmla="*/ 276 h 372"/>
                <a:gd name="T6" fmla="*/ 95 w 149"/>
                <a:gd name="T7" fmla="*/ 372 h 372"/>
                <a:gd name="T8" fmla="*/ 149 w 149"/>
                <a:gd name="T9" fmla="*/ 372 h 372"/>
                <a:gd name="T10" fmla="*/ 53 w 149"/>
                <a:gd name="T11" fmla="*/ 276 h 372"/>
                <a:gd name="T12" fmla="*/ 53 w 149"/>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49" h="372">
                  <a:moveTo>
                    <a:pt x="53" y="0"/>
                  </a:moveTo>
                  <a:cubicBezTo>
                    <a:pt x="0" y="0"/>
                    <a:pt x="0" y="0"/>
                    <a:pt x="0" y="0"/>
                  </a:cubicBezTo>
                  <a:cubicBezTo>
                    <a:pt x="0" y="276"/>
                    <a:pt x="0" y="276"/>
                    <a:pt x="0" y="276"/>
                  </a:cubicBezTo>
                  <a:cubicBezTo>
                    <a:pt x="0" y="329"/>
                    <a:pt x="43" y="372"/>
                    <a:pt x="95" y="372"/>
                  </a:cubicBezTo>
                  <a:cubicBezTo>
                    <a:pt x="149" y="372"/>
                    <a:pt x="149" y="372"/>
                    <a:pt x="149" y="372"/>
                  </a:cubicBezTo>
                  <a:cubicBezTo>
                    <a:pt x="96" y="372"/>
                    <a:pt x="53" y="329"/>
                    <a:pt x="53" y="276"/>
                  </a:cubicBezTo>
                  <a:cubicBezTo>
                    <a:pt x="53" y="0"/>
                    <a:pt x="53" y="0"/>
                    <a:pt x="53" y="0"/>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9" name="Rectangle 137">
              <a:extLst>
                <a:ext uri="{FF2B5EF4-FFF2-40B4-BE49-F238E27FC236}">
                  <a16:creationId xmlns:a16="http://schemas.microsoft.com/office/drawing/2014/main" id="{4BF31567-AC2D-4539-9756-7D26BC2A89BC}"/>
                </a:ext>
              </a:extLst>
            </p:cNvPr>
            <p:cNvSpPr>
              <a:spLocks noChangeArrowheads="1"/>
            </p:cNvSpPr>
            <p:nvPr userDrawn="1"/>
          </p:nvSpPr>
          <p:spPr bwMode="auto">
            <a:xfrm flipH="1">
              <a:off x="10870728" y="3033423"/>
              <a:ext cx="80258" cy="685063"/>
            </a:xfrm>
            <a:prstGeom prst="rect">
              <a:avLst/>
            </a:pr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0" name="Rectangle 138">
              <a:extLst>
                <a:ext uri="{FF2B5EF4-FFF2-40B4-BE49-F238E27FC236}">
                  <a16:creationId xmlns:a16="http://schemas.microsoft.com/office/drawing/2014/main" id="{77C5078D-B31F-4C30-BF4E-91ABD28807F4}"/>
                </a:ext>
              </a:extLst>
            </p:cNvPr>
            <p:cNvSpPr>
              <a:spLocks noChangeArrowheads="1"/>
            </p:cNvSpPr>
            <p:nvPr userDrawn="1"/>
          </p:nvSpPr>
          <p:spPr bwMode="auto">
            <a:xfrm flipH="1">
              <a:off x="10870728" y="3033423"/>
              <a:ext cx="80258" cy="68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1" name="Rectangle 139">
              <a:extLst>
                <a:ext uri="{FF2B5EF4-FFF2-40B4-BE49-F238E27FC236}">
                  <a16:creationId xmlns:a16="http://schemas.microsoft.com/office/drawing/2014/main" id="{E7D6E439-092F-444A-A3D3-242911F6D022}"/>
                </a:ext>
              </a:extLst>
            </p:cNvPr>
            <p:cNvSpPr>
              <a:spLocks noChangeArrowheads="1"/>
            </p:cNvSpPr>
            <p:nvPr userDrawn="1"/>
          </p:nvSpPr>
          <p:spPr bwMode="auto">
            <a:xfrm flipH="1">
              <a:off x="10870728" y="2971796"/>
              <a:ext cx="80258" cy="61627"/>
            </a:xfrm>
            <a:prstGeom prst="rect">
              <a:avLst/>
            </a:pr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2" name="Rectangle 140">
              <a:extLst>
                <a:ext uri="{FF2B5EF4-FFF2-40B4-BE49-F238E27FC236}">
                  <a16:creationId xmlns:a16="http://schemas.microsoft.com/office/drawing/2014/main" id="{75500E79-6ED0-4607-BE7F-7AA08984B885}"/>
                </a:ext>
              </a:extLst>
            </p:cNvPr>
            <p:cNvSpPr>
              <a:spLocks noChangeArrowheads="1"/>
            </p:cNvSpPr>
            <p:nvPr userDrawn="1"/>
          </p:nvSpPr>
          <p:spPr bwMode="auto">
            <a:xfrm flipH="1">
              <a:off x="10870728" y="2971796"/>
              <a:ext cx="80258" cy="61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3" name="Freeform 141">
              <a:extLst>
                <a:ext uri="{FF2B5EF4-FFF2-40B4-BE49-F238E27FC236}">
                  <a16:creationId xmlns:a16="http://schemas.microsoft.com/office/drawing/2014/main" id="{85D2C97E-3044-4FAB-988D-804A46BA34CA}"/>
                </a:ext>
              </a:extLst>
            </p:cNvPr>
            <p:cNvSpPr>
              <a:spLocks/>
            </p:cNvSpPr>
            <p:nvPr userDrawn="1"/>
          </p:nvSpPr>
          <p:spPr bwMode="auto">
            <a:xfrm flipH="1">
              <a:off x="8887195" y="2321129"/>
              <a:ext cx="2609479" cy="748124"/>
            </a:xfrm>
            <a:custGeom>
              <a:avLst/>
              <a:gdLst>
                <a:gd name="T0" fmla="*/ 1393 w 1469"/>
                <a:gd name="T1" fmla="*/ 0 h 489"/>
                <a:gd name="T2" fmla="*/ 855 w 1469"/>
                <a:gd name="T3" fmla="*/ 0 h 489"/>
                <a:gd name="T4" fmla="*/ 793 w 1469"/>
                <a:gd name="T5" fmla="*/ 0 h 489"/>
                <a:gd name="T6" fmla="*/ 75 w 1469"/>
                <a:gd name="T7" fmla="*/ 0 h 489"/>
                <a:gd name="T8" fmla="*/ 0 w 1469"/>
                <a:gd name="T9" fmla="*/ 125 h 489"/>
                <a:gd name="T10" fmla="*/ 0 w 1469"/>
                <a:gd name="T11" fmla="*/ 242 h 489"/>
                <a:gd name="T12" fmla="*/ 0 w 1469"/>
                <a:gd name="T13" fmla="*/ 260 h 489"/>
                <a:gd name="T14" fmla="*/ 0 w 1469"/>
                <a:gd name="T15" fmla="*/ 264 h 489"/>
                <a:gd name="T16" fmla="*/ 0 w 1469"/>
                <a:gd name="T17" fmla="*/ 265 h 489"/>
                <a:gd name="T18" fmla="*/ 0 w 1469"/>
                <a:gd name="T19" fmla="*/ 286 h 489"/>
                <a:gd name="T20" fmla="*/ 0 w 1469"/>
                <a:gd name="T21" fmla="*/ 301 h 489"/>
                <a:gd name="T22" fmla="*/ 75 w 1469"/>
                <a:gd name="T23" fmla="*/ 426 h 489"/>
                <a:gd name="T24" fmla="*/ 687 w 1469"/>
                <a:gd name="T25" fmla="*/ 426 h 489"/>
                <a:gd name="T26" fmla="*/ 734 w 1469"/>
                <a:gd name="T27" fmla="*/ 489 h 489"/>
                <a:gd name="T28" fmla="*/ 781 w 1469"/>
                <a:gd name="T29" fmla="*/ 426 h 489"/>
                <a:gd name="T30" fmla="*/ 793 w 1469"/>
                <a:gd name="T31" fmla="*/ 426 h 489"/>
                <a:gd name="T32" fmla="*/ 855 w 1469"/>
                <a:gd name="T33" fmla="*/ 426 h 489"/>
                <a:gd name="T34" fmla="*/ 1393 w 1469"/>
                <a:gd name="T35" fmla="*/ 426 h 489"/>
                <a:gd name="T36" fmla="*/ 1469 w 1469"/>
                <a:gd name="T37" fmla="*/ 301 h 489"/>
                <a:gd name="T38" fmla="*/ 1469 w 1469"/>
                <a:gd name="T39" fmla="*/ 286 h 489"/>
                <a:gd name="T40" fmla="*/ 1469 w 1469"/>
                <a:gd name="T41" fmla="*/ 265 h 489"/>
                <a:gd name="T42" fmla="*/ 1469 w 1469"/>
                <a:gd name="T43" fmla="*/ 264 h 489"/>
                <a:gd name="T44" fmla="*/ 1469 w 1469"/>
                <a:gd name="T45" fmla="*/ 260 h 489"/>
                <a:gd name="T46" fmla="*/ 1469 w 1469"/>
                <a:gd name="T47" fmla="*/ 242 h 489"/>
                <a:gd name="T48" fmla="*/ 1469 w 1469"/>
                <a:gd name="T49" fmla="*/ 125 h 489"/>
                <a:gd name="T50" fmla="*/ 1393 w 1469"/>
                <a:gd name="T51"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9" h="489">
                  <a:moveTo>
                    <a:pt x="1393" y="0"/>
                  </a:moveTo>
                  <a:cubicBezTo>
                    <a:pt x="855" y="0"/>
                    <a:pt x="855" y="0"/>
                    <a:pt x="855" y="0"/>
                  </a:cubicBezTo>
                  <a:cubicBezTo>
                    <a:pt x="793" y="0"/>
                    <a:pt x="793" y="0"/>
                    <a:pt x="793" y="0"/>
                  </a:cubicBezTo>
                  <a:cubicBezTo>
                    <a:pt x="75" y="0"/>
                    <a:pt x="75" y="0"/>
                    <a:pt x="75" y="0"/>
                  </a:cubicBezTo>
                  <a:cubicBezTo>
                    <a:pt x="0" y="0"/>
                    <a:pt x="0" y="48"/>
                    <a:pt x="0" y="125"/>
                  </a:cubicBezTo>
                  <a:cubicBezTo>
                    <a:pt x="0" y="242"/>
                    <a:pt x="0" y="242"/>
                    <a:pt x="0" y="242"/>
                  </a:cubicBezTo>
                  <a:cubicBezTo>
                    <a:pt x="0" y="260"/>
                    <a:pt x="0" y="260"/>
                    <a:pt x="0" y="260"/>
                  </a:cubicBezTo>
                  <a:cubicBezTo>
                    <a:pt x="0" y="264"/>
                    <a:pt x="0" y="264"/>
                    <a:pt x="0" y="264"/>
                  </a:cubicBezTo>
                  <a:cubicBezTo>
                    <a:pt x="0" y="265"/>
                    <a:pt x="0" y="265"/>
                    <a:pt x="0" y="265"/>
                  </a:cubicBezTo>
                  <a:cubicBezTo>
                    <a:pt x="0" y="286"/>
                    <a:pt x="0" y="286"/>
                    <a:pt x="0" y="286"/>
                  </a:cubicBezTo>
                  <a:cubicBezTo>
                    <a:pt x="0" y="301"/>
                    <a:pt x="0" y="301"/>
                    <a:pt x="0" y="301"/>
                  </a:cubicBezTo>
                  <a:cubicBezTo>
                    <a:pt x="0" y="378"/>
                    <a:pt x="0" y="426"/>
                    <a:pt x="75" y="426"/>
                  </a:cubicBezTo>
                  <a:cubicBezTo>
                    <a:pt x="687" y="426"/>
                    <a:pt x="687" y="426"/>
                    <a:pt x="687" y="426"/>
                  </a:cubicBezTo>
                  <a:cubicBezTo>
                    <a:pt x="734" y="489"/>
                    <a:pt x="734" y="489"/>
                    <a:pt x="734" y="489"/>
                  </a:cubicBezTo>
                  <a:cubicBezTo>
                    <a:pt x="781" y="426"/>
                    <a:pt x="781" y="426"/>
                    <a:pt x="781" y="426"/>
                  </a:cubicBezTo>
                  <a:cubicBezTo>
                    <a:pt x="793" y="426"/>
                    <a:pt x="793" y="426"/>
                    <a:pt x="793" y="426"/>
                  </a:cubicBezTo>
                  <a:cubicBezTo>
                    <a:pt x="855" y="426"/>
                    <a:pt x="855" y="426"/>
                    <a:pt x="855" y="426"/>
                  </a:cubicBezTo>
                  <a:cubicBezTo>
                    <a:pt x="1393" y="426"/>
                    <a:pt x="1393" y="426"/>
                    <a:pt x="1393" y="426"/>
                  </a:cubicBezTo>
                  <a:cubicBezTo>
                    <a:pt x="1469" y="426"/>
                    <a:pt x="1469" y="378"/>
                    <a:pt x="1469" y="301"/>
                  </a:cubicBezTo>
                  <a:cubicBezTo>
                    <a:pt x="1469" y="286"/>
                    <a:pt x="1469" y="286"/>
                    <a:pt x="1469" y="286"/>
                  </a:cubicBezTo>
                  <a:cubicBezTo>
                    <a:pt x="1469" y="265"/>
                    <a:pt x="1469" y="265"/>
                    <a:pt x="1469" y="265"/>
                  </a:cubicBezTo>
                  <a:cubicBezTo>
                    <a:pt x="1469" y="264"/>
                    <a:pt x="1469" y="264"/>
                    <a:pt x="1469" y="264"/>
                  </a:cubicBezTo>
                  <a:cubicBezTo>
                    <a:pt x="1469" y="260"/>
                    <a:pt x="1469" y="260"/>
                    <a:pt x="1469" y="260"/>
                  </a:cubicBezTo>
                  <a:cubicBezTo>
                    <a:pt x="1469" y="242"/>
                    <a:pt x="1469" y="242"/>
                    <a:pt x="1469" y="242"/>
                  </a:cubicBezTo>
                  <a:cubicBezTo>
                    <a:pt x="1469" y="125"/>
                    <a:pt x="1469" y="125"/>
                    <a:pt x="1469" y="125"/>
                  </a:cubicBezTo>
                  <a:cubicBezTo>
                    <a:pt x="1469" y="48"/>
                    <a:pt x="1469" y="0"/>
                    <a:pt x="1393" y="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 name="Freeform 142">
              <a:extLst>
                <a:ext uri="{FF2B5EF4-FFF2-40B4-BE49-F238E27FC236}">
                  <a16:creationId xmlns:a16="http://schemas.microsoft.com/office/drawing/2014/main" id="{CA2AF3DB-E3FB-4A0E-B05A-541238D310A6}"/>
                </a:ext>
              </a:extLst>
            </p:cNvPr>
            <p:cNvSpPr>
              <a:spLocks/>
            </p:cNvSpPr>
            <p:nvPr userDrawn="1"/>
          </p:nvSpPr>
          <p:spPr bwMode="auto">
            <a:xfrm flipH="1">
              <a:off x="8887195" y="2620666"/>
              <a:ext cx="2609479" cy="448588"/>
            </a:xfrm>
            <a:custGeom>
              <a:avLst/>
              <a:gdLst>
                <a:gd name="T0" fmla="*/ 0 w 1469"/>
                <a:gd name="T1" fmla="*/ 0 h 293"/>
                <a:gd name="T2" fmla="*/ 0 w 1469"/>
                <a:gd name="T3" fmla="*/ 0 h 293"/>
                <a:gd name="T4" fmla="*/ 0 w 1469"/>
                <a:gd name="T5" fmla="*/ 46 h 293"/>
                <a:gd name="T6" fmla="*/ 0 w 1469"/>
                <a:gd name="T7" fmla="*/ 64 h 293"/>
                <a:gd name="T8" fmla="*/ 0 w 1469"/>
                <a:gd name="T9" fmla="*/ 68 h 293"/>
                <a:gd name="T10" fmla="*/ 0 w 1469"/>
                <a:gd name="T11" fmla="*/ 69 h 293"/>
                <a:gd name="T12" fmla="*/ 0 w 1469"/>
                <a:gd name="T13" fmla="*/ 90 h 293"/>
                <a:gd name="T14" fmla="*/ 0 w 1469"/>
                <a:gd name="T15" fmla="*/ 105 h 293"/>
                <a:gd name="T16" fmla="*/ 75 w 1469"/>
                <a:gd name="T17" fmla="*/ 230 h 293"/>
                <a:gd name="T18" fmla="*/ 687 w 1469"/>
                <a:gd name="T19" fmla="*/ 230 h 293"/>
                <a:gd name="T20" fmla="*/ 734 w 1469"/>
                <a:gd name="T21" fmla="*/ 293 h 293"/>
                <a:gd name="T22" fmla="*/ 781 w 1469"/>
                <a:gd name="T23" fmla="*/ 230 h 293"/>
                <a:gd name="T24" fmla="*/ 793 w 1469"/>
                <a:gd name="T25" fmla="*/ 230 h 293"/>
                <a:gd name="T26" fmla="*/ 855 w 1469"/>
                <a:gd name="T27" fmla="*/ 230 h 293"/>
                <a:gd name="T28" fmla="*/ 1393 w 1469"/>
                <a:gd name="T29" fmla="*/ 230 h 293"/>
                <a:gd name="T30" fmla="*/ 1469 w 1469"/>
                <a:gd name="T31" fmla="*/ 106 h 293"/>
                <a:gd name="T32" fmla="*/ 1469 w 1469"/>
                <a:gd name="T33" fmla="*/ 105 h 293"/>
                <a:gd name="T34" fmla="*/ 1469 w 1469"/>
                <a:gd name="T35" fmla="*/ 90 h 293"/>
                <a:gd name="T36" fmla="*/ 1469 w 1469"/>
                <a:gd name="T37" fmla="*/ 69 h 293"/>
                <a:gd name="T38" fmla="*/ 1469 w 1469"/>
                <a:gd name="T39" fmla="*/ 68 h 293"/>
                <a:gd name="T40" fmla="*/ 1469 w 1469"/>
                <a:gd name="T41" fmla="*/ 64 h 293"/>
                <a:gd name="T42" fmla="*/ 1469 w 1469"/>
                <a:gd name="T43" fmla="*/ 46 h 293"/>
                <a:gd name="T44" fmla="*/ 1469 w 1469"/>
                <a:gd name="T45" fmla="*/ 2 h 293"/>
                <a:gd name="T46" fmla="*/ 1393 w 1469"/>
                <a:gd name="T47" fmla="*/ 125 h 293"/>
                <a:gd name="T48" fmla="*/ 676 w 1469"/>
                <a:gd name="T49" fmla="*/ 125 h 293"/>
                <a:gd name="T50" fmla="*/ 614 w 1469"/>
                <a:gd name="T51" fmla="*/ 125 h 293"/>
                <a:gd name="T52" fmla="*/ 75 w 1469"/>
                <a:gd name="T53" fmla="*/ 125 h 293"/>
                <a:gd name="T54" fmla="*/ 0 w 1469"/>
                <a:gd name="T5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69" h="293">
                  <a:moveTo>
                    <a:pt x="0" y="0"/>
                  </a:moveTo>
                  <a:cubicBezTo>
                    <a:pt x="0" y="0"/>
                    <a:pt x="0" y="0"/>
                    <a:pt x="0" y="0"/>
                  </a:cubicBezTo>
                  <a:cubicBezTo>
                    <a:pt x="0" y="46"/>
                    <a:pt x="0" y="46"/>
                    <a:pt x="0" y="46"/>
                  </a:cubicBezTo>
                  <a:cubicBezTo>
                    <a:pt x="0" y="64"/>
                    <a:pt x="0" y="64"/>
                    <a:pt x="0" y="64"/>
                  </a:cubicBezTo>
                  <a:cubicBezTo>
                    <a:pt x="0" y="68"/>
                    <a:pt x="0" y="68"/>
                    <a:pt x="0" y="68"/>
                  </a:cubicBezTo>
                  <a:cubicBezTo>
                    <a:pt x="0" y="69"/>
                    <a:pt x="0" y="69"/>
                    <a:pt x="0" y="69"/>
                  </a:cubicBezTo>
                  <a:cubicBezTo>
                    <a:pt x="0" y="90"/>
                    <a:pt x="0" y="90"/>
                    <a:pt x="0" y="90"/>
                  </a:cubicBezTo>
                  <a:cubicBezTo>
                    <a:pt x="0" y="105"/>
                    <a:pt x="0" y="105"/>
                    <a:pt x="0" y="105"/>
                  </a:cubicBezTo>
                  <a:cubicBezTo>
                    <a:pt x="0" y="182"/>
                    <a:pt x="0" y="230"/>
                    <a:pt x="75" y="230"/>
                  </a:cubicBezTo>
                  <a:cubicBezTo>
                    <a:pt x="687" y="230"/>
                    <a:pt x="687" y="230"/>
                    <a:pt x="687" y="230"/>
                  </a:cubicBezTo>
                  <a:cubicBezTo>
                    <a:pt x="734" y="293"/>
                    <a:pt x="734" y="293"/>
                    <a:pt x="734" y="293"/>
                  </a:cubicBezTo>
                  <a:cubicBezTo>
                    <a:pt x="781" y="230"/>
                    <a:pt x="781" y="230"/>
                    <a:pt x="781" y="230"/>
                  </a:cubicBezTo>
                  <a:cubicBezTo>
                    <a:pt x="793" y="230"/>
                    <a:pt x="793" y="230"/>
                    <a:pt x="793" y="230"/>
                  </a:cubicBezTo>
                  <a:cubicBezTo>
                    <a:pt x="855" y="230"/>
                    <a:pt x="855" y="230"/>
                    <a:pt x="855" y="230"/>
                  </a:cubicBezTo>
                  <a:cubicBezTo>
                    <a:pt x="1393" y="230"/>
                    <a:pt x="1393" y="230"/>
                    <a:pt x="1393" y="230"/>
                  </a:cubicBezTo>
                  <a:cubicBezTo>
                    <a:pt x="1469" y="230"/>
                    <a:pt x="1469" y="183"/>
                    <a:pt x="1469" y="106"/>
                  </a:cubicBezTo>
                  <a:cubicBezTo>
                    <a:pt x="1469" y="106"/>
                    <a:pt x="1469" y="105"/>
                    <a:pt x="1469" y="105"/>
                  </a:cubicBezTo>
                  <a:cubicBezTo>
                    <a:pt x="1469" y="90"/>
                    <a:pt x="1469" y="90"/>
                    <a:pt x="1469" y="90"/>
                  </a:cubicBezTo>
                  <a:cubicBezTo>
                    <a:pt x="1469" y="69"/>
                    <a:pt x="1469" y="69"/>
                    <a:pt x="1469" y="69"/>
                  </a:cubicBezTo>
                  <a:cubicBezTo>
                    <a:pt x="1469" y="68"/>
                    <a:pt x="1469" y="68"/>
                    <a:pt x="1469" y="68"/>
                  </a:cubicBezTo>
                  <a:cubicBezTo>
                    <a:pt x="1469" y="64"/>
                    <a:pt x="1469" y="64"/>
                    <a:pt x="1469" y="64"/>
                  </a:cubicBezTo>
                  <a:cubicBezTo>
                    <a:pt x="1469" y="46"/>
                    <a:pt x="1469" y="46"/>
                    <a:pt x="1469" y="46"/>
                  </a:cubicBezTo>
                  <a:cubicBezTo>
                    <a:pt x="1469" y="2"/>
                    <a:pt x="1469" y="2"/>
                    <a:pt x="1469" y="2"/>
                  </a:cubicBezTo>
                  <a:cubicBezTo>
                    <a:pt x="1469" y="78"/>
                    <a:pt x="1468" y="125"/>
                    <a:pt x="1393" y="125"/>
                  </a:cubicBezTo>
                  <a:cubicBezTo>
                    <a:pt x="676" y="125"/>
                    <a:pt x="676" y="125"/>
                    <a:pt x="676" y="125"/>
                  </a:cubicBezTo>
                  <a:cubicBezTo>
                    <a:pt x="614" y="125"/>
                    <a:pt x="614" y="125"/>
                    <a:pt x="614" y="125"/>
                  </a:cubicBezTo>
                  <a:cubicBezTo>
                    <a:pt x="75" y="125"/>
                    <a:pt x="75" y="125"/>
                    <a:pt x="75" y="125"/>
                  </a:cubicBezTo>
                  <a:cubicBezTo>
                    <a:pt x="0" y="125"/>
                    <a:pt x="0" y="77"/>
                    <a:pt x="0" y="0"/>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5" name="Freeform 143">
              <a:extLst>
                <a:ext uri="{FF2B5EF4-FFF2-40B4-BE49-F238E27FC236}">
                  <a16:creationId xmlns:a16="http://schemas.microsoft.com/office/drawing/2014/main" id="{7C25BEE6-A7BF-4540-AD49-81FE56F0B9AE}"/>
                </a:ext>
              </a:extLst>
            </p:cNvPr>
            <p:cNvSpPr>
              <a:spLocks/>
            </p:cNvSpPr>
            <p:nvPr userDrawn="1"/>
          </p:nvSpPr>
          <p:spPr bwMode="auto">
            <a:xfrm flipH="1">
              <a:off x="8795473" y="1617435"/>
              <a:ext cx="629170" cy="590473"/>
            </a:xfrm>
            <a:custGeom>
              <a:avLst/>
              <a:gdLst>
                <a:gd name="T0" fmla="*/ 372 w 412"/>
                <a:gd name="T1" fmla="*/ 67 h 386"/>
                <a:gd name="T2" fmla="*/ 362 w 412"/>
                <a:gd name="T3" fmla="*/ 225 h 386"/>
                <a:gd name="T4" fmla="*/ 195 w 412"/>
                <a:gd name="T5" fmla="*/ 351 h 386"/>
                <a:gd name="T6" fmla="*/ 40 w 412"/>
                <a:gd name="T7" fmla="*/ 319 h 386"/>
                <a:gd name="T8" fmla="*/ 51 w 412"/>
                <a:gd name="T9" fmla="*/ 161 h 386"/>
                <a:gd name="T10" fmla="*/ 217 w 412"/>
                <a:gd name="T11" fmla="*/ 35 h 386"/>
                <a:gd name="T12" fmla="*/ 372 w 412"/>
                <a:gd name="T13" fmla="*/ 67 h 386"/>
              </a:gdLst>
              <a:ahLst/>
              <a:cxnLst>
                <a:cxn ang="0">
                  <a:pos x="T0" y="T1"/>
                </a:cxn>
                <a:cxn ang="0">
                  <a:pos x="T2" y="T3"/>
                </a:cxn>
                <a:cxn ang="0">
                  <a:pos x="T4" y="T5"/>
                </a:cxn>
                <a:cxn ang="0">
                  <a:pos x="T6" y="T7"/>
                </a:cxn>
                <a:cxn ang="0">
                  <a:pos x="T8" y="T9"/>
                </a:cxn>
                <a:cxn ang="0">
                  <a:pos x="T10" y="T11"/>
                </a:cxn>
                <a:cxn ang="0">
                  <a:pos x="T12" y="T13"/>
                </a:cxn>
              </a:cxnLst>
              <a:rect l="0" t="0" r="r" b="b"/>
              <a:pathLst>
                <a:path w="412" h="386">
                  <a:moveTo>
                    <a:pt x="372" y="67"/>
                  </a:moveTo>
                  <a:cubicBezTo>
                    <a:pt x="412" y="120"/>
                    <a:pt x="407" y="190"/>
                    <a:pt x="362" y="225"/>
                  </a:cubicBezTo>
                  <a:cubicBezTo>
                    <a:pt x="195" y="351"/>
                    <a:pt x="195" y="351"/>
                    <a:pt x="195" y="351"/>
                  </a:cubicBezTo>
                  <a:cubicBezTo>
                    <a:pt x="150" y="386"/>
                    <a:pt x="80" y="371"/>
                    <a:pt x="40" y="319"/>
                  </a:cubicBezTo>
                  <a:cubicBezTo>
                    <a:pt x="0" y="266"/>
                    <a:pt x="5" y="195"/>
                    <a:pt x="51" y="161"/>
                  </a:cubicBezTo>
                  <a:cubicBezTo>
                    <a:pt x="217" y="35"/>
                    <a:pt x="217" y="35"/>
                    <a:pt x="217" y="35"/>
                  </a:cubicBezTo>
                  <a:cubicBezTo>
                    <a:pt x="263" y="0"/>
                    <a:pt x="332" y="14"/>
                    <a:pt x="372" y="67"/>
                  </a:cubicBezTo>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6" name="Freeform 164">
              <a:extLst>
                <a:ext uri="{FF2B5EF4-FFF2-40B4-BE49-F238E27FC236}">
                  <a16:creationId xmlns:a16="http://schemas.microsoft.com/office/drawing/2014/main" id="{958CB7C6-A5BD-42D7-B1DC-F07A0D35AB2D}"/>
                </a:ext>
              </a:extLst>
            </p:cNvPr>
            <p:cNvSpPr>
              <a:spLocks/>
            </p:cNvSpPr>
            <p:nvPr userDrawn="1"/>
          </p:nvSpPr>
          <p:spPr bwMode="auto">
            <a:xfrm rot="21480000" flipH="1">
              <a:off x="11217009" y="3665583"/>
              <a:ext cx="961848" cy="995900"/>
            </a:xfrm>
            <a:custGeom>
              <a:avLst/>
              <a:gdLst>
                <a:gd name="connsiteX0" fmla="*/ 974440 w 974440"/>
                <a:gd name="connsiteY0" fmla="*/ 0 h 1037452"/>
                <a:gd name="connsiteX1" fmla="*/ 0 w 974440"/>
                <a:gd name="connsiteY1" fmla="*/ 600867 h 1037452"/>
                <a:gd name="connsiteX2" fmla="*/ 0 w 974440"/>
                <a:gd name="connsiteY2" fmla="*/ 1037452 h 1037452"/>
                <a:gd name="connsiteX0" fmla="*/ 984888 w 984888"/>
                <a:gd name="connsiteY0" fmla="*/ 0 h 1037452"/>
                <a:gd name="connsiteX1" fmla="*/ 0 w 984888"/>
                <a:gd name="connsiteY1" fmla="*/ 608502 h 1037452"/>
                <a:gd name="connsiteX2" fmla="*/ 10448 w 984888"/>
                <a:gd name="connsiteY2" fmla="*/ 1037452 h 1037452"/>
                <a:gd name="connsiteX3" fmla="*/ 984888 w 984888"/>
                <a:gd name="connsiteY3" fmla="*/ 0 h 1037452"/>
              </a:gdLst>
              <a:ahLst/>
              <a:cxnLst>
                <a:cxn ang="0">
                  <a:pos x="connsiteX0" y="connsiteY0"/>
                </a:cxn>
                <a:cxn ang="0">
                  <a:pos x="connsiteX1" y="connsiteY1"/>
                </a:cxn>
                <a:cxn ang="0">
                  <a:pos x="connsiteX2" y="connsiteY2"/>
                </a:cxn>
                <a:cxn ang="0">
                  <a:pos x="connsiteX3" y="connsiteY3"/>
                </a:cxn>
              </a:cxnLst>
              <a:rect l="l" t="t" r="r" b="b"/>
              <a:pathLst>
                <a:path w="984888" h="1037452">
                  <a:moveTo>
                    <a:pt x="984888" y="0"/>
                  </a:moveTo>
                  <a:lnTo>
                    <a:pt x="0" y="608502"/>
                  </a:lnTo>
                  <a:lnTo>
                    <a:pt x="10448" y="1037452"/>
                  </a:lnTo>
                  <a:lnTo>
                    <a:pt x="984888" y="0"/>
                  </a:lnTo>
                  <a:close/>
                </a:path>
              </a:pathLst>
            </a:custGeom>
            <a:solidFill>
              <a:srgbClr val="CB2980"/>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237" name="Freeform 145">
              <a:extLst>
                <a:ext uri="{FF2B5EF4-FFF2-40B4-BE49-F238E27FC236}">
                  <a16:creationId xmlns:a16="http://schemas.microsoft.com/office/drawing/2014/main" id="{01CC2159-7B58-4642-81D6-113BF76A3209}"/>
                </a:ext>
              </a:extLst>
            </p:cNvPr>
            <p:cNvSpPr>
              <a:spLocks/>
            </p:cNvSpPr>
            <p:nvPr userDrawn="1"/>
          </p:nvSpPr>
          <p:spPr bwMode="auto">
            <a:xfrm flipH="1">
              <a:off x="11217560" y="3678358"/>
              <a:ext cx="1241140" cy="1321398"/>
            </a:xfrm>
            <a:custGeom>
              <a:avLst/>
              <a:gdLst>
                <a:gd name="T0" fmla="*/ 866 w 866"/>
                <a:gd name="T1" fmla="*/ 0 h 922"/>
                <a:gd name="T2" fmla="*/ 0 w 866"/>
                <a:gd name="T3" fmla="*/ 534 h 922"/>
                <a:gd name="T4" fmla="*/ 0 w 866"/>
                <a:gd name="T5" fmla="*/ 922 h 922"/>
                <a:gd name="T6" fmla="*/ 866 w 866"/>
                <a:gd name="T7" fmla="*/ 0 h 922"/>
              </a:gdLst>
              <a:ahLst/>
              <a:cxnLst>
                <a:cxn ang="0">
                  <a:pos x="T0" y="T1"/>
                </a:cxn>
                <a:cxn ang="0">
                  <a:pos x="T2" y="T3"/>
                </a:cxn>
                <a:cxn ang="0">
                  <a:pos x="T4" y="T5"/>
                </a:cxn>
                <a:cxn ang="0">
                  <a:pos x="T6" y="T7"/>
                </a:cxn>
              </a:cxnLst>
              <a:rect l="0" t="0" r="r" b="b"/>
              <a:pathLst>
                <a:path w="866" h="922">
                  <a:moveTo>
                    <a:pt x="866" y="0"/>
                  </a:moveTo>
                  <a:lnTo>
                    <a:pt x="0" y="534"/>
                  </a:lnTo>
                  <a:lnTo>
                    <a:pt x="0" y="922"/>
                  </a:lnTo>
                  <a:lnTo>
                    <a:pt x="8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8" name="Oval 146">
              <a:extLst>
                <a:ext uri="{FF2B5EF4-FFF2-40B4-BE49-F238E27FC236}">
                  <a16:creationId xmlns:a16="http://schemas.microsoft.com/office/drawing/2014/main" id="{80F1EF60-78E2-4BFE-8856-61960E86654E}"/>
                </a:ext>
              </a:extLst>
            </p:cNvPr>
            <p:cNvSpPr>
              <a:spLocks noChangeArrowheads="1"/>
            </p:cNvSpPr>
            <p:nvPr userDrawn="1"/>
          </p:nvSpPr>
          <p:spPr bwMode="auto">
            <a:xfrm flipH="1">
              <a:off x="10179932" y="3331526"/>
              <a:ext cx="54461" cy="544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9" name="Oval 147">
              <a:extLst>
                <a:ext uri="{FF2B5EF4-FFF2-40B4-BE49-F238E27FC236}">
                  <a16:creationId xmlns:a16="http://schemas.microsoft.com/office/drawing/2014/main" id="{94CD3BF8-6219-47A6-930D-DB5C84AEE564}"/>
                </a:ext>
              </a:extLst>
            </p:cNvPr>
            <p:cNvSpPr>
              <a:spLocks noChangeArrowheads="1"/>
            </p:cNvSpPr>
            <p:nvPr userDrawn="1"/>
          </p:nvSpPr>
          <p:spPr bwMode="auto">
            <a:xfrm flipH="1">
              <a:off x="10049512" y="3331526"/>
              <a:ext cx="53028" cy="544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0" name="Oval 148">
              <a:extLst>
                <a:ext uri="{FF2B5EF4-FFF2-40B4-BE49-F238E27FC236}">
                  <a16:creationId xmlns:a16="http://schemas.microsoft.com/office/drawing/2014/main" id="{1E6059EE-6B30-48D7-8601-3C0F67EBD9A6}"/>
                </a:ext>
              </a:extLst>
            </p:cNvPr>
            <p:cNvSpPr>
              <a:spLocks noChangeArrowheads="1"/>
            </p:cNvSpPr>
            <p:nvPr userDrawn="1"/>
          </p:nvSpPr>
          <p:spPr bwMode="auto">
            <a:xfrm flipH="1">
              <a:off x="9917658" y="3331526"/>
              <a:ext cx="53028" cy="544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1" name="Oval 149">
              <a:extLst>
                <a:ext uri="{FF2B5EF4-FFF2-40B4-BE49-F238E27FC236}">
                  <a16:creationId xmlns:a16="http://schemas.microsoft.com/office/drawing/2014/main" id="{ADA1EBE8-95F5-49C1-AF5F-DB7775F1AB51}"/>
                </a:ext>
              </a:extLst>
            </p:cNvPr>
            <p:cNvSpPr>
              <a:spLocks noChangeArrowheads="1"/>
            </p:cNvSpPr>
            <p:nvPr userDrawn="1"/>
          </p:nvSpPr>
          <p:spPr bwMode="auto">
            <a:xfrm flipH="1">
              <a:off x="9785806" y="3331526"/>
              <a:ext cx="54461" cy="544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2" name="Freeform 116">
              <a:extLst>
                <a:ext uri="{FF2B5EF4-FFF2-40B4-BE49-F238E27FC236}">
                  <a16:creationId xmlns:a16="http://schemas.microsoft.com/office/drawing/2014/main" id="{CD60E360-0E01-4202-BEBD-DB6AA40EB9FB}"/>
                </a:ext>
              </a:extLst>
            </p:cNvPr>
            <p:cNvSpPr>
              <a:spLocks/>
            </p:cNvSpPr>
            <p:nvPr userDrawn="1"/>
          </p:nvSpPr>
          <p:spPr bwMode="auto">
            <a:xfrm flipH="1">
              <a:off x="8656454" y="2106151"/>
              <a:ext cx="768188" cy="693663"/>
            </a:xfrm>
            <a:custGeom>
              <a:avLst/>
              <a:gdLst>
                <a:gd name="T0" fmla="*/ 463 w 503"/>
                <a:gd name="T1" fmla="*/ 67 h 453"/>
                <a:gd name="T2" fmla="*/ 453 w 503"/>
                <a:gd name="T3" fmla="*/ 225 h 453"/>
                <a:gd name="T4" fmla="*/ 195 w 503"/>
                <a:gd name="T5" fmla="*/ 418 h 453"/>
                <a:gd name="T6" fmla="*/ 40 w 503"/>
                <a:gd name="T7" fmla="*/ 386 h 453"/>
                <a:gd name="T8" fmla="*/ 51 w 503"/>
                <a:gd name="T9" fmla="*/ 228 h 453"/>
                <a:gd name="T10" fmla="*/ 308 w 503"/>
                <a:gd name="T11" fmla="*/ 35 h 453"/>
                <a:gd name="T12" fmla="*/ 463 w 503"/>
                <a:gd name="T13" fmla="*/ 67 h 453"/>
              </a:gdLst>
              <a:ahLst/>
              <a:cxnLst>
                <a:cxn ang="0">
                  <a:pos x="T0" y="T1"/>
                </a:cxn>
                <a:cxn ang="0">
                  <a:pos x="T2" y="T3"/>
                </a:cxn>
                <a:cxn ang="0">
                  <a:pos x="T4" y="T5"/>
                </a:cxn>
                <a:cxn ang="0">
                  <a:pos x="T6" y="T7"/>
                </a:cxn>
                <a:cxn ang="0">
                  <a:pos x="T8" y="T9"/>
                </a:cxn>
                <a:cxn ang="0">
                  <a:pos x="T10" y="T11"/>
                </a:cxn>
                <a:cxn ang="0">
                  <a:pos x="T12" y="T13"/>
                </a:cxn>
              </a:cxnLst>
              <a:rect l="0" t="0" r="r" b="b"/>
              <a:pathLst>
                <a:path w="503" h="453">
                  <a:moveTo>
                    <a:pt x="463" y="67"/>
                  </a:moveTo>
                  <a:cubicBezTo>
                    <a:pt x="503" y="120"/>
                    <a:pt x="498" y="190"/>
                    <a:pt x="453" y="225"/>
                  </a:cubicBezTo>
                  <a:cubicBezTo>
                    <a:pt x="195" y="418"/>
                    <a:pt x="195" y="418"/>
                    <a:pt x="195" y="418"/>
                  </a:cubicBezTo>
                  <a:cubicBezTo>
                    <a:pt x="150" y="453"/>
                    <a:pt x="80" y="439"/>
                    <a:pt x="40" y="386"/>
                  </a:cubicBezTo>
                  <a:cubicBezTo>
                    <a:pt x="0" y="333"/>
                    <a:pt x="5" y="263"/>
                    <a:pt x="51" y="228"/>
                  </a:cubicBezTo>
                  <a:cubicBezTo>
                    <a:pt x="308" y="35"/>
                    <a:pt x="308" y="35"/>
                    <a:pt x="308" y="35"/>
                  </a:cubicBezTo>
                  <a:cubicBezTo>
                    <a:pt x="354" y="0"/>
                    <a:pt x="423" y="14"/>
                    <a:pt x="463" y="67"/>
                  </a:cubicBezTo>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3" name="Freeform 117">
              <a:extLst>
                <a:ext uri="{FF2B5EF4-FFF2-40B4-BE49-F238E27FC236}">
                  <a16:creationId xmlns:a16="http://schemas.microsoft.com/office/drawing/2014/main" id="{4122EA89-46D0-4A5B-89E0-12B6EB721DB1}"/>
                </a:ext>
              </a:extLst>
            </p:cNvPr>
            <p:cNvSpPr>
              <a:spLocks/>
            </p:cNvSpPr>
            <p:nvPr userDrawn="1"/>
          </p:nvSpPr>
          <p:spPr bwMode="auto">
            <a:xfrm flipH="1">
              <a:off x="8596260" y="2491679"/>
              <a:ext cx="769622" cy="693663"/>
            </a:xfrm>
            <a:custGeom>
              <a:avLst/>
              <a:gdLst>
                <a:gd name="T0" fmla="*/ 463 w 503"/>
                <a:gd name="T1" fmla="*/ 67 h 453"/>
                <a:gd name="T2" fmla="*/ 452 w 503"/>
                <a:gd name="T3" fmla="*/ 225 h 453"/>
                <a:gd name="T4" fmla="*/ 195 w 503"/>
                <a:gd name="T5" fmla="*/ 419 h 453"/>
                <a:gd name="T6" fmla="*/ 40 w 503"/>
                <a:gd name="T7" fmla="*/ 386 h 453"/>
                <a:gd name="T8" fmla="*/ 51 w 503"/>
                <a:gd name="T9" fmla="*/ 228 h 453"/>
                <a:gd name="T10" fmla="*/ 308 w 503"/>
                <a:gd name="T11" fmla="*/ 35 h 453"/>
                <a:gd name="T12" fmla="*/ 463 w 503"/>
                <a:gd name="T13" fmla="*/ 67 h 453"/>
              </a:gdLst>
              <a:ahLst/>
              <a:cxnLst>
                <a:cxn ang="0">
                  <a:pos x="T0" y="T1"/>
                </a:cxn>
                <a:cxn ang="0">
                  <a:pos x="T2" y="T3"/>
                </a:cxn>
                <a:cxn ang="0">
                  <a:pos x="T4" y="T5"/>
                </a:cxn>
                <a:cxn ang="0">
                  <a:pos x="T6" y="T7"/>
                </a:cxn>
                <a:cxn ang="0">
                  <a:pos x="T8" y="T9"/>
                </a:cxn>
                <a:cxn ang="0">
                  <a:pos x="T10" y="T11"/>
                </a:cxn>
                <a:cxn ang="0">
                  <a:pos x="T12" y="T13"/>
                </a:cxn>
              </a:cxnLst>
              <a:rect l="0" t="0" r="r" b="b"/>
              <a:pathLst>
                <a:path w="503" h="453">
                  <a:moveTo>
                    <a:pt x="463" y="67"/>
                  </a:moveTo>
                  <a:cubicBezTo>
                    <a:pt x="503" y="120"/>
                    <a:pt x="498" y="190"/>
                    <a:pt x="452" y="225"/>
                  </a:cubicBezTo>
                  <a:cubicBezTo>
                    <a:pt x="195" y="419"/>
                    <a:pt x="195" y="419"/>
                    <a:pt x="195" y="419"/>
                  </a:cubicBezTo>
                  <a:cubicBezTo>
                    <a:pt x="149" y="453"/>
                    <a:pt x="80" y="439"/>
                    <a:pt x="40" y="386"/>
                  </a:cubicBezTo>
                  <a:cubicBezTo>
                    <a:pt x="0" y="334"/>
                    <a:pt x="5" y="263"/>
                    <a:pt x="51" y="228"/>
                  </a:cubicBezTo>
                  <a:cubicBezTo>
                    <a:pt x="308" y="35"/>
                    <a:pt x="308" y="35"/>
                    <a:pt x="308" y="35"/>
                  </a:cubicBezTo>
                  <a:cubicBezTo>
                    <a:pt x="354" y="0"/>
                    <a:pt x="423" y="15"/>
                    <a:pt x="463" y="67"/>
                  </a:cubicBezTo>
                </a:path>
              </a:pathLst>
            </a:custGeom>
            <a:solidFill>
              <a:srgbClr val="FF304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30922858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cxnSp>
        <p:nvCxnSpPr>
          <p:cNvPr id="12" name="Conector reto 49">
            <a:extLst>
              <a:ext uri="{FF2B5EF4-FFF2-40B4-BE49-F238E27FC236}">
                <a16:creationId xmlns:a16="http://schemas.microsoft.com/office/drawing/2014/main" id="{02BD5F97-0D90-44B7-AD6D-5425F2F9CC6F}"/>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7B682035-D269-40D9-96DE-4509F723D0C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id="{0E9C1DD6-DEDF-471C-B851-5C1732C5CAB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Text Placeholder 3">
            <a:extLst>
              <a:ext uri="{FF2B5EF4-FFF2-40B4-BE49-F238E27FC236}">
                <a16:creationId xmlns:a16="http://schemas.microsoft.com/office/drawing/2014/main" id="{3931C4CE-431B-42A2-8ED5-BAB930F361F7}"/>
              </a:ext>
            </a:extLst>
          </p:cNvPr>
          <p:cNvSpPr>
            <a:spLocks noGrp="1"/>
          </p:cNvSpPr>
          <p:nvPr>
            <p:ph type="body" sz="quarter" idx="10" hasCustomPrompt="1"/>
          </p:nvPr>
        </p:nvSpPr>
        <p:spPr>
          <a:xfrm>
            <a:off x="5257801" y="2701701"/>
            <a:ext cx="6526212" cy="402806"/>
          </a:xfrm>
        </p:spPr>
        <p:txBody>
          <a:bodyPr>
            <a:normAutofit/>
          </a:bodyPr>
          <a:lstStyle>
            <a:lvl1pPr marL="0" marR="0" indent="0" algn="l" defTabSz="914400" rtl="0" eaLnBrk="1" fontAlgn="auto" latinLnBrk="0" hangingPunct="1">
              <a:lnSpc>
                <a:spcPts val="2200"/>
              </a:lnSpc>
              <a:spcBef>
                <a:spcPts val="1000"/>
              </a:spcBef>
              <a:spcAft>
                <a:spcPts val="600"/>
              </a:spcAft>
              <a:buClrTx/>
              <a:buSzTx/>
              <a:buFont typeface="Arial" panose="020B0604020202020204" pitchFamily="34" charset="0"/>
              <a:buNone/>
              <a:tabLst/>
              <a:defRPr lang="en-US" sz="1600" kern="1200" dirty="0" smtClean="0">
                <a:solidFill>
                  <a:srgbClr val="0070C0"/>
                </a:solidFill>
                <a:latin typeface="Ubuntu" panose="020B0504030602030204" pitchFamily="34" charset="0"/>
                <a:ea typeface="+mn-ea"/>
                <a:cs typeface="+mn-cs"/>
              </a:defRPr>
            </a:lvl1pPr>
          </a:lstStyle>
          <a:p>
            <a:pPr marL="0" marR="0" lvl="0" indent="0" algn="l" defTabSz="914400" rtl="0" eaLnBrk="1" fontAlgn="auto" latinLnBrk="0" hangingPunct="1">
              <a:lnSpc>
                <a:spcPts val="2200"/>
              </a:lnSpc>
              <a:spcBef>
                <a:spcPts val="1000"/>
              </a:spcBef>
              <a:spcAft>
                <a:spcPts val="600"/>
              </a:spcAft>
              <a:buClrTx/>
              <a:buSzTx/>
              <a:buFont typeface="Arial" panose="020B0604020202020204" pitchFamily="34" charset="0"/>
              <a:buNone/>
              <a:tabLst/>
              <a:defRPr/>
            </a:pPr>
            <a:r>
              <a:rPr lang="en-US" dirty="0"/>
              <a:t>Placeholder for text</a:t>
            </a:r>
          </a:p>
        </p:txBody>
      </p:sp>
      <p:grpSp>
        <p:nvGrpSpPr>
          <p:cNvPr id="59" name="Group 58">
            <a:extLst>
              <a:ext uri="{FF2B5EF4-FFF2-40B4-BE49-F238E27FC236}">
                <a16:creationId xmlns:a16="http://schemas.microsoft.com/office/drawing/2014/main" id="{CBB02CF0-7C17-4A2F-87AF-96C25350AF3E}"/>
              </a:ext>
            </a:extLst>
          </p:cNvPr>
          <p:cNvGrpSpPr/>
          <p:nvPr userDrawn="1"/>
        </p:nvGrpSpPr>
        <p:grpSpPr>
          <a:xfrm>
            <a:off x="62797" y="1562583"/>
            <a:ext cx="6205541" cy="4236333"/>
            <a:chOff x="398464" y="1154113"/>
            <a:chExt cx="3757928" cy="2565422"/>
          </a:xfrm>
        </p:grpSpPr>
        <p:sp>
          <p:nvSpPr>
            <p:cNvPr id="60" name="Freeform 83">
              <a:extLst>
                <a:ext uri="{FF2B5EF4-FFF2-40B4-BE49-F238E27FC236}">
                  <a16:creationId xmlns:a16="http://schemas.microsoft.com/office/drawing/2014/main" id="{E94136E6-C325-4D1A-8876-45B492AD01A3}"/>
                </a:ext>
              </a:extLst>
            </p:cNvPr>
            <p:cNvSpPr/>
            <p:nvPr/>
          </p:nvSpPr>
          <p:spPr>
            <a:xfrm>
              <a:off x="742869" y="3299165"/>
              <a:ext cx="911542" cy="420370"/>
            </a:xfrm>
            <a:custGeom>
              <a:avLst/>
              <a:gdLst>
                <a:gd name="connsiteX0" fmla="*/ 0 w 930275"/>
                <a:gd name="connsiteY0" fmla="*/ 127000 h 835025"/>
                <a:gd name="connsiteX1" fmla="*/ 349250 w 930275"/>
                <a:gd name="connsiteY1" fmla="*/ 0 h 835025"/>
                <a:gd name="connsiteX2" fmla="*/ 930275 w 930275"/>
                <a:gd name="connsiteY2" fmla="*/ 758825 h 835025"/>
                <a:gd name="connsiteX3" fmla="*/ 565150 w 930275"/>
                <a:gd name="connsiteY3" fmla="*/ 835025 h 835025"/>
                <a:gd name="connsiteX4" fmla="*/ 0 w 930275"/>
                <a:gd name="connsiteY4" fmla="*/ 127000 h 835025"/>
                <a:gd name="connsiteX0" fmla="*/ 0 w 1707515"/>
                <a:gd name="connsiteY0" fmla="*/ 127000 h 835025"/>
                <a:gd name="connsiteX1" fmla="*/ 349250 w 1707515"/>
                <a:gd name="connsiteY1" fmla="*/ 0 h 835025"/>
                <a:gd name="connsiteX2" fmla="*/ 1707515 w 1707515"/>
                <a:gd name="connsiteY2" fmla="*/ 621665 h 835025"/>
                <a:gd name="connsiteX3" fmla="*/ 565150 w 1707515"/>
                <a:gd name="connsiteY3" fmla="*/ 835025 h 835025"/>
                <a:gd name="connsiteX4" fmla="*/ 0 w 1707515"/>
                <a:gd name="connsiteY4" fmla="*/ 127000 h 835025"/>
                <a:gd name="connsiteX0" fmla="*/ 0 w 1707515"/>
                <a:gd name="connsiteY0" fmla="*/ 127000 h 766445"/>
                <a:gd name="connsiteX1" fmla="*/ 349250 w 1707515"/>
                <a:gd name="connsiteY1" fmla="*/ 0 h 766445"/>
                <a:gd name="connsiteX2" fmla="*/ 1707515 w 1707515"/>
                <a:gd name="connsiteY2" fmla="*/ 621665 h 766445"/>
                <a:gd name="connsiteX3" fmla="*/ 122809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5857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81430 w 1707515"/>
                <a:gd name="connsiteY3" fmla="*/ 766445 h 766445"/>
                <a:gd name="connsiteX4" fmla="*/ 0 w 1707515"/>
                <a:gd name="connsiteY4" fmla="*/ 127000 h 766445"/>
                <a:gd name="connsiteX0" fmla="*/ 0 w 1684655"/>
                <a:gd name="connsiteY0" fmla="*/ 127000 h 766445"/>
                <a:gd name="connsiteX1" fmla="*/ 349250 w 1684655"/>
                <a:gd name="connsiteY1" fmla="*/ 0 h 766445"/>
                <a:gd name="connsiteX2" fmla="*/ 1684655 w 1684655"/>
                <a:gd name="connsiteY2" fmla="*/ 621665 h 766445"/>
                <a:gd name="connsiteX3" fmla="*/ 1281430 w 1684655"/>
                <a:gd name="connsiteY3" fmla="*/ 766445 h 766445"/>
                <a:gd name="connsiteX4" fmla="*/ 0 w 1684655"/>
                <a:gd name="connsiteY4" fmla="*/ 127000 h 766445"/>
                <a:gd name="connsiteX0" fmla="*/ 0 w 1677511"/>
                <a:gd name="connsiteY0" fmla="*/ 124619 h 766445"/>
                <a:gd name="connsiteX1" fmla="*/ 342106 w 1677511"/>
                <a:gd name="connsiteY1" fmla="*/ 0 h 766445"/>
                <a:gd name="connsiteX2" fmla="*/ 1677511 w 1677511"/>
                <a:gd name="connsiteY2" fmla="*/ 621665 h 766445"/>
                <a:gd name="connsiteX3" fmla="*/ 1274286 w 1677511"/>
                <a:gd name="connsiteY3" fmla="*/ 766445 h 766445"/>
                <a:gd name="connsiteX4" fmla="*/ 0 w 1677511"/>
                <a:gd name="connsiteY4" fmla="*/ 124619 h 766445"/>
                <a:gd name="connsiteX0" fmla="*/ 0 w 1677511"/>
                <a:gd name="connsiteY0" fmla="*/ 124619 h 652145"/>
                <a:gd name="connsiteX1" fmla="*/ 342106 w 1677511"/>
                <a:gd name="connsiteY1" fmla="*/ 0 h 652145"/>
                <a:gd name="connsiteX2" fmla="*/ 1677511 w 1677511"/>
                <a:gd name="connsiteY2" fmla="*/ 621665 h 652145"/>
                <a:gd name="connsiteX3" fmla="*/ 1045686 w 1677511"/>
                <a:gd name="connsiteY3" fmla="*/ 652145 h 652145"/>
                <a:gd name="connsiteX4" fmla="*/ 0 w 1677511"/>
                <a:gd name="connsiteY4" fmla="*/ 124619 h 652145"/>
                <a:gd name="connsiteX0" fmla="*/ 0 w 1410811"/>
                <a:gd name="connsiteY0" fmla="*/ 124619 h 652145"/>
                <a:gd name="connsiteX1" fmla="*/ 342106 w 1410811"/>
                <a:gd name="connsiteY1" fmla="*/ 0 h 652145"/>
                <a:gd name="connsiteX2" fmla="*/ 1410811 w 1410811"/>
                <a:gd name="connsiteY2" fmla="*/ 507365 h 652145"/>
                <a:gd name="connsiteX3" fmla="*/ 1045686 w 1410811"/>
                <a:gd name="connsiteY3" fmla="*/ 652145 h 652145"/>
                <a:gd name="connsiteX4" fmla="*/ 0 w 1410811"/>
                <a:gd name="connsiteY4" fmla="*/ 124619 h 652145"/>
                <a:gd name="connsiteX0" fmla="*/ 0 w 1410811"/>
                <a:gd name="connsiteY0" fmla="*/ 124619 h 525145"/>
                <a:gd name="connsiteX1" fmla="*/ 342106 w 1410811"/>
                <a:gd name="connsiteY1" fmla="*/ 0 h 525145"/>
                <a:gd name="connsiteX2" fmla="*/ 1410811 w 1410811"/>
                <a:gd name="connsiteY2" fmla="*/ 507365 h 525145"/>
                <a:gd name="connsiteX3" fmla="*/ 791686 w 1410811"/>
                <a:gd name="connsiteY3" fmla="*/ 525145 h 525145"/>
                <a:gd name="connsiteX4" fmla="*/ 0 w 1410811"/>
                <a:gd name="connsiteY4" fmla="*/ 124619 h 525145"/>
                <a:gd name="connsiteX0" fmla="*/ 0 w 1156811"/>
                <a:gd name="connsiteY0" fmla="*/ 124619 h 525145"/>
                <a:gd name="connsiteX1" fmla="*/ 342106 w 1156811"/>
                <a:gd name="connsiteY1" fmla="*/ 0 h 525145"/>
                <a:gd name="connsiteX2" fmla="*/ 1156811 w 1156811"/>
                <a:gd name="connsiteY2" fmla="*/ 380365 h 525145"/>
                <a:gd name="connsiteX3" fmla="*/ 791686 w 1156811"/>
                <a:gd name="connsiteY3" fmla="*/ 525145 h 525145"/>
                <a:gd name="connsiteX4" fmla="*/ 0 w 1156811"/>
                <a:gd name="connsiteY4" fmla="*/ 124619 h 525145"/>
                <a:gd name="connsiteX0" fmla="*/ 0 w 1156811"/>
                <a:gd name="connsiteY0" fmla="*/ 124619 h 420370"/>
                <a:gd name="connsiteX1" fmla="*/ 342106 w 1156811"/>
                <a:gd name="connsiteY1" fmla="*/ 0 h 420370"/>
                <a:gd name="connsiteX2" fmla="*/ 1156811 w 1156811"/>
                <a:gd name="connsiteY2" fmla="*/ 380365 h 420370"/>
                <a:gd name="connsiteX3" fmla="*/ 584517 w 1156811"/>
                <a:gd name="connsiteY3" fmla="*/ 420370 h 420370"/>
                <a:gd name="connsiteX4" fmla="*/ 0 w 1156811"/>
                <a:gd name="connsiteY4" fmla="*/ 124619 h 420370"/>
                <a:gd name="connsiteX0" fmla="*/ 0 w 911542"/>
                <a:gd name="connsiteY0" fmla="*/ 124619 h 420370"/>
                <a:gd name="connsiteX1" fmla="*/ 342106 w 911542"/>
                <a:gd name="connsiteY1" fmla="*/ 0 h 420370"/>
                <a:gd name="connsiteX2" fmla="*/ 911542 w 911542"/>
                <a:gd name="connsiteY2" fmla="*/ 266065 h 420370"/>
                <a:gd name="connsiteX3" fmla="*/ 584517 w 911542"/>
                <a:gd name="connsiteY3" fmla="*/ 420370 h 420370"/>
                <a:gd name="connsiteX4" fmla="*/ 0 w 911542"/>
                <a:gd name="connsiteY4" fmla="*/ 124619 h 420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542" h="420370">
                  <a:moveTo>
                    <a:pt x="0" y="124619"/>
                  </a:moveTo>
                  <a:lnTo>
                    <a:pt x="342106" y="0"/>
                  </a:lnTo>
                  <a:lnTo>
                    <a:pt x="911542" y="266065"/>
                  </a:lnTo>
                  <a:lnTo>
                    <a:pt x="584517" y="420370"/>
                  </a:lnTo>
                  <a:lnTo>
                    <a:pt x="0" y="124619"/>
                  </a:lnTo>
                  <a:close/>
                </a:path>
              </a:pathLst>
            </a:custGeom>
            <a:gradFill flip="none" rotWithShape="1">
              <a:gsLst>
                <a:gs pos="0">
                  <a:schemeClr val="bg2">
                    <a:lumMod val="75000"/>
                  </a:schemeClr>
                </a:gs>
                <a:gs pos="100000">
                  <a:schemeClr val="bg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1" name="Freeform 82">
              <a:extLst>
                <a:ext uri="{FF2B5EF4-FFF2-40B4-BE49-F238E27FC236}">
                  <a16:creationId xmlns:a16="http://schemas.microsoft.com/office/drawing/2014/main" id="{C0F39866-07AB-430B-800D-75D5EBD4A980}"/>
                </a:ext>
              </a:extLst>
            </p:cNvPr>
            <p:cNvSpPr/>
            <p:nvPr/>
          </p:nvSpPr>
          <p:spPr>
            <a:xfrm>
              <a:off x="1346204" y="3090919"/>
              <a:ext cx="1156811" cy="525145"/>
            </a:xfrm>
            <a:custGeom>
              <a:avLst/>
              <a:gdLst>
                <a:gd name="connsiteX0" fmla="*/ 0 w 930275"/>
                <a:gd name="connsiteY0" fmla="*/ 127000 h 835025"/>
                <a:gd name="connsiteX1" fmla="*/ 349250 w 930275"/>
                <a:gd name="connsiteY1" fmla="*/ 0 h 835025"/>
                <a:gd name="connsiteX2" fmla="*/ 930275 w 930275"/>
                <a:gd name="connsiteY2" fmla="*/ 758825 h 835025"/>
                <a:gd name="connsiteX3" fmla="*/ 565150 w 930275"/>
                <a:gd name="connsiteY3" fmla="*/ 835025 h 835025"/>
                <a:gd name="connsiteX4" fmla="*/ 0 w 930275"/>
                <a:gd name="connsiteY4" fmla="*/ 127000 h 835025"/>
                <a:gd name="connsiteX0" fmla="*/ 0 w 1707515"/>
                <a:gd name="connsiteY0" fmla="*/ 127000 h 835025"/>
                <a:gd name="connsiteX1" fmla="*/ 349250 w 1707515"/>
                <a:gd name="connsiteY1" fmla="*/ 0 h 835025"/>
                <a:gd name="connsiteX2" fmla="*/ 1707515 w 1707515"/>
                <a:gd name="connsiteY2" fmla="*/ 621665 h 835025"/>
                <a:gd name="connsiteX3" fmla="*/ 565150 w 1707515"/>
                <a:gd name="connsiteY3" fmla="*/ 835025 h 835025"/>
                <a:gd name="connsiteX4" fmla="*/ 0 w 1707515"/>
                <a:gd name="connsiteY4" fmla="*/ 127000 h 835025"/>
                <a:gd name="connsiteX0" fmla="*/ 0 w 1707515"/>
                <a:gd name="connsiteY0" fmla="*/ 127000 h 766445"/>
                <a:gd name="connsiteX1" fmla="*/ 349250 w 1707515"/>
                <a:gd name="connsiteY1" fmla="*/ 0 h 766445"/>
                <a:gd name="connsiteX2" fmla="*/ 1707515 w 1707515"/>
                <a:gd name="connsiteY2" fmla="*/ 621665 h 766445"/>
                <a:gd name="connsiteX3" fmla="*/ 122809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5857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81430 w 1707515"/>
                <a:gd name="connsiteY3" fmla="*/ 766445 h 766445"/>
                <a:gd name="connsiteX4" fmla="*/ 0 w 1707515"/>
                <a:gd name="connsiteY4" fmla="*/ 127000 h 766445"/>
                <a:gd name="connsiteX0" fmla="*/ 0 w 1684655"/>
                <a:gd name="connsiteY0" fmla="*/ 127000 h 766445"/>
                <a:gd name="connsiteX1" fmla="*/ 349250 w 1684655"/>
                <a:gd name="connsiteY1" fmla="*/ 0 h 766445"/>
                <a:gd name="connsiteX2" fmla="*/ 1684655 w 1684655"/>
                <a:gd name="connsiteY2" fmla="*/ 621665 h 766445"/>
                <a:gd name="connsiteX3" fmla="*/ 1281430 w 1684655"/>
                <a:gd name="connsiteY3" fmla="*/ 766445 h 766445"/>
                <a:gd name="connsiteX4" fmla="*/ 0 w 1684655"/>
                <a:gd name="connsiteY4" fmla="*/ 127000 h 766445"/>
                <a:gd name="connsiteX0" fmla="*/ 0 w 1677511"/>
                <a:gd name="connsiteY0" fmla="*/ 124619 h 766445"/>
                <a:gd name="connsiteX1" fmla="*/ 342106 w 1677511"/>
                <a:gd name="connsiteY1" fmla="*/ 0 h 766445"/>
                <a:gd name="connsiteX2" fmla="*/ 1677511 w 1677511"/>
                <a:gd name="connsiteY2" fmla="*/ 621665 h 766445"/>
                <a:gd name="connsiteX3" fmla="*/ 1274286 w 1677511"/>
                <a:gd name="connsiteY3" fmla="*/ 766445 h 766445"/>
                <a:gd name="connsiteX4" fmla="*/ 0 w 1677511"/>
                <a:gd name="connsiteY4" fmla="*/ 124619 h 766445"/>
                <a:gd name="connsiteX0" fmla="*/ 0 w 1677511"/>
                <a:gd name="connsiteY0" fmla="*/ 124619 h 652145"/>
                <a:gd name="connsiteX1" fmla="*/ 342106 w 1677511"/>
                <a:gd name="connsiteY1" fmla="*/ 0 h 652145"/>
                <a:gd name="connsiteX2" fmla="*/ 1677511 w 1677511"/>
                <a:gd name="connsiteY2" fmla="*/ 621665 h 652145"/>
                <a:gd name="connsiteX3" fmla="*/ 1045686 w 1677511"/>
                <a:gd name="connsiteY3" fmla="*/ 652145 h 652145"/>
                <a:gd name="connsiteX4" fmla="*/ 0 w 1677511"/>
                <a:gd name="connsiteY4" fmla="*/ 124619 h 652145"/>
                <a:gd name="connsiteX0" fmla="*/ 0 w 1410811"/>
                <a:gd name="connsiteY0" fmla="*/ 124619 h 652145"/>
                <a:gd name="connsiteX1" fmla="*/ 342106 w 1410811"/>
                <a:gd name="connsiteY1" fmla="*/ 0 h 652145"/>
                <a:gd name="connsiteX2" fmla="*/ 1410811 w 1410811"/>
                <a:gd name="connsiteY2" fmla="*/ 507365 h 652145"/>
                <a:gd name="connsiteX3" fmla="*/ 1045686 w 1410811"/>
                <a:gd name="connsiteY3" fmla="*/ 652145 h 652145"/>
                <a:gd name="connsiteX4" fmla="*/ 0 w 1410811"/>
                <a:gd name="connsiteY4" fmla="*/ 124619 h 652145"/>
                <a:gd name="connsiteX0" fmla="*/ 0 w 1410811"/>
                <a:gd name="connsiteY0" fmla="*/ 124619 h 525145"/>
                <a:gd name="connsiteX1" fmla="*/ 342106 w 1410811"/>
                <a:gd name="connsiteY1" fmla="*/ 0 h 525145"/>
                <a:gd name="connsiteX2" fmla="*/ 1410811 w 1410811"/>
                <a:gd name="connsiteY2" fmla="*/ 507365 h 525145"/>
                <a:gd name="connsiteX3" fmla="*/ 791686 w 1410811"/>
                <a:gd name="connsiteY3" fmla="*/ 525145 h 525145"/>
                <a:gd name="connsiteX4" fmla="*/ 0 w 1410811"/>
                <a:gd name="connsiteY4" fmla="*/ 124619 h 525145"/>
                <a:gd name="connsiteX0" fmla="*/ 0 w 1156811"/>
                <a:gd name="connsiteY0" fmla="*/ 124619 h 525145"/>
                <a:gd name="connsiteX1" fmla="*/ 342106 w 1156811"/>
                <a:gd name="connsiteY1" fmla="*/ 0 h 525145"/>
                <a:gd name="connsiteX2" fmla="*/ 1156811 w 1156811"/>
                <a:gd name="connsiteY2" fmla="*/ 380365 h 525145"/>
                <a:gd name="connsiteX3" fmla="*/ 791686 w 1156811"/>
                <a:gd name="connsiteY3" fmla="*/ 525145 h 525145"/>
                <a:gd name="connsiteX4" fmla="*/ 0 w 1156811"/>
                <a:gd name="connsiteY4" fmla="*/ 124619 h 525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811" h="525145">
                  <a:moveTo>
                    <a:pt x="0" y="124619"/>
                  </a:moveTo>
                  <a:lnTo>
                    <a:pt x="342106" y="0"/>
                  </a:lnTo>
                  <a:lnTo>
                    <a:pt x="1156811" y="380365"/>
                  </a:lnTo>
                  <a:lnTo>
                    <a:pt x="791686" y="525145"/>
                  </a:lnTo>
                  <a:lnTo>
                    <a:pt x="0" y="124619"/>
                  </a:lnTo>
                  <a:close/>
                </a:path>
              </a:pathLst>
            </a:custGeom>
            <a:gradFill flip="none" rotWithShape="1">
              <a:gsLst>
                <a:gs pos="0">
                  <a:schemeClr val="bg2">
                    <a:lumMod val="75000"/>
                  </a:schemeClr>
                </a:gs>
                <a:gs pos="100000">
                  <a:schemeClr val="bg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2" name="Freeform 1072">
              <a:extLst>
                <a:ext uri="{FF2B5EF4-FFF2-40B4-BE49-F238E27FC236}">
                  <a16:creationId xmlns:a16="http://schemas.microsoft.com/office/drawing/2014/main" id="{4D54C813-30C3-474A-A657-69619CAE40A9}"/>
                </a:ext>
              </a:extLst>
            </p:cNvPr>
            <p:cNvSpPr/>
            <p:nvPr/>
          </p:nvSpPr>
          <p:spPr>
            <a:xfrm>
              <a:off x="2471737" y="2681287"/>
              <a:ext cx="1684655" cy="766445"/>
            </a:xfrm>
            <a:custGeom>
              <a:avLst/>
              <a:gdLst>
                <a:gd name="connsiteX0" fmla="*/ 0 w 930275"/>
                <a:gd name="connsiteY0" fmla="*/ 127000 h 835025"/>
                <a:gd name="connsiteX1" fmla="*/ 349250 w 930275"/>
                <a:gd name="connsiteY1" fmla="*/ 0 h 835025"/>
                <a:gd name="connsiteX2" fmla="*/ 930275 w 930275"/>
                <a:gd name="connsiteY2" fmla="*/ 758825 h 835025"/>
                <a:gd name="connsiteX3" fmla="*/ 565150 w 930275"/>
                <a:gd name="connsiteY3" fmla="*/ 835025 h 835025"/>
                <a:gd name="connsiteX4" fmla="*/ 0 w 930275"/>
                <a:gd name="connsiteY4" fmla="*/ 127000 h 835025"/>
                <a:gd name="connsiteX0" fmla="*/ 0 w 1707515"/>
                <a:gd name="connsiteY0" fmla="*/ 127000 h 835025"/>
                <a:gd name="connsiteX1" fmla="*/ 349250 w 1707515"/>
                <a:gd name="connsiteY1" fmla="*/ 0 h 835025"/>
                <a:gd name="connsiteX2" fmla="*/ 1707515 w 1707515"/>
                <a:gd name="connsiteY2" fmla="*/ 621665 h 835025"/>
                <a:gd name="connsiteX3" fmla="*/ 565150 w 1707515"/>
                <a:gd name="connsiteY3" fmla="*/ 835025 h 835025"/>
                <a:gd name="connsiteX4" fmla="*/ 0 w 1707515"/>
                <a:gd name="connsiteY4" fmla="*/ 127000 h 835025"/>
                <a:gd name="connsiteX0" fmla="*/ 0 w 1707515"/>
                <a:gd name="connsiteY0" fmla="*/ 127000 h 766445"/>
                <a:gd name="connsiteX1" fmla="*/ 349250 w 1707515"/>
                <a:gd name="connsiteY1" fmla="*/ 0 h 766445"/>
                <a:gd name="connsiteX2" fmla="*/ 1707515 w 1707515"/>
                <a:gd name="connsiteY2" fmla="*/ 621665 h 766445"/>
                <a:gd name="connsiteX3" fmla="*/ 122809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5857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81430 w 1707515"/>
                <a:gd name="connsiteY3" fmla="*/ 766445 h 766445"/>
                <a:gd name="connsiteX4" fmla="*/ 0 w 1707515"/>
                <a:gd name="connsiteY4" fmla="*/ 127000 h 766445"/>
                <a:gd name="connsiteX0" fmla="*/ 0 w 1684655"/>
                <a:gd name="connsiteY0" fmla="*/ 127000 h 766445"/>
                <a:gd name="connsiteX1" fmla="*/ 349250 w 1684655"/>
                <a:gd name="connsiteY1" fmla="*/ 0 h 766445"/>
                <a:gd name="connsiteX2" fmla="*/ 1684655 w 1684655"/>
                <a:gd name="connsiteY2" fmla="*/ 621665 h 766445"/>
                <a:gd name="connsiteX3" fmla="*/ 1281430 w 1684655"/>
                <a:gd name="connsiteY3" fmla="*/ 766445 h 766445"/>
                <a:gd name="connsiteX4" fmla="*/ 0 w 1684655"/>
                <a:gd name="connsiteY4" fmla="*/ 127000 h 76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4655" h="766445">
                  <a:moveTo>
                    <a:pt x="0" y="127000"/>
                  </a:moveTo>
                  <a:lnTo>
                    <a:pt x="349250" y="0"/>
                  </a:lnTo>
                  <a:lnTo>
                    <a:pt x="1684655" y="621665"/>
                  </a:lnTo>
                  <a:lnTo>
                    <a:pt x="1281430" y="766445"/>
                  </a:lnTo>
                  <a:lnTo>
                    <a:pt x="0" y="127000"/>
                  </a:lnTo>
                  <a:close/>
                </a:path>
              </a:pathLst>
            </a:custGeom>
            <a:gradFill flip="none" rotWithShape="1">
              <a:gsLst>
                <a:gs pos="0">
                  <a:schemeClr val="bg2">
                    <a:lumMod val="75000"/>
                  </a:schemeClr>
                </a:gs>
                <a:gs pos="100000">
                  <a:schemeClr val="bg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3" name="Freeform 81">
              <a:extLst>
                <a:ext uri="{FF2B5EF4-FFF2-40B4-BE49-F238E27FC236}">
                  <a16:creationId xmlns:a16="http://schemas.microsoft.com/office/drawing/2014/main" id="{CBB678F0-AC5B-4413-BA80-70696B432D6F}"/>
                </a:ext>
              </a:extLst>
            </p:cNvPr>
            <p:cNvSpPr/>
            <p:nvPr/>
          </p:nvSpPr>
          <p:spPr>
            <a:xfrm>
              <a:off x="1918172" y="2892459"/>
              <a:ext cx="1410811" cy="652145"/>
            </a:xfrm>
            <a:custGeom>
              <a:avLst/>
              <a:gdLst>
                <a:gd name="connsiteX0" fmla="*/ 0 w 930275"/>
                <a:gd name="connsiteY0" fmla="*/ 127000 h 835025"/>
                <a:gd name="connsiteX1" fmla="*/ 349250 w 930275"/>
                <a:gd name="connsiteY1" fmla="*/ 0 h 835025"/>
                <a:gd name="connsiteX2" fmla="*/ 930275 w 930275"/>
                <a:gd name="connsiteY2" fmla="*/ 758825 h 835025"/>
                <a:gd name="connsiteX3" fmla="*/ 565150 w 930275"/>
                <a:gd name="connsiteY3" fmla="*/ 835025 h 835025"/>
                <a:gd name="connsiteX4" fmla="*/ 0 w 930275"/>
                <a:gd name="connsiteY4" fmla="*/ 127000 h 835025"/>
                <a:gd name="connsiteX0" fmla="*/ 0 w 1707515"/>
                <a:gd name="connsiteY0" fmla="*/ 127000 h 835025"/>
                <a:gd name="connsiteX1" fmla="*/ 349250 w 1707515"/>
                <a:gd name="connsiteY1" fmla="*/ 0 h 835025"/>
                <a:gd name="connsiteX2" fmla="*/ 1707515 w 1707515"/>
                <a:gd name="connsiteY2" fmla="*/ 621665 h 835025"/>
                <a:gd name="connsiteX3" fmla="*/ 565150 w 1707515"/>
                <a:gd name="connsiteY3" fmla="*/ 835025 h 835025"/>
                <a:gd name="connsiteX4" fmla="*/ 0 w 1707515"/>
                <a:gd name="connsiteY4" fmla="*/ 127000 h 835025"/>
                <a:gd name="connsiteX0" fmla="*/ 0 w 1707515"/>
                <a:gd name="connsiteY0" fmla="*/ 127000 h 766445"/>
                <a:gd name="connsiteX1" fmla="*/ 349250 w 1707515"/>
                <a:gd name="connsiteY1" fmla="*/ 0 h 766445"/>
                <a:gd name="connsiteX2" fmla="*/ 1707515 w 1707515"/>
                <a:gd name="connsiteY2" fmla="*/ 621665 h 766445"/>
                <a:gd name="connsiteX3" fmla="*/ 122809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58570 w 1707515"/>
                <a:gd name="connsiteY3" fmla="*/ 766445 h 766445"/>
                <a:gd name="connsiteX4" fmla="*/ 0 w 1707515"/>
                <a:gd name="connsiteY4" fmla="*/ 127000 h 766445"/>
                <a:gd name="connsiteX0" fmla="*/ 0 w 1707515"/>
                <a:gd name="connsiteY0" fmla="*/ 127000 h 766445"/>
                <a:gd name="connsiteX1" fmla="*/ 349250 w 1707515"/>
                <a:gd name="connsiteY1" fmla="*/ 0 h 766445"/>
                <a:gd name="connsiteX2" fmla="*/ 1707515 w 1707515"/>
                <a:gd name="connsiteY2" fmla="*/ 621665 h 766445"/>
                <a:gd name="connsiteX3" fmla="*/ 1281430 w 1707515"/>
                <a:gd name="connsiteY3" fmla="*/ 766445 h 766445"/>
                <a:gd name="connsiteX4" fmla="*/ 0 w 1707515"/>
                <a:gd name="connsiteY4" fmla="*/ 127000 h 766445"/>
                <a:gd name="connsiteX0" fmla="*/ 0 w 1684655"/>
                <a:gd name="connsiteY0" fmla="*/ 127000 h 766445"/>
                <a:gd name="connsiteX1" fmla="*/ 349250 w 1684655"/>
                <a:gd name="connsiteY1" fmla="*/ 0 h 766445"/>
                <a:gd name="connsiteX2" fmla="*/ 1684655 w 1684655"/>
                <a:gd name="connsiteY2" fmla="*/ 621665 h 766445"/>
                <a:gd name="connsiteX3" fmla="*/ 1281430 w 1684655"/>
                <a:gd name="connsiteY3" fmla="*/ 766445 h 766445"/>
                <a:gd name="connsiteX4" fmla="*/ 0 w 1684655"/>
                <a:gd name="connsiteY4" fmla="*/ 127000 h 766445"/>
                <a:gd name="connsiteX0" fmla="*/ 0 w 1677511"/>
                <a:gd name="connsiteY0" fmla="*/ 124619 h 766445"/>
                <a:gd name="connsiteX1" fmla="*/ 342106 w 1677511"/>
                <a:gd name="connsiteY1" fmla="*/ 0 h 766445"/>
                <a:gd name="connsiteX2" fmla="*/ 1677511 w 1677511"/>
                <a:gd name="connsiteY2" fmla="*/ 621665 h 766445"/>
                <a:gd name="connsiteX3" fmla="*/ 1274286 w 1677511"/>
                <a:gd name="connsiteY3" fmla="*/ 766445 h 766445"/>
                <a:gd name="connsiteX4" fmla="*/ 0 w 1677511"/>
                <a:gd name="connsiteY4" fmla="*/ 124619 h 766445"/>
                <a:gd name="connsiteX0" fmla="*/ 0 w 1677511"/>
                <a:gd name="connsiteY0" fmla="*/ 124619 h 652145"/>
                <a:gd name="connsiteX1" fmla="*/ 342106 w 1677511"/>
                <a:gd name="connsiteY1" fmla="*/ 0 h 652145"/>
                <a:gd name="connsiteX2" fmla="*/ 1677511 w 1677511"/>
                <a:gd name="connsiteY2" fmla="*/ 621665 h 652145"/>
                <a:gd name="connsiteX3" fmla="*/ 1045686 w 1677511"/>
                <a:gd name="connsiteY3" fmla="*/ 652145 h 652145"/>
                <a:gd name="connsiteX4" fmla="*/ 0 w 1677511"/>
                <a:gd name="connsiteY4" fmla="*/ 124619 h 652145"/>
                <a:gd name="connsiteX0" fmla="*/ 0 w 1410811"/>
                <a:gd name="connsiteY0" fmla="*/ 124619 h 652145"/>
                <a:gd name="connsiteX1" fmla="*/ 342106 w 1410811"/>
                <a:gd name="connsiteY1" fmla="*/ 0 h 652145"/>
                <a:gd name="connsiteX2" fmla="*/ 1410811 w 1410811"/>
                <a:gd name="connsiteY2" fmla="*/ 507365 h 652145"/>
                <a:gd name="connsiteX3" fmla="*/ 1045686 w 1410811"/>
                <a:gd name="connsiteY3" fmla="*/ 652145 h 652145"/>
                <a:gd name="connsiteX4" fmla="*/ 0 w 1410811"/>
                <a:gd name="connsiteY4" fmla="*/ 124619 h 652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811" h="652145">
                  <a:moveTo>
                    <a:pt x="0" y="124619"/>
                  </a:moveTo>
                  <a:lnTo>
                    <a:pt x="342106" y="0"/>
                  </a:lnTo>
                  <a:lnTo>
                    <a:pt x="1410811" y="507365"/>
                  </a:lnTo>
                  <a:lnTo>
                    <a:pt x="1045686" y="652145"/>
                  </a:lnTo>
                  <a:lnTo>
                    <a:pt x="0" y="124619"/>
                  </a:lnTo>
                  <a:close/>
                </a:path>
              </a:pathLst>
            </a:custGeom>
            <a:gradFill flip="none" rotWithShape="1">
              <a:gsLst>
                <a:gs pos="0">
                  <a:schemeClr val="bg2">
                    <a:lumMod val="75000"/>
                  </a:schemeClr>
                </a:gs>
                <a:gs pos="100000">
                  <a:schemeClr val="bg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13" name="Group 112">
              <a:extLst>
                <a:ext uri="{FF2B5EF4-FFF2-40B4-BE49-F238E27FC236}">
                  <a16:creationId xmlns:a16="http://schemas.microsoft.com/office/drawing/2014/main" id="{EFD1C5EA-805E-4674-8A02-3DAD88076A67}"/>
                </a:ext>
              </a:extLst>
            </p:cNvPr>
            <p:cNvGrpSpPr/>
            <p:nvPr/>
          </p:nvGrpSpPr>
          <p:grpSpPr>
            <a:xfrm>
              <a:off x="398464" y="1154113"/>
              <a:ext cx="2420936" cy="2269682"/>
              <a:chOff x="3902076" y="1370013"/>
              <a:chExt cx="4395788" cy="4121151"/>
            </a:xfrm>
          </p:grpSpPr>
          <p:sp>
            <p:nvSpPr>
              <p:cNvPr id="114" name="Freeform 47">
                <a:extLst>
                  <a:ext uri="{FF2B5EF4-FFF2-40B4-BE49-F238E27FC236}">
                    <a16:creationId xmlns:a16="http://schemas.microsoft.com/office/drawing/2014/main" id="{D4C36524-D66D-4DFF-87F9-6211323D4D20}"/>
                  </a:ext>
                </a:extLst>
              </p:cNvPr>
              <p:cNvSpPr>
                <a:spLocks/>
              </p:cNvSpPr>
              <p:nvPr/>
            </p:nvSpPr>
            <p:spPr bwMode="auto">
              <a:xfrm>
                <a:off x="7043738" y="2185988"/>
                <a:ext cx="1254125" cy="436563"/>
              </a:xfrm>
              <a:custGeom>
                <a:avLst/>
                <a:gdLst>
                  <a:gd name="T0" fmla="*/ 395 w 790"/>
                  <a:gd name="T1" fmla="*/ 275 h 275"/>
                  <a:gd name="T2" fmla="*/ 790 w 790"/>
                  <a:gd name="T3" fmla="*/ 137 h 275"/>
                  <a:gd name="T4" fmla="*/ 395 w 790"/>
                  <a:gd name="T5" fmla="*/ 0 h 275"/>
                  <a:gd name="T6" fmla="*/ 0 w 790"/>
                  <a:gd name="T7" fmla="*/ 137 h 275"/>
                  <a:gd name="T8" fmla="*/ 395 w 790"/>
                  <a:gd name="T9" fmla="*/ 275 h 275"/>
                </a:gdLst>
                <a:ahLst/>
                <a:cxnLst>
                  <a:cxn ang="0">
                    <a:pos x="T0" y="T1"/>
                  </a:cxn>
                  <a:cxn ang="0">
                    <a:pos x="T2" y="T3"/>
                  </a:cxn>
                  <a:cxn ang="0">
                    <a:pos x="T4" y="T5"/>
                  </a:cxn>
                  <a:cxn ang="0">
                    <a:pos x="T6" y="T7"/>
                  </a:cxn>
                  <a:cxn ang="0">
                    <a:pos x="T8" y="T9"/>
                  </a:cxn>
                </a:cxnLst>
                <a:rect l="0" t="0" r="r" b="b"/>
                <a:pathLst>
                  <a:path w="790" h="275">
                    <a:moveTo>
                      <a:pt x="395" y="275"/>
                    </a:moveTo>
                    <a:lnTo>
                      <a:pt x="790" y="137"/>
                    </a:lnTo>
                    <a:lnTo>
                      <a:pt x="395" y="0"/>
                    </a:lnTo>
                    <a:lnTo>
                      <a:pt x="0" y="137"/>
                    </a:lnTo>
                    <a:lnTo>
                      <a:pt x="395"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48">
                <a:extLst>
                  <a:ext uri="{FF2B5EF4-FFF2-40B4-BE49-F238E27FC236}">
                    <a16:creationId xmlns:a16="http://schemas.microsoft.com/office/drawing/2014/main" id="{4E6ABA1A-757F-4993-998E-E4FC87703A10}"/>
                  </a:ext>
                </a:extLst>
              </p:cNvPr>
              <p:cNvSpPr>
                <a:spLocks/>
              </p:cNvSpPr>
              <p:nvPr/>
            </p:nvSpPr>
            <p:spPr bwMode="auto">
              <a:xfrm>
                <a:off x="7043738" y="2185988"/>
                <a:ext cx="1254125" cy="436563"/>
              </a:xfrm>
              <a:custGeom>
                <a:avLst/>
                <a:gdLst>
                  <a:gd name="T0" fmla="*/ 395 w 790"/>
                  <a:gd name="T1" fmla="*/ 275 h 275"/>
                  <a:gd name="T2" fmla="*/ 790 w 790"/>
                  <a:gd name="T3" fmla="*/ 137 h 275"/>
                  <a:gd name="T4" fmla="*/ 395 w 790"/>
                  <a:gd name="T5" fmla="*/ 0 h 275"/>
                  <a:gd name="T6" fmla="*/ 0 w 790"/>
                  <a:gd name="T7" fmla="*/ 137 h 275"/>
                  <a:gd name="T8" fmla="*/ 395 w 790"/>
                  <a:gd name="T9" fmla="*/ 275 h 275"/>
                </a:gdLst>
                <a:ahLst/>
                <a:cxnLst>
                  <a:cxn ang="0">
                    <a:pos x="T0" y="T1"/>
                  </a:cxn>
                  <a:cxn ang="0">
                    <a:pos x="T2" y="T3"/>
                  </a:cxn>
                  <a:cxn ang="0">
                    <a:pos x="T4" y="T5"/>
                  </a:cxn>
                  <a:cxn ang="0">
                    <a:pos x="T6" y="T7"/>
                  </a:cxn>
                  <a:cxn ang="0">
                    <a:pos x="T8" y="T9"/>
                  </a:cxn>
                </a:cxnLst>
                <a:rect l="0" t="0" r="r" b="b"/>
                <a:pathLst>
                  <a:path w="790" h="275">
                    <a:moveTo>
                      <a:pt x="395" y="275"/>
                    </a:moveTo>
                    <a:lnTo>
                      <a:pt x="790" y="137"/>
                    </a:lnTo>
                    <a:lnTo>
                      <a:pt x="395" y="0"/>
                    </a:lnTo>
                    <a:lnTo>
                      <a:pt x="0" y="137"/>
                    </a:lnTo>
                    <a:lnTo>
                      <a:pt x="395"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9">
                <a:extLst>
                  <a:ext uri="{FF2B5EF4-FFF2-40B4-BE49-F238E27FC236}">
                    <a16:creationId xmlns:a16="http://schemas.microsoft.com/office/drawing/2014/main" id="{C3482B92-3248-4450-B1BF-2EE8F27735A4}"/>
                  </a:ext>
                </a:extLst>
              </p:cNvPr>
              <p:cNvSpPr>
                <a:spLocks/>
              </p:cNvSpPr>
              <p:nvPr/>
            </p:nvSpPr>
            <p:spPr bwMode="auto">
              <a:xfrm>
                <a:off x="7667626" y="2403476"/>
                <a:ext cx="630238" cy="1974850"/>
              </a:xfrm>
              <a:custGeom>
                <a:avLst/>
                <a:gdLst>
                  <a:gd name="T0" fmla="*/ 0 w 397"/>
                  <a:gd name="T1" fmla="*/ 138 h 1244"/>
                  <a:gd name="T2" fmla="*/ 2 w 397"/>
                  <a:gd name="T3" fmla="*/ 138 h 1244"/>
                  <a:gd name="T4" fmla="*/ 2 w 397"/>
                  <a:gd name="T5" fmla="*/ 1244 h 1244"/>
                  <a:gd name="T6" fmla="*/ 397 w 397"/>
                  <a:gd name="T7" fmla="*/ 1109 h 1244"/>
                  <a:gd name="T8" fmla="*/ 397 w 397"/>
                  <a:gd name="T9" fmla="*/ 834 h 1244"/>
                  <a:gd name="T10" fmla="*/ 397 w 397"/>
                  <a:gd name="T11" fmla="*/ 0 h 1244"/>
                  <a:gd name="T12" fmla="*/ 0 w 397"/>
                  <a:gd name="T13" fmla="*/ 138 h 1244"/>
                  <a:gd name="T14" fmla="*/ 0 w 397"/>
                  <a:gd name="T15" fmla="*/ 138 h 1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1244">
                    <a:moveTo>
                      <a:pt x="0" y="138"/>
                    </a:moveTo>
                    <a:lnTo>
                      <a:pt x="2" y="138"/>
                    </a:lnTo>
                    <a:lnTo>
                      <a:pt x="2" y="1244"/>
                    </a:lnTo>
                    <a:lnTo>
                      <a:pt x="397" y="1109"/>
                    </a:lnTo>
                    <a:lnTo>
                      <a:pt x="397" y="834"/>
                    </a:lnTo>
                    <a:lnTo>
                      <a:pt x="397" y="0"/>
                    </a:lnTo>
                    <a:lnTo>
                      <a:pt x="0" y="138"/>
                    </a:lnTo>
                    <a:lnTo>
                      <a:pt x="0" y="138"/>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50">
                <a:extLst>
                  <a:ext uri="{FF2B5EF4-FFF2-40B4-BE49-F238E27FC236}">
                    <a16:creationId xmlns:a16="http://schemas.microsoft.com/office/drawing/2014/main" id="{FBC447C3-4E97-467B-840C-50EB37BC0E35}"/>
                  </a:ext>
                </a:extLst>
              </p:cNvPr>
              <p:cNvSpPr>
                <a:spLocks/>
              </p:cNvSpPr>
              <p:nvPr/>
            </p:nvSpPr>
            <p:spPr bwMode="auto">
              <a:xfrm>
                <a:off x="6040438" y="2971801"/>
                <a:ext cx="1254125" cy="433388"/>
              </a:xfrm>
              <a:custGeom>
                <a:avLst/>
                <a:gdLst>
                  <a:gd name="T0" fmla="*/ 395 w 790"/>
                  <a:gd name="T1" fmla="*/ 273 h 273"/>
                  <a:gd name="T2" fmla="*/ 790 w 790"/>
                  <a:gd name="T3" fmla="*/ 135 h 273"/>
                  <a:gd name="T4" fmla="*/ 395 w 790"/>
                  <a:gd name="T5" fmla="*/ 0 h 273"/>
                  <a:gd name="T6" fmla="*/ 0 w 790"/>
                  <a:gd name="T7" fmla="*/ 135 h 273"/>
                  <a:gd name="T8" fmla="*/ 393 w 790"/>
                  <a:gd name="T9" fmla="*/ 273 h 273"/>
                  <a:gd name="T10" fmla="*/ 395 w 790"/>
                  <a:gd name="T11" fmla="*/ 273 h 273"/>
                </a:gdLst>
                <a:ahLst/>
                <a:cxnLst>
                  <a:cxn ang="0">
                    <a:pos x="T0" y="T1"/>
                  </a:cxn>
                  <a:cxn ang="0">
                    <a:pos x="T2" y="T3"/>
                  </a:cxn>
                  <a:cxn ang="0">
                    <a:pos x="T4" y="T5"/>
                  </a:cxn>
                  <a:cxn ang="0">
                    <a:pos x="T6" y="T7"/>
                  </a:cxn>
                  <a:cxn ang="0">
                    <a:pos x="T8" y="T9"/>
                  </a:cxn>
                  <a:cxn ang="0">
                    <a:pos x="T10" y="T11"/>
                  </a:cxn>
                </a:cxnLst>
                <a:rect l="0" t="0" r="r" b="b"/>
                <a:pathLst>
                  <a:path w="790" h="273">
                    <a:moveTo>
                      <a:pt x="395" y="273"/>
                    </a:moveTo>
                    <a:lnTo>
                      <a:pt x="790" y="135"/>
                    </a:lnTo>
                    <a:lnTo>
                      <a:pt x="395" y="0"/>
                    </a:lnTo>
                    <a:lnTo>
                      <a:pt x="0" y="135"/>
                    </a:lnTo>
                    <a:lnTo>
                      <a:pt x="393" y="273"/>
                    </a:lnTo>
                    <a:lnTo>
                      <a:pt x="395"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51">
                <a:extLst>
                  <a:ext uri="{FF2B5EF4-FFF2-40B4-BE49-F238E27FC236}">
                    <a16:creationId xmlns:a16="http://schemas.microsoft.com/office/drawing/2014/main" id="{871882D2-0BA5-4141-8F16-81670756046F}"/>
                  </a:ext>
                </a:extLst>
              </p:cNvPr>
              <p:cNvSpPr>
                <a:spLocks/>
              </p:cNvSpPr>
              <p:nvPr/>
            </p:nvSpPr>
            <p:spPr bwMode="auto">
              <a:xfrm>
                <a:off x="6040438" y="2971801"/>
                <a:ext cx="1254125" cy="433388"/>
              </a:xfrm>
              <a:custGeom>
                <a:avLst/>
                <a:gdLst>
                  <a:gd name="T0" fmla="*/ 395 w 790"/>
                  <a:gd name="T1" fmla="*/ 273 h 273"/>
                  <a:gd name="T2" fmla="*/ 790 w 790"/>
                  <a:gd name="T3" fmla="*/ 135 h 273"/>
                  <a:gd name="T4" fmla="*/ 395 w 790"/>
                  <a:gd name="T5" fmla="*/ 0 h 273"/>
                  <a:gd name="T6" fmla="*/ 0 w 790"/>
                  <a:gd name="T7" fmla="*/ 135 h 273"/>
                  <a:gd name="T8" fmla="*/ 393 w 790"/>
                  <a:gd name="T9" fmla="*/ 273 h 273"/>
                </a:gdLst>
                <a:ahLst/>
                <a:cxnLst>
                  <a:cxn ang="0">
                    <a:pos x="T0" y="T1"/>
                  </a:cxn>
                  <a:cxn ang="0">
                    <a:pos x="T2" y="T3"/>
                  </a:cxn>
                  <a:cxn ang="0">
                    <a:pos x="T4" y="T5"/>
                  </a:cxn>
                  <a:cxn ang="0">
                    <a:pos x="T6" y="T7"/>
                  </a:cxn>
                  <a:cxn ang="0">
                    <a:pos x="T8" y="T9"/>
                  </a:cxn>
                </a:cxnLst>
                <a:rect l="0" t="0" r="r" b="b"/>
                <a:pathLst>
                  <a:path w="790" h="273">
                    <a:moveTo>
                      <a:pt x="395" y="273"/>
                    </a:moveTo>
                    <a:lnTo>
                      <a:pt x="790" y="135"/>
                    </a:lnTo>
                    <a:lnTo>
                      <a:pt x="395" y="0"/>
                    </a:lnTo>
                    <a:lnTo>
                      <a:pt x="0" y="135"/>
                    </a:lnTo>
                    <a:lnTo>
                      <a:pt x="393" y="2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2">
                <a:extLst>
                  <a:ext uri="{FF2B5EF4-FFF2-40B4-BE49-F238E27FC236}">
                    <a16:creationId xmlns:a16="http://schemas.microsoft.com/office/drawing/2014/main" id="{4BB66D76-678C-439A-BD6B-B3FD7D62764E}"/>
                  </a:ext>
                </a:extLst>
              </p:cNvPr>
              <p:cNvSpPr>
                <a:spLocks/>
              </p:cNvSpPr>
              <p:nvPr/>
            </p:nvSpPr>
            <p:spPr bwMode="auto">
              <a:xfrm>
                <a:off x="6659563" y="3186113"/>
                <a:ext cx="631825" cy="1571625"/>
              </a:xfrm>
              <a:custGeom>
                <a:avLst/>
                <a:gdLst>
                  <a:gd name="T0" fmla="*/ 0 w 398"/>
                  <a:gd name="T1" fmla="*/ 138 h 990"/>
                  <a:gd name="T2" fmla="*/ 3 w 398"/>
                  <a:gd name="T3" fmla="*/ 138 h 990"/>
                  <a:gd name="T4" fmla="*/ 3 w 398"/>
                  <a:gd name="T5" fmla="*/ 990 h 990"/>
                  <a:gd name="T6" fmla="*/ 398 w 398"/>
                  <a:gd name="T7" fmla="*/ 853 h 990"/>
                  <a:gd name="T8" fmla="*/ 398 w 398"/>
                  <a:gd name="T9" fmla="*/ 578 h 990"/>
                  <a:gd name="T10" fmla="*/ 398 w 398"/>
                  <a:gd name="T11" fmla="*/ 0 h 990"/>
                  <a:gd name="T12" fmla="*/ 0 w 398"/>
                  <a:gd name="T13" fmla="*/ 138 h 990"/>
                  <a:gd name="T14" fmla="*/ 0 w 398"/>
                  <a:gd name="T15" fmla="*/ 138 h 9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8" h="990">
                    <a:moveTo>
                      <a:pt x="0" y="138"/>
                    </a:moveTo>
                    <a:lnTo>
                      <a:pt x="3" y="138"/>
                    </a:lnTo>
                    <a:lnTo>
                      <a:pt x="3" y="990"/>
                    </a:lnTo>
                    <a:lnTo>
                      <a:pt x="398" y="853"/>
                    </a:lnTo>
                    <a:lnTo>
                      <a:pt x="398" y="578"/>
                    </a:lnTo>
                    <a:lnTo>
                      <a:pt x="398" y="0"/>
                    </a:lnTo>
                    <a:lnTo>
                      <a:pt x="0" y="138"/>
                    </a:lnTo>
                    <a:lnTo>
                      <a:pt x="0" y="138"/>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53">
                <a:extLst>
                  <a:ext uri="{FF2B5EF4-FFF2-40B4-BE49-F238E27FC236}">
                    <a16:creationId xmlns:a16="http://schemas.microsoft.com/office/drawing/2014/main" id="{AFCF1FDD-7024-4E67-9FC0-BD4990A6F50B}"/>
                  </a:ext>
                </a:extLst>
              </p:cNvPr>
              <p:cNvSpPr>
                <a:spLocks/>
              </p:cNvSpPr>
              <p:nvPr/>
            </p:nvSpPr>
            <p:spPr bwMode="auto">
              <a:xfrm>
                <a:off x="4999038" y="3738563"/>
                <a:ext cx="1255713" cy="433388"/>
              </a:xfrm>
              <a:custGeom>
                <a:avLst/>
                <a:gdLst>
                  <a:gd name="T0" fmla="*/ 395 w 791"/>
                  <a:gd name="T1" fmla="*/ 273 h 273"/>
                  <a:gd name="T2" fmla="*/ 791 w 791"/>
                  <a:gd name="T3" fmla="*/ 138 h 273"/>
                  <a:gd name="T4" fmla="*/ 395 w 791"/>
                  <a:gd name="T5" fmla="*/ 0 h 273"/>
                  <a:gd name="T6" fmla="*/ 0 w 791"/>
                  <a:gd name="T7" fmla="*/ 138 h 273"/>
                  <a:gd name="T8" fmla="*/ 395 w 791"/>
                  <a:gd name="T9" fmla="*/ 273 h 273"/>
                </a:gdLst>
                <a:ahLst/>
                <a:cxnLst>
                  <a:cxn ang="0">
                    <a:pos x="T0" y="T1"/>
                  </a:cxn>
                  <a:cxn ang="0">
                    <a:pos x="T2" y="T3"/>
                  </a:cxn>
                  <a:cxn ang="0">
                    <a:pos x="T4" y="T5"/>
                  </a:cxn>
                  <a:cxn ang="0">
                    <a:pos x="T6" y="T7"/>
                  </a:cxn>
                  <a:cxn ang="0">
                    <a:pos x="T8" y="T9"/>
                  </a:cxn>
                </a:cxnLst>
                <a:rect l="0" t="0" r="r" b="b"/>
                <a:pathLst>
                  <a:path w="791" h="273">
                    <a:moveTo>
                      <a:pt x="395" y="273"/>
                    </a:moveTo>
                    <a:lnTo>
                      <a:pt x="791" y="138"/>
                    </a:lnTo>
                    <a:lnTo>
                      <a:pt x="395" y="0"/>
                    </a:lnTo>
                    <a:lnTo>
                      <a:pt x="0" y="138"/>
                    </a:lnTo>
                    <a:lnTo>
                      <a:pt x="395"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54">
                <a:extLst>
                  <a:ext uri="{FF2B5EF4-FFF2-40B4-BE49-F238E27FC236}">
                    <a16:creationId xmlns:a16="http://schemas.microsoft.com/office/drawing/2014/main" id="{C0821E00-09B1-45D0-8B3A-49A5E1EAC17C}"/>
                  </a:ext>
                </a:extLst>
              </p:cNvPr>
              <p:cNvSpPr>
                <a:spLocks/>
              </p:cNvSpPr>
              <p:nvPr/>
            </p:nvSpPr>
            <p:spPr bwMode="auto">
              <a:xfrm>
                <a:off x="4999038" y="3738563"/>
                <a:ext cx="1255713" cy="433388"/>
              </a:xfrm>
              <a:custGeom>
                <a:avLst/>
                <a:gdLst>
                  <a:gd name="T0" fmla="*/ 395 w 791"/>
                  <a:gd name="T1" fmla="*/ 273 h 273"/>
                  <a:gd name="T2" fmla="*/ 791 w 791"/>
                  <a:gd name="T3" fmla="*/ 138 h 273"/>
                  <a:gd name="T4" fmla="*/ 395 w 791"/>
                  <a:gd name="T5" fmla="*/ 0 h 273"/>
                  <a:gd name="T6" fmla="*/ 0 w 791"/>
                  <a:gd name="T7" fmla="*/ 138 h 273"/>
                  <a:gd name="T8" fmla="*/ 395 w 791"/>
                  <a:gd name="T9" fmla="*/ 273 h 273"/>
                </a:gdLst>
                <a:ahLst/>
                <a:cxnLst>
                  <a:cxn ang="0">
                    <a:pos x="T0" y="T1"/>
                  </a:cxn>
                  <a:cxn ang="0">
                    <a:pos x="T2" y="T3"/>
                  </a:cxn>
                  <a:cxn ang="0">
                    <a:pos x="T4" y="T5"/>
                  </a:cxn>
                  <a:cxn ang="0">
                    <a:pos x="T6" y="T7"/>
                  </a:cxn>
                  <a:cxn ang="0">
                    <a:pos x="T8" y="T9"/>
                  </a:cxn>
                </a:cxnLst>
                <a:rect l="0" t="0" r="r" b="b"/>
                <a:pathLst>
                  <a:path w="791" h="273">
                    <a:moveTo>
                      <a:pt x="395" y="273"/>
                    </a:moveTo>
                    <a:lnTo>
                      <a:pt x="791" y="138"/>
                    </a:lnTo>
                    <a:lnTo>
                      <a:pt x="395" y="0"/>
                    </a:lnTo>
                    <a:lnTo>
                      <a:pt x="0" y="138"/>
                    </a:lnTo>
                    <a:lnTo>
                      <a:pt x="395" y="2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5">
                <a:extLst>
                  <a:ext uri="{FF2B5EF4-FFF2-40B4-BE49-F238E27FC236}">
                    <a16:creationId xmlns:a16="http://schemas.microsoft.com/office/drawing/2014/main" id="{28CAF750-56CC-46C6-8141-11C805CC5DD0}"/>
                  </a:ext>
                </a:extLst>
              </p:cNvPr>
              <p:cNvSpPr>
                <a:spLocks/>
              </p:cNvSpPr>
              <p:nvPr/>
            </p:nvSpPr>
            <p:spPr bwMode="auto">
              <a:xfrm>
                <a:off x="5622926" y="3957638"/>
                <a:ext cx="631825" cy="1157288"/>
              </a:xfrm>
              <a:custGeom>
                <a:avLst/>
                <a:gdLst>
                  <a:gd name="T0" fmla="*/ 0 w 398"/>
                  <a:gd name="T1" fmla="*/ 135 h 729"/>
                  <a:gd name="T2" fmla="*/ 2 w 398"/>
                  <a:gd name="T3" fmla="*/ 135 h 729"/>
                  <a:gd name="T4" fmla="*/ 2 w 398"/>
                  <a:gd name="T5" fmla="*/ 729 h 729"/>
                  <a:gd name="T6" fmla="*/ 398 w 398"/>
                  <a:gd name="T7" fmla="*/ 592 h 729"/>
                  <a:gd name="T8" fmla="*/ 398 w 398"/>
                  <a:gd name="T9" fmla="*/ 320 h 729"/>
                  <a:gd name="T10" fmla="*/ 398 w 398"/>
                  <a:gd name="T11" fmla="*/ 0 h 729"/>
                  <a:gd name="T12" fmla="*/ 0 w 398"/>
                  <a:gd name="T13" fmla="*/ 135 h 729"/>
                  <a:gd name="T14" fmla="*/ 0 w 398"/>
                  <a:gd name="T15" fmla="*/ 135 h 7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8" h="729">
                    <a:moveTo>
                      <a:pt x="0" y="135"/>
                    </a:moveTo>
                    <a:lnTo>
                      <a:pt x="2" y="135"/>
                    </a:lnTo>
                    <a:lnTo>
                      <a:pt x="2" y="729"/>
                    </a:lnTo>
                    <a:lnTo>
                      <a:pt x="398" y="592"/>
                    </a:lnTo>
                    <a:lnTo>
                      <a:pt x="398" y="320"/>
                    </a:lnTo>
                    <a:lnTo>
                      <a:pt x="398" y="0"/>
                    </a:lnTo>
                    <a:lnTo>
                      <a:pt x="0" y="135"/>
                    </a:lnTo>
                    <a:lnTo>
                      <a:pt x="0" y="135"/>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56">
                <a:extLst>
                  <a:ext uri="{FF2B5EF4-FFF2-40B4-BE49-F238E27FC236}">
                    <a16:creationId xmlns:a16="http://schemas.microsoft.com/office/drawing/2014/main" id="{DF248900-7102-428E-8F8F-352CCC261F40}"/>
                  </a:ext>
                </a:extLst>
              </p:cNvPr>
              <p:cNvSpPr>
                <a:spLocks/>
              </p:cNvSpPr>
              <p:nvPr/>
            </p:nvSpPr>
            <p:spPr bwMode="auto">
              <a:xfrm>
                <a:off x="3902076" y="4562476"/>
                <a:ext cx="1254125" cy="436563"/>
              </a:xfrm>
              <a:custGeom>
                <a:avLst/>
                <a:gdLst>
                  <a:gd name="T0" fmla="*/ 395 w 790"/>
                  <a:gd name="T1" fmla="*/ 275 h 275"/>
                  <a:gd name="T2" fmla="*/ 790 w 790"/>
                  <a:gd name="T3" fmla="*/ 138 h 275"/>
                  <a:gd name="T4" fmla="*/ 395 w 790"/>
                  <a:gd name="T5" fmla="*/ 0 h 275"/>
                  <a:gd name="T6" fmla="*/ 0 w 790"/>
                  <a:gd name="T7" fmla="*/ 138 h 275"/>
                  <a:gd name="T8" fmla="*/ 395 w 790"/>
                  <a:gd name="T9" fmla="*/ 275 h 275"/>
                </a:gdLst>
                <a:ahLst/>
                <a:cxnLst>
                  <a:cxn ang="0">
                    <a:pos x="T0" y="T1"/>
                  </a:cxn>
                  <a:cxn ang="0">
                    <a:pos x="T2" y="T3"/>
                  </a:cxn>
                  <a:cxn ang="0">
                    <a:pos x="T4" y="T5"/>
                  </a:cxn>
                  <a:cxn ang="0">
                    <a:pos x="T6" y="T7"/>
                  </a:cxn>
                  <a:cxn ang="0">
                    <a:pos x="T8" y="T9"/>
                  </a:cxn>
                </a:cxnLst>
                <a:rect l="0" t="0" r="r" b="b"/>
                <a:pathLst>
                  <a:path w="790" h="275">
                    <a:moveTo>
                      <a:pt x="395" y="275"/>
                    </a:moveTo>
                    <a:lnTo>
                      <a:pt x="790" y="138"/>
                    </a:lnTo>
                    <a:lnTo>
                      <a:pt x="395" y="0"/>
                    </a:lnTo>
                    <a:lnTo>
                      <a:pt x="0" y="138"/>
                    </a:lnTo>
                    <a:lnTo>
                      <a:pt x="395" y="2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57">
                <a:extLst>
                  <a:ext uri="{FF2B5EF4-FFF2-40B4-BE49-F238E27FC236}">
                    <a16:creationId xmlns:a16="http://schemas.microsoft.com/office/drawing/2014/main" id="{8D6229A6-942E-4EFE-AFF5-85283257DB13}"/>
                  </a:ext>
                </a:extLst>
              </p:cNvPr>
              <p:cNvSpPr>
                <a:spLocks/>
              </p:cNvSpPr>
              <p:nvPr/>
            </p:nvSpPr>
            <p:spPr bwMode="auto">
              <a:xfrm>
                <a:off x="3902076" y="4562476"/>
                <a:ext cx="1254125" cy="436563"/>
              </a:xfrm>
              <a:custGeom>
                <a:avLst/>
                <a:gdLst>
                  <a:gd name="T0" fmla="*/ 395 w 790"/>
                  <a:gd name="T1" fmla="*/ 275 h 275"/>
                  <a:gd name="T2" fmla="*/ 790 w 790"/>
                  <a:gd name="T3" fmla="*/ 138 h 275"/>
                  <a:gd name="T4" fmla="*/ 395 w 790"/>
                  <a:gd name="T5" fmla="*/ 0 h 275"/>
                  <a:gd name="T6" fmla="*/ 0 w 790"/>
                  <a:gd name="T7" fmla="*/ 138 h 275"/>
                  <a:gd name="T8" fmla="*/ 395 w 790"/>
                  <a:gd name="T9" fmla="*/ 275 h 275"/>
                </a:gdLst>
                <a:ahLst/>
                <a:cxnLst>
                  <a:cxn ang="0">
                    <a:pos x="T0" y="T1"/>
                  </a:cxn>
                  <a:cxn ang="0">
                    <a:pos x="T2" y="T3"/>
                  </a:cxn>
                  <a:cxn ang="0">
                    <a:pos x="T4" y="T5"/>
                  </a:cxn>
                  <a:cxn ang="0">
                    <a:pos x="T6" y="T7"/>
                  </a:cxn>
                  <a:cxn ang="0">
                    <a:pos x="T8" y="T9"/>
                  </a:cxn>
                </a:cxnLst>
                <a:rect l="0" t="0" r="r" b="b"/>
                <a:pathLst>
                  <a:path w="790" h="275">
                    <a:moveTo>
                      <a:pt x="395" y="275"/>
                    </a:moveTo>
                    <a:lnTo>
                      <a:pt x="790" y="138"/>
                    </a:lnTo>
                    <a:lnTo>
                      <a:pt x="395" y="0"/>
                    </a:lnTo>
                    <a:lnTo>
                      <a:pt x="0" y="138"/>
                    </a:lnTo>
                    <a:lnTo>
                      <a:pt x="395"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8">
                <a:extLst>
                  <a:ext uri="{FF2B5EF4-FFF2-40B4-BE49-F238E27FC236}">
                    <a16:creationId xmlns:a16="http://schemas.microsoft.com/office/drawing/2014/main" id="{82CA3695-A087-4C7A-B4D0-3C43F9790785}"/>
                  </a:ext>
                </a:extLst>
              </p:cNvPr>
              <p:cNvSpPr>
                <a:spLocks/>
              </p:cNvSpPr>
              <p:nvPr/>
            </p:nvSpPr>
            <p:spPr bwMode="auto">
              <a:xfrm>
                <a:off x="4525963" y="4781551"/>
                <a:ext cx="630238" cy="709613"/>
              </a:xfrm>
              <a:custGeom>
                <a:avLst/>
                <a:gdLst>
                  <a:gd name="T0" fmla="*/ 0 w 397"/>
                  <a:gd name="T1" fmla="*/ 137 h 447"/>
                  <a:gd name="T2" fmla="*/ 2 w 397"/>
                  <a:gd name="T3" fmla="*/ 137 h 447"/>
                  <a:gd name="T4" fmla="*/ 2 w 397"/>
                  <a:gd name="T5" fmla="*/ 447 h 447"/>
                  <a:gd name="T6" fmla="*/ 397 w 397"/>
                  <a:gd name="T7" fmla="*/ 310 h 447"/>
                  <a:gd name="T8" fmla="*/ 397 w 397"/>
                  <a:gd name="T9" fmla="*/ 35 h 447"/>
                  <a:gd name="T10" fmla="*/ 397 w 397"/>
                  <a:gd name="T11" fmla="*/ 0 h 447"/>
                  <a:gd name="T12" fmla="*/ 0 w 397"/>
                  <a:gd name="T13" fmla="*/ 137 h 447"/>
                  <a:gd name="T14" fmla="*/ 0 w 397"/>
                  <a:gd name="T15" fmla="*/ 137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447">
                    <a:moveTo>
                      <a:pt x="0" y="137"/>
                    </a:moveTo>
                    <a:lnTo>
                      <a:pt x="2" y="137"/>
                    </a:lnTo>
                    <a:lnTo>
                      <a:pt x="2" y="447"/>
                    </a:lnTo>
                    <a:lnTo>
                      <a:pt x="397" y="310"/>
                    </a:lnTo>
                    <a:lnTo>
                      <a:pt x="397" y="35"/>
                    </a:lnTo>
                    <a:lnTo>
                      <a:pt x="397" y="0"/>
                    </a:lnTo>
                    <a:lnTo>
                      <a:pt x="0" y="137"/>
                    </a:lnTo>
                    <a:lnTo>
                      <a:pt x="0" y="137"/>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59">
                <a:extLst>
                  <a:ext uri="{FF2B5EF4-FFF2-40B4-BE49-F238E27FC236}">
                    <a16:creationId xmlns:a16="http://schemas.microsoft.com/office/drawing/2014/main" id="{B7BB5993-5738-49DB-9CE8-5A0F0916A9BC}"/>
                  </a:ext>
                </a:extLst>
              </p:cNvPr>
              <p:cNvSpPr>
                <a:spLocks/>
              </p:cNvSpPr>
              <p:nvPr/>
            </p:nvSpPr>
            <p:spPr bwMode="auto">
              <a:xfrm>
                <a:off x="7659688" y="1370013"/>
                <a:ext cx="11113" cy="1068388"/>
              </a:xfrm>
              <a:custGeom>
                <a:avLst/>
                <a:gdLst>
                  <a:gd name="T0" fmla="*/ 0 w 7"/>
                  <a:gd name="T1" fmla="*/ 673 h 673"/>
                  <a:gd name="T2" fmla="*/ 0 w 7"/>
                  <a:gd name="T3" fmla="*/ 0 h 673"/>
                  <a:gd name="T4" fmla="*/ 7 w 7"/>
                  <a:gd name="T5" fmla="*/ 0 h 673"/>
                  <a:gd name="T6" fmla="*/ 7 w 7"/>
                  <a:gd name="T7" fmla="*/ 673 h 673"/>
                  <a:gd name="T8" fmla="*/ 0 w 7"/>
                  <a:gd name="T9" fmla="*/ 673 h 673"/>
                  <a:gd name="T10" fmla="*/ 0 w 7"/>
                  <a:gd name="T11" fmla="*/ 673 h 673"/>
                </a:gdLst>
                <a:ahLst/>
                <a:cxnLst>
                  <a:cxn ang="0">
                    <a:pos x="T0" y="T1"/>
                  </a:cxn>
                  <a:cxn ang="0">
                    <a:pos x="T2" y="T3"/>
                  </a:cxn>
                  <a:cxn ang="0">
                    <a:pos x="T4" y="T5"/>
                  </a:cxn>
                  <a:cxn ang="0">
                    <a:pos x="T6" y="T7"/>
                  </a:cxn>
                  <a:cxn ang="0">
                    <a:pos x="T8" y="T9"/>
                  </a:cxn>
                  <a:cxn ang="0">
                    <a:pos x="T10" y="T11"/>
                  </a:cxn>
                </a:cxnLst>
                <a:rect l="0" t="0" r="r" b="b"/>
                <a:pathLst>
                  <a:path w="7" h="673">
                    <a:moveTo>
                      <a:pt x="0" y="673"/>
                    </a:moveTo>
                    <a:lnTo>
                      <a:pt x="0" y="0"/>
                    </a:lnTo>
                    <a:lnTo>
                      <a:pt x="7" y="0"/>
                    </a:lnTo>
                    <a:lnTo>
                      <a:pt x="7" y="673"/>
                    </a:lnTo>
                    <a:lnTo>
                      <a:pt x="0" y="673"/>
                    </a:lnTo>
                    <a:lnTo>
                      <a:pt x="0" y="6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60">
                <a:extLst>
                  <a:ext uri="{FF2B5EF4-FFF2-40B4-BE49-F238E27FC236}">
                    <a16:creationId xmlns:a16="http://schemas.microsoft.com/office/drawing/2014/main" id="{ABFEF239-96CD-4227-A6F6-869573098C0C}"/>
                  </a:ext>
                </a:extLst>
              </p:cNvPr>
              <p:cNvSpPr>
                <a:spLocks/>
              </p:cNvSpPr>
              <p:nvPr/>
            </p:nvSpPr>
            <p:spPr bwMode="auto">
              <a:xfrm>
                <a:off x="7670801" y="1370013"/>
                <a:ext cx="360363" cy="200025"/>
              </a:xfrm>
              <a:custGeom>
                <a:avLst/>
                <a:gdLst>
                  <a:gd name="T0" fmla="*/ 0 w 227"/>
                  <a:gd name="T1" fmla="*/ 126 h 126"/>
                  <a:gd name="T2" fmla="*/ 0 w 227"/>
                  <a:gd name="T3" fmla="*/ 0 h 126"/>
                  <a:gd name="T4" fmla="*/ 227 w 227"/>
                  <a:gd name="T5" fmla="*/ 62 h 126"/>
                  <a:gd name="T6" fmla="*/ 0 w 227"/>
                  <a:gd name="T7" fmla="*/ 126 h 126"/>
                  <a:gd name="T8" fmla="*/ 0 w 227"/>
                  <a:gd name="T9" fmla="*/ 126 h 126"/>
                </a:gdLst>
                <a:ahLst/>
                <a:cxnLst>
                  <a:cxn ang="0">
                    <a:pos x="T0" y="T1"/>
                  </a:cxn>
                  <a:cxn ang="0">
                    <a:pos x="T2" y="T3"/>
                  </a:cxn>
                  <a:cxn ang="0">
                    <a:pos x="T4" y="T5"/>
                  </a:cxn>
                  <a:cxn ang="0">
                    <a:pos x="T6" y="T7"/>
                  </a:cxn>
                  <a:cxn ang="0">
                    <a:pos x="T8" y="T9"/>
                  </a:cxn>
                </a:cxnLst>
                <a:rect l="0" t="0" r="r" b="b"/>
                <a:pathLst>
                  <a:path w="227" h="126">
                    <a:moveTo>
                      <a:pt x="0" y="126"/>
                    </a:moveTo>
                    <a:lnTo>
                      <a:pt x="0" y="0"/>
                    </a:lnTo>
                    <a:lnTo>
                      <a:pt x="227" y="62"/>
                    </a:lnTo>
                    <a:lnTo>
                      <a:pt x="0" y="126"/>
                    </a:lnTo>
                    <a:lnTo>
                      <a:pt x="0" y="12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61">
                <a:extLst>
                  <a:ext uri="{FF2B5EF4-FFF2-40B4-BE49-F238E27FC236}">
                    <a16:creationId xmlns:a16="http://schemas.microsoft.com/office/drawing/2014/main" id="{7CFC5C7F-0A1B-427D-8DB5-FF36437162B3}"/>
                  </a:ext>
                </a:extLst>
              </p:cNvPr>
              <p:cNvSpPr>
                <a:spLocks/>
              </p:cNvSpPr>
              <p:nvPr/>
            </p:nvSpPr>
            <p:spPr bwMode="auto">
              <a:xfrm>
                <a:off x="5037138" y="3348038"/>
                <a:ext cx="123825" cy="128588"/>
              </a:xfrm>
              <a:custGeom>
                <a:avLst/>
                <a:gdLst>
                  <a:gd name="T0" fmla="*/ 33 w 33"/>
                  <a:gd name="T1" fmla="*/ 0 h 34"/>
                  <a:gd name="T2" fmla="*/ 31 w 33"/>
                  <a:gd name="T3" fmla="*/ 9 h 34"/>
                  <a:gd name="T4" fmla="*/ 31 w 33"/>
                  <a:gd name="T5" fmla="*/ 20 h 34"/>
                  <a:gd name="T6" fmla="*/ 27 w 33"/>
                  <a:gd name="T7" fmla="*/ 20 h 34"/>
                  <a:gd name="T8" fmla="*/ 26 w 33"/>
                  <a:gd name="T9" fmla="*/ 32 h 34"/>
                  <a:gd name="T10" fmla="*/ 17 w 33"/>
                  <a:gd name="T11" fmla="*/ 28 h 34"/>
                  <a:gd name="T12" fmla="*/ 13 w 33"/>
                  <a:gd name="T13" fmla="*/ 34 h 34"/>
                  <a:gd name="T14" fmla="*/ 0 w 33"/>
                  <a:gd name="T15" fmla="*/ 27 h 34"/>
                  <a:gd name="T16" fmla="*/ 1 w 33"/>
                  <a:gd name="T17" fmla="*/ 24 h 34"/>
                  <a:gd name="T18" fmla="*/ 17 w 33"/>
                  <a:gd name="T19" fmla="*/ 2 h 34"/>
                  <a:gd name="T20" fmla="*/ 33 w 33"/>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0"/>
                    </a:moveTo>
                    <a:cubicBezTo>
                      <a:pt x="33" y="0"/>
                      <a:pt x="32" y="5"/>
                      <a:pt x="31" y="9"/>
                    </a:cubicBezTo>
                    <a:cubicBezTo>
                      <a:pt x="31" y="14"/>
                      <a:pt x="32" y="19"/>
                      <a:pt x="31" y="20"/>
                    </a:cubicBezTo>
                    <a:cubicBezTo>
                      <a:pt x="30" y="21"/>
                      <a:pt x="27" y="20"/>
                      <a:pt x="27" y="20"/>
                    </a:cubicBezTo>
                    <a:cubicBezTo>
                      <a:pt x="27" y="20"/>
                      <a:pt x="27" y="31"/>
                      <a:pt x="26" y="32"/>
                    </a:cubicBezTo>
                    <a:cubicBezTo>
                      <a:pt x="25" y="33"/>
                      <a:pt x="17" y="28"/>
                      <a:pt x="17" y="28"/>
                    </a:cubicBezTo>
                    <a:cubicBezTo>
                      <a:pt x="13" y="34"/>
                      <a:pt x="13" y="34"/>
                      <a:pt x="13" y="34"/>
                    </a:cubicBezTo>
                    <a:cubicBezTo>
                      <a:pt x="0" y="27"/>
                      <a:pt x="0" y="27"/>
                      <a:pt x="0" y="27"/>
                    </a:cubicBezTo>
                    <a:cubicBezTo>
                      <a:pt x="1" y="24"/>
                      <a:pt x="1" y="24"/>
                      <a:pt x="1" y="24"/>
                    </a:cubicBezTo>
                    <a:cubicBezTo>
                      <a:pt x="17" y="2"/>
                      <a:pt x="17" y="2"/>
                      <a:pt x="17" y="2"/>
                    </a:cubicBezTo>
                    <a:cubicBezTo>
                      <a:pt x="33" y="0"/>
                      <a:pt x="33" y="0"/>
                      <a:pt x="33"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62">
                <a:extLst>
                  <a:ext uri="{FF2B5EF4-FFF2-40B4-BE49-F238E27FC236}">
                    <a16:creationId xmlns:a16="http://schemas.microsoft.com/office/drawing/2014/main" id="{B4920F04-8620-456B-B4D0-302961AD8B99}"/>
                  </a:ext>
                </a:extLst>
              </p:cNvPr>
              <p:cNvSpPr>
                <a:spLocks/>
              </p:cNvSpPr>
              <p:nvPr/>
            </p:nvSpPr>
            <p:spPr bwMode="auto">
              <a:xfrm>
                <a:off x="5037138" y="3438526"/>
                <a:ext cx="47625" cy="74613"/>
              </a:xfrm>
              <a:custGeom>
                <a:avLst/>
                <a:gdLst>
                  <a:gd name="T0" fmla="*/ 0 w 30"/>
                  <a:gd name="T1" fmla="*/ 7 h 47"/>
                  <a:gd name="T2" fmla="*/ 2 w 30"/>
                  <a:gd name="T3" fmla="*/ 0 h 47"/>
                  <a:gd name="T4" fmla="*/ 30 w 30"/>
                  <a:gd name="T5" fmla="*/ 24 h 47"/>
                  <a:gd name="T6" fmla="*/ 28 w 30"/>
                  <a:gd name="T7" fmla="*/ 47 h 47"/>
                  <a:gd name="T8" fmla="*/ 21 w 30"/>
                  <a:gd name="T9" fmla="*/ 26 h 47"/>
                  <a:gd name="T10" fmla="*/ 0 w 30"/>
                  <a:gd name="T11" fmla="*/ 7 h 47"/>
                  <a:gd name="T12" fmla="*/ 0 w 30"/>
                  <a:gd name="T13" fmla="*/ 7 h 47"/>
                </a:gdLst>
                <a:ahLst/>
                <a:cxnLst>
                  <a:cxn ang="0">
                    <a:pos x="T0" y="T1"/>
                  </a:cxn>
                  <a:cxn ang="0">
                    <a:pos x="T2" y="T3"/>
                  </a:cxn>
                  <a:cxn ang="0">
                    <a:pos x="T4" y="T5"/>
                  </a:cxn>
                  <a:cxn ang="0">
                    <a:pos x="T6" y="T7"/>
                  </a:cxn>
                  <a:cxn ang="0">
                    <a:pos x="T8" y="T9"/>
                  </a:cxn>
                  <a:cxn ang="0">
                    <a:pos x="T10" y="T11"/>
                  </a:cxn>
                  <a:cxn ang="0">
                    <a:pos x="T12" y="T13"/>
                  </a:cxn>
                </a:cxnLst>
                <a:rect l="0" t="0" r="r" b="b"/>
                <a:pathLst>
                  <a:path w="30" h="47">
                    <a:moveTo>
                      <a:pt x="0" y="7"/>
                    </a:moveTo>
                    <a:lnTo>
                      <a:pt x="2" y="0"/>
                    </a:lnTo>
                    <a:lnTo>
                      <a:pt x="30" y="24"/>
                    </a:lnTo>
                    <a:lnTo>
                      <a:pt x="28" y="47"/>
                    </a:lnTo>
                    <a:lnTo>
                      <a:pt x="21" y="26"/>
                    </a:lnTo>
                    <a:lnTo>
                      <a:pt x="0" y="7"/>
                    </a:lnTo>
                    <a:lnTo>
                      <a:pt x="0" y="7"/>
                    </a:lnTo>
                    <a:close/>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63">
                <a:extLst>
                  <a:ext uri="{FF2B5EF4-FFF2-40B4-BE49-F238E27FC236}">
                    <a16:creationId xmlns:a16="http://schemas.microsoft.com/office/drawing/2014/main" id="{2EC4A542-E504-4B05-BABC-B03DE332266A}"/>
                  </a:ext>
                </a:extLst>
              </p:cNvPr>
              <p:cNvSpPr>
                <a:spLocks/>
              </p:cNvSpPr>
              <p:nvPr/>
            </p:nvSpPr>
            <p:spPr bwMode="auto">
              <a:xfrm>
                <a:off x="5037138" y="3309938"/>
                <a:ext cx="123825" cy="142875"/>
              </a:xfrm>
              <a:custGeom>
                <a:avLst/>
                <a:gdLst>
                  <a:gd name="T0" fmla="*/ 4 w 33"/>
                  <a:gd name="T1" fmla="*/ 3 h 38"/>
                  <a:gd name="T2" fmla="*/ 1 w 33"/>
                  <a:gd name="T3" fmla="*/ 34 h 38"/>
                  <a:gd name="T4" fmla="*/ 12 w 33"/>
                  <a:gd name="T5" fmla="*/ 38 h 38"/>
                  <a:gd name="T6" fmla="*/ 15 w 33"/>
                  <a:gd name="T7" fmla="*/ 29 h 38"/>
                  <a:gd name="T8" fmla="*/ 14 w 33"/>
                  <a:gd name="T9" fmla="*/ 21 h 38"/>
                  <a:gd name="T10" fmla="*/ 18 w 33"/>
                  <a:gd name="T11" fmla="*/ 20 h 38"/>
                  <a:gd name="T12" fmla="*/ 20 w 33"/>
                  <a:gd name="T13" fmla="*/ 26 h 38"/>
                  <a:gd name="T14" fmla="*/ 23 w 33"/>
                  <a:gd name="T15" fmla="*/ 26 h 38"/>
                  <a:gd name="T16" fmla="*/ 25 w 33"/>
                  <a:gd name="T17" fmla="*/ 16 h 38"/>
                  <a:gd name="T18" fmla="*/ 33 w 33"/>
                  <a:gd name="T19" fmla="*/ 10 h 38"/>
                  <a:gd name="T20" fmla="*/ 20 w 33"/>
                  <a:gd name="T21" fmla="*/ 0 h 38"/>
                  <a:gd name="T22" fmla="*/ 4 w 33"/>
                  <a:gd name="T2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8">
                    <a:moveTo>
                      <a:pt x="4" y="3"/>
                    </a:moveTo>
                    <a:cubicBezTo>
                      <a:pt x="0" y="12"/>
                      <a:pt x="1" y="34"/>
                      <a:pt x="1" y="34"/>
                    </a:cubicBezTo>
                    <a:cubicBezTo>
                      <a:pt x="12" y="38"/>
                      <a:pt x="12" y="38"/>
                      <a:pt x="12" y="38"/>
                    </a:cubicBezTo>
                    <a:cubicBezTo>
                      <a:pt x="15" y="29"/>
                      <a:pt x="15" y="29"/>
                      <a:pt x="15" y="29"/>
                    </a:cubicBezTo>
                    <a:cubicBezTo>
                      <a:pt x="15" y="29"/>
                      <a:pt x="13" y="23"/>
                      <a:pt x="14" y="21"/>
                    </a:cubicBezTo>
                    <a:cubicBezTo>
                      <a:pt x="16" y="20"/>
                      <a:pt x="17" y="19"/>
                      <a:pt x="18" y="20"/>
                    </a:cubicBezTo>
                    <a:cubicBezTo>
                      <a:pt x="20" y="21"/>
                      <a:pt x="20" y="26"/>
                      <a:pt x="20" y="26"/>
                    </a:cubicBezTo>
                    <a:cubicBezTo>
                      <a:pt x="23" y="26"/>
                      <a:pt x="23" y="26"/>
                      <a:pt x="23" y="26"/>
                    </a:cubicBezTo>
                    <a:cubicBezTo>
                      <a:pt x="23" y="26"/>
                      <a:pt x="24" y="17"/>
                      <a:pt x="25" y="16"/>
                    </a:cubicBezTo>
                    <a:cubicBezTo>
                      <a:pt x="27" y="15"/>
                      <a:pt x="33" y="10"/>
                      <a:pt x="33" y="10"/>
                    </a:cubicBezTo>
                    <a:cubicBezTo>
                      <a:pt x="33" y="10"/>
                      <a:pt x="28" y="1"/>
                      <a:pt x="20" y="0"/>
                    </a:cubicBezTo>
                    <a:cubicBezTo>
                      <a:pt x="13" y="0"/>
                      <a:pt x="4" y="3"/>
                      <a:pt x="4" y="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64">
                <a:extLst>
                  <a:ext uri="{FF2B5EF4-FFF2-40B4-BE49-F238E27FC236}">
                    <a16:creationId xmlns:a16="http://schemas.microsoft.com/office/drawing/2014/main" id="{D8CE0F14-90B3-495C-AF40-D84D2A410D45}"/>
                  </a:ext>
                </a:extLst>
              </p:cNvPr>
              <p:cNvSpPr>
                <a:spLocks/>
              </p:cNvSpPr>
              <p:nvPr/>
            </p:nvSpPr>
            <p:spPr bwMode="auto">
              <a:xfrm>
                <a:off x="4543426" y="3441701"/>
                <a:ext cx="914400" cy="850900"/>
              </a:xfrm>
              <a:custGeom>
                <a:avLst/>
                <a:gdLst>
                  <a:gd name="T0" fmla="*/ 3 w 243"/>
                  <a:gd name="T1" fmla="*/ 200 h 226"/>
                  <a:gd name="T2" fmla="*/ 1 w 243"/>
                  <a:gd name="T3" fmla="*/ 200 h 226"/>
                  <a:gd name="T4" fmla="*/ 49 w 243"/>
                  <a:gd name="T5" fmla="*/ 153 h 226"/>
                  <a:gd name="T6" fmla="*/ 81 w 243"/>
                  <a:gd name="T7" fmla="*/ 100 h 226"/>
                  <a:gd name="T8" fmla="*/ 72 w 243"/>
                  <a:gd name="T9" fmla="*/ 95 h 226"/>
                  <a:gd name="T10" fmla="*/ 83 w 243"/>
                  <a:gd name="T11" fmla="*/ 82 h 226"/>
                  <a:gd name="T12" fmla="*/ 110 w 243"/>
                  <a:gd name="T13" fmla="*/ 40 h 226"/>
                  <a:gd name="T14" fmla="*/ 107 w 243"/>
                  <a:gd name="T15" fmla="*/ 28 h 226"/>
                  <a:gd name="T16" fmla="*/ 95 w 243"/>
                  <a:gd name="T17" fmla="*/ 27 h 226"/>
                  <a:gd name="T18" fmla="*/ 25 w 243"/>
                  <a:gd name="T19" fmla="*/ 50 h 226"/>
                  <a:gd name="T20" fmla="*/ 14 w 243"/>
                  <a:gd name="T21" fmla="*/ 45 h 226"/>
                  <a:gd name="T22" fmla="*/ 11 w 243"/>
                  <a:gd name="T23" fmla="*/ 41 h 226"/>
                  <a:gd name="T24" fmla="*/ 26 w 243"/>
                  <a:gd name="T25" fmla="*/ 43 h 226"/>
                  <a:gd name="T26" fmla="*/ 109 w 243"/>
                  <a:gd name="T27" fmla="*/ 10 h 226"/>
                  <a:gd name="T28" fmla="*/ 121 w 243"/>
                  <a:gd name="T29" fmla="*/ 3 h 226"/>
                  <a:gd name="T30" fmla="*/ 134 w 243"/>
                  <a:gd name="T31" fmla="*/ 2 h 226"/>
                  <a:gd name="T32" fmla="*/ 142 w 243"/>
                  <a:gd name="T33" fmla="*/ 28 h 226"/>
                  <a:gd name="T34" fmla="*/ 108 w 243"/>
                  <a:gd name="T35" fmla="*/ 96 h 226"/>
                  <a:gd name="T36" fmla="*/ 148 w 243"/>
                  <a:gd name="T37" fmla="*/ 91 h 226"/>
                  <a:gd name="T38" fmla="*/ 216 w 243"/>
                  <a:gd name="T39" fmla="*/ 127 h 226"/>
                  <a:gd name="T40" fmla="*/ 214 w 243"/>
                  <a:gd name="T41" fmla="*/ 129 h 226"/>
                  <a:gd name="T42" fmla="*/ 218 w 243"/>
                  <a:gd name="T43" fmla="*/ 129 h 226"/>
                  <a:gd name="T44" fmla="*/ 242 w 243"/>
                  <a:gd name="T45" fmla="*/ 116 h 226"/>
                  <a:gd name="T46" fmla="*/ 218 w 243"/>
                  <a:gd name="T47" fmla="*/ 137 h 226"/>
                  <a:gd name="T48" fmla="*/ 210 w 243"/>
                  <a:gd name="T49" fmla="*/ 133 h 226"/>
                  <a:gd name="T50" fmla="*/ 209 w 243"/>
                  <a:gd name="T51" fmla="*/ 135 h 226"/>
                  <a:gd name="T52" fmla="*/ 143 w 243"/>
                  <a:gd name="T53" fmla="*/ 105 h 226"/>
                  <a:gd name="T54" fmla="*/ 93 w 243"/>
                  <a:gd name="T55" fmla="*/ 114 h 226"/>
                  <a:gd name="T56" fmla="*/ 57 w 243"/>
                  <a:gd name="T57" fmla="*/ 163 h 226"/>
                  <a:gd name="T58" fmla="*/ 10 w 243"/>
                  <a:gd name="T59" fmla="*/ 201 h 226"/>
                  <a:gd name="T60" fmla="*/ 9 w 243"/>
                  <a:gd name="T61" fmla="*/ 201 h 226"/>
                  <a:gd name="T62" fmla="*/ 9 w 243"/>
                  <a:gd name="T63" fmla="*/ 203 h 226"/>
                  <a:gd name="T64" fmla="*/ 1 w 243"/>
                  <a:gd name="T65" fmla="*/ 225 h 226"/>
                  <a:gd name="T66" fmla="*/ 3 w 243"/>
                  <a:gd name="T67" fmla="*/ 20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3" h="226">
                    <a:moveTo>
                      <a:pt x="3" y="200"/>
                    </a:moveTo>
                    <a:cubicBezTo>
                      <a:pt x="2" y="199"/>
                      <a:pt x="1" y="200"/>
                      <a:pt x="1" y="200"/>
                    </a:cubicBezTo>
                    <a:cubicBezTo>
                      <a:pt x="49" y="153"/>
                      <a:pt x="49" y="153"/>
                      <a:pt x="49" y="153"/>
                    </a:cubicBezTo>
                    <a:cubicBezTo>
                      <a:pt x="81" y="100"/>
                      <a:pt x="81" y="100"/>
                      <a:pt x="81" y="100"/>
                    </a:cubicBezTo>
                    <a:cubicBezTo>
                      <a:pt x="72" y="95"/>
                      <a:pt x="72" y="95"/>
                      <a:pt x="72" y="95"/>
                    </a:cubicBezTo>
                    <a:cubicBezTo>
                      <a:pt x="72" y="95"/>
                      <a:pt x="78" y="90"/>
                      <a:pt x="83" y="82"/>
                    </a:cubicBezTo>
                    <a:cubicBezTo>
                      <a:pt x="110" y="40"/>
                      <a:pt x="110" y="40"/>
                      <a:pt x="110" y="40"/>
                    </a:cubicBezTo>
                    <a:cubicBezTo>
                      <a:pt x="109" y="35"/>
                      <a:pt x="108" y="31"/>
                      <a:pt x="107" y="28"/>
                    </a:cubicBezTo>
                    <a:cubicBezTo>
                      <a:pt x="103" y="24"/>
                      <a:pt x="95" y="27"/>
                      <a:pt x="95" y="27"/>
                    </a:cubicBezTo>
                    <a:cubicBezTo>
                      <a:pt x="25" y="50"/>
                      <a:pt x="25" y="50"/>
                      <a:pt x="25" y="50"/>
                    </a:cubicBezTo>
                    <a:cubicBezTo>
                      <a:pt x="14" y="45"/>
                      <a:pt x="14" y="45"/>
                      <a:pt x="14" y="45"/>
                    </a:cubicBezTo>
                    <a:cubicBezTo>
                      <a:pt x="11" y="41"/>
                      <a:pt x="11" y="41"/>
                      <a:pt x="11" y="41"/>
                    </a:cubicBezTo>
                    <a:cubicBezTo>
                      <a:pt x="26" y="43"/>
                      <a:pt x="26" y="43"/>
                      <a:pt x="26" y="43"/>
                    </a:cubicBezTo>
                    <a:cubicBezTo>
                      <a:pt x="109" y="10"/>
                      <a:pt x="109" y="10"/>
                      <a:pt x="109" y="10"/>
                    </a:cubicBezTo>
                    <a:cubicBezTo>
                      <a:pt x="109" y="10"/>
                      <a:pt x="120" y="5"/>
                      <a:pt x="121" y="3"/>
                    </a:cubicBezTo>
                    <a:cubicBezTo>
                      <a:pt x="121" y="3"/>
                      <a:pt x="126" y="0"/>
                      <a:pt x="134" y="2"/>
                    </a:cubicBezTo>
                    <a:cubicBezTo>
                      <a:pt x="142" y="5"/>
                      <a:pt x="145" y="19"/>
                      <a:pt x="142" y="28"/>
                    </a:cubicBezTo>
                    <a:cubicBezTo>
                      <a:pt x="130" y="69"/>
                      <a:pt x="114" y="84"/>
                      <a:pt x="108" y="96"/>
                    </a:cubicBezTo>
                    <a:cubicBezTo>
                      <a:pt x="148" y="91"/>
                      <a:pt x="148" y="91"/>
                      <a:pt x="148" y="91"/>
                    </a:cubicBezTo>
                    <a:cubicBezTo>
                      <a:pt x="216" y="127"/>
                      <a:pt x="216" y="127"/>
                      <a:pt x="216" y="127"/>
                    </a:cubicBezTo>
                    <a:cubicBezTo>
                      <a:pt x="214" y="129"/>
                      <a:pt x="214" y="129"/>
                      <a:pt x="214" y="129"/>
                    </a:cubicBezTo>
                    <a:cubicBezTo>
                      <a:pt x="218" y="129"/>
                      <a:pt x="218" y="129"/>
                      <a:pt x="218" y="129"/>
                    </a:cubicBezTo>
                    <a:cubicBezTo>
                      <a:pt x="218" y="129"/>
                      <a:pt x="243" y="113"/>
                      <a:pt x="242" y="116"/>
                    </a:cubicBezTo>
                    <a:cubicBezTo>
                      <a:pt x="240" y="120"/>
                      <a:pt x="221" y="138"/>
                      <a:pt x="218" y="137"/>
                    </a:cubicBezTo>
                    <a:cubicBezTo>
                      <a:pt x="216" y="136"/>
                      <a:pt x="213" y="134"/>
                      <a:pt x="210" y="133"/>
                    </a:cubicBezTo>
                    <a:cubicBezTo>
                      <a:pt x="209" y="135"/>
                      <a:pt x="209" y="135"/>
                      <a:pt x="209" y="135"/>
                    </a:cubicBezTo>
                    <a:cubicBezTo>
                      <a:pt x="143" y="105"/>
                      <a:pt x="143" y="105"/>
                      <a:pt x="143" y="105"/>
                    </a:cubicBezTo>
                    <a:cubicBezTo>
                      <a:pt x="93" y="114"/>
                      <a:pt x="93" y="114"/>
                      <a:pt x="93" y="114"/>
                    </a:cubicBezTo>
                    <a:cubicBezTo>
                      <a:pt x="57" y="163"/>
                      <a:pt x="57" y="163"/>
                      <a:pt x="57" y="163"/>
                    </a:cubicBezTo>
                    <a:cubicBezTo>
                      <a:pt x="57" y="163"/>
                      <a:pt x="11" y="199"/>
                      <a:pt x="10" y="201"/>
                    </a:cubicBezTo>
                    <a:cubicBezTo>
                      <a:pt x="10" y="201"/>
                      <a:pt x="9" y="201"/>
                      <a:pt x="9" y="201"/>
                    </a:cubicBezTo>
                    <a:cubicBezTo>
                      <a:pt x="8" y="202"/>
                      <a:pt x="8" y="202"/>
                      <a:pt x="9" y="203"/>
                    </a:cubicBezTo>
                    <a:cubicBezTo>
                      <a:pt x="9" y="203"/>
                      <a:pt x="2" y="226"/>
                      <a:pt x="1" y="225"/>
                    </a:cubicBezTo>
                    <a:cubicBezTo>
                      <a:pt x="0" y="224"/>
                      <a:pt x="3" y="205"/>
                      <a:pt x="3" y="2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5035227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cxnSp>
        <p:nvCxnSpPr>
          <p:cNvPr id="15" name="Conector reto 49">
            <a:extLst>
              <a:ext uri="{FF2B5EF4-FFF2-40B4-BE49-F238E27FC236}">
                <a16:creationId xmlns:a16="http://schemas.microsoft.com/office/drawing/2014/main" id="{53B94B53-2C81-4640-A662-0AE517160B3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ctangle 27">
            <a:extLst>
              <a:ext uri="{FF2B5EF4-FFF2-40B4-BE49-F238E27FC236}">
                <a16:creationId xmlns:a16="http://schemas.microsoft.com/office/drawing/2014/main" id="{406F5A57-6688-426F-B657-ED3B31F1010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0" name="Retângulo 43">
            <a:extLst>
              <a:ext uri="{FF2B5EF4-FFF2-40B4-BE49-F238E27FC236}">
                <a16:creationId xmlns:a16="http://schemas.microsoft.com/office/drawing/2014/main" id="{9643402B-9E57-4095-AE32-F0B246734FE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sp>
        <p:nvSpPr>
          <p:cNvPr id="28" name="Freeform 61"/>
          <p:cNvSpPr>
            <a:spLocks/>
          </p:cNvSpPr>
          <p:nvPr userDrawn="1"/>
        </p:nvSpPr>
        <p:spPr bwMode="auto">
          <a:xfrm>
            <a:off x="-91440" y="1462532"/>
            <a:ext cx="7359257" cy="7313908"/>
          </a:xfrm>
          <a:custGeom>
            <a:avLst/>
            <a:gdLst>
              <a:gd name="T0" fmla="*/ 302 w 477"/>
              <a:gd name="T1" fmla="*/ 475 h 475"/>
              <a:gd name="T2" fmla="*/ 311 w 477"/>
              <a:gd name="T3" fmla="*/ 0 h 475"/>
              <a:gd name="T4" fmla="*/ 0 w 477"/>
              <a:gd name="T5" fmla="*/ 77 h 475"/>
              <a:gd name="T6" fmla="*/ 0 w 477"/>
              <a:gd name="T7" fmla="*/ 475 h 475"/>
              <a:gd name="T8" fmla="*/ 302 w 477"/>
              <a:gd name="T9" fmla="*/ 475 h 475"/>
            </a:gdLst>
            <a:ahLst/>
            <a:cxnLst>
              <a:cxn ang="0">
                <a:pos x="T0" y="T1"/>
              </a:cxn>
              <a:cxn ang="0">
                <a:pos x="T2" y="T3"/>
              </a:cxn>
              <a:cxn ang="0">
                <a:pos x="T4" y="T5"/>
              </a:cxn>
              <a:cxn ang="0">
                <a:pos x="T6" y="T7"/>
              </a:cxn>
              <a:cxn ang="0">
                <a:pos x="T8" y="T9"/>
              </a:cxn>
            </a:cxnLst>
            <a:rect l="0" t="0" r="r" b="b"/>
            <a:pathLst>
              <a:path w="477" h="475">
                <a:moveTo>
                  <a:pt x="302" y="475"/>
                </a:moveTo>
                <a:cubicBezTo>
                  <a:pt x="452" y="240"/>
                  <a:pt x="477" y="100"/>
                  <a:pt x="311" y="0"/>
                </a:cubicBezTo>
                <a:cubicBezTo>
                  <a:pt x="130" y="98"/>
                  <a:pt x="42" y="99"/>
                  <a:pt x="0" y="77"/>
                </a:cubicBezTo>
                <a:cubicBezTo>
                  <a:pt x="0" y="475"/>
                  <a:pt x="0" y="475"/>
                  <a:pt x="0" y="475"/>
                </a:cubicBezTo>
                <a:lnTo>
                  <a:pt x="302" y="47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28" name="Freeform 65"/>
          <p:cNvSpPr>
            <a:spLocks/>
          </p:cNvSpPr>
          <p:nvPr userDrawn="1"/>
        </p:nvSpPr>
        <p:spPr bwMode="auto">
          <a:xfrm>
            <a:off x="3761714" y="800764"/>
            <a:ext cx="9111784" cy="10909156"/>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5" name="Rectangle 1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17" name="Rectangle 1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18" name="Rectangle 1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19" name="Rectangle 1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20" name="Rectangle 1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21" name="Rectangle 2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22" name="Rectangle 2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23" name="Rectangle 22"/>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24" name="Rectangle 23"/>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25" name="Rectangle 24"/>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6" name="Rectangle 25"/>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7" name="Rectangle 26"/>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9" name="Rectangle 2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30" name="Rectangle 2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31" name="Rectangle 3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32" name="Rectangle 31"/>
          <p:cNvSpPr/>
          <p:nvPr userDrawn="1"/>
        </p:nvSpPr>
        <p:spPr>
          <a:xfrm>
            <a:off x="14282011" y="3089930"/>
            <a:ext cx="595070" cy="621323"/>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33" name="Rectangle 3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34" name="Rectangle 3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39" name="Rectangle 38"/>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41" name="Rectangle 40"/>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42" name="Rectangle 41"/>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44" name="Rectangle 43"/>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cxnSp>
        <p:nvCxnSpPr>
          <p:cNvPr id="45" name="Conector reto 49">
            <a:extLst>
              <a:ext uri="{FF2B5EF4-FFF2-40B4-BE49-F238E27FC236}">
                <a16:creationId xmlns:a16="http://schemas.microsoft.com/office/drawing/2014/main" id="{5A769602-CC65-4F44-ACCD-210DEAFF1238}"/>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6" name="Rectangle 27">
            <a:extLst>
              <a:ext uri="{FF2B5EF4-FFF2-40B4-BE49-F238E27FC236}">
                <a16:creationId xmlns:a16="http://schemas.microsoft.com/office/drawing/2014/main" id="{F2AF3145-FB92-4AB8-B78B-53046770A8E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7" name="Retângulo 43">
            <a:extLst>
              <a:ext uri="{FF2B5EF4-FFF2-40B4-BE49-F238E27FC236}">
                <a16:creationId xmlns:a16="http://schemas.microsoft.com/office/drawing/2014/main" id="{1644727B-4127-476A-B426-1218111F92D1}"/>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20" name="Freeform 65"/>
          <p:cNvSpPr>
            <a:spLocks/>
          </p:cNvSpPr>
          <p:nvPr userDrawn="1"/>
        </p:nvSpPr>
        <p:spPr bwMode="auto">
          <a:xfrm flipH="1">
            <a:off x="-112153" y="2643959"/>
            <a:ext cx="9111784" cy="10909156"/>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7_Cov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8751DB-2745-49D4-8008-6DBCBDAA8B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11" name="Title 1"/>
          <p:cNvSpPr>
            <a:spLocks noGrp="1"/>
          </p:cNvSpPr>
          <p:nvPr>
            <p:ph type="ctrTitle" hasCustomPrompt="1"/>
          </p:nvPr>
        </p:nvSpPr>
        <p:spPr>
          <a:xfrm>
            <a:off x="407988" y="4548331"/>
            <a:ext cx="500221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5411930"/>
            <a:ext cx="500221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Click to insert presenter, location, and date</a:t>
            </a:r>
          </a:p>
        </p:txBody>
      </p:sp>
      <p:pic>
        <p:nvPicPr>
          <p:cNvPr id="9"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7831" y="404813"/>
            <a:ext cx="2286000" cy="510013"/>
          </a:xfrm>
          <a:prstGeom prst="rect">
            <a:avLst/>
          </a:prstGeom>
        </p:spPr>
      </p:pic>
      <p:sp>
        <p:nvSpPr>
          <p:cNvPr id="3" name="Freeform: Shape 2">
            <a:extLst>
              <a:ext uri="{FF2B5EF4-FFF2-40B4-BE49-F238E27FC236}">
                <a16:creationId xmlns:a16="http://schemas.microsoft.com/office/drawing/2014/main" id="{052A434B-1D9C-418F-9CB9-1237A0821BBD}"/>
              </a:ext>
            </a:extLst>
          </p:cNvPr>
          <p:cNvSpPr/>
          <p:nvPr userDrawn="1"/>
        </p:nvSpPr>
        <p:spPr>
          <a:xfrm>
            <a:off x="9220200" y="3884565"/>
            <a:ext cx="1737360" cy="2048256"/>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7360" h="2048256">
                <a:moveTo>
                  <a:pt x="0" y="1542288"/>
                </a:moveTo>
                <a:cubicBezTo>
                  <a:pt x="650240" y="1064768"/>
                  <a:pt x="1050544" y="568960"/>
                  <a:pt x="1511808" y="0"/>
                </a:cubicBezTo>
                <a:lnTo>
                  <a:pt x="1737360" y="182880"/>
                </a:lnTo>
                <a:lnTo>
                  <a:pt x="1676400" y="871728"/>
                </a:lnTo>
                <a:lnTo>
                  <a:pt x="256032" y="2048256"/>
                </a:lnTo>
                <a:lnTo>
                  <a:pt x="0" y="1542288"/>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0F7F130-F239-409D-82B2-00B8E553E619}"/>
              </a:ext>
            </a:extLst>
          </p:cNvPr>
          <p:cNvSpPr/>
          <p:nvPr userDrawn="1"/>
        </p:nvSpPr>
        <p:spPr>
          <a:xfrm rot="18858237">
            <a:off x="8313916" y="4201379"/>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1636054445"/>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6" name="Conector reto 49">
            <a:extLst>
              <a:ext uri="{FF2B5EF4-FFF2-40B4-BE49-F238E27FC236}">
                <a16:creationId xmlns:a16="http://schemas.microsoft.com/office/drawing/2014/main" id="{79DA212A-956F-4118-A1C5-87624AFE777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id="{47E8CF9F-BE18-4BC6-81BF-2A8A6517523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9360C062-94D3-4253-9EC0-05B89F65961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0959320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27" name="Conector reto 49">
            <a:extLst>
              <a:ext uri="{FF2B5EF4-FFF2-40B4-BE49-F238E27FC236}">
                <a16:creationId xmlns:a16="http://schemas.microsoft.com/office/drawing/2014/main" id="{D7785FFE-B9B9-4CDE-9C8B-EADF1841F3D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CE4C243-090B-4BE8-B845-B80F9597F12F}"/>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9" name="Retângulo 43">
            <a:extLst>
              <a:ext uri="{FF2B5EF4-FFF2-40B4-BE49-F238E27FC236}">
                <a16:creationId xmlns:a16="http://schemas.microsoft.com/office/drawing/2014/main" id="{576B458D-57B2-495E-9031-0059C88B6249}"/>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262656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4" name="Conector reto 49">
            <a:extLst>
              <a:ext uri="{FF2B5EF4-FFF2-40B4-BE49-F238E27FC236}">
                <a16:creationId xmlns:a16="http://schemas.microsoft.com/office/drawing/2014/main" id="{C1CB4451-3EC1-4974-8B3E-DA486D1803A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 name="Rectangle 27">
            <a:extLst>
              <a:ext uri="{FF2B5EF4-FFF2-40B4-BE49-F238E27FC236}">
                <a16:creationId xmlns:a16="http://schemas.microsoft.com/office/drawing/2014/main" id="{A0C74EDA-0386-44EA-9F67-C069C11FCE05}"/>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6" name="Retângulo 43">
            <a:extLst>
              <a:ext uri="{FF2B5EF4-FFF2-40B4-BE49-F238E27FC236}">
                <a16:creationId xmlns:a16="http://schemas.microsoft.com/office/drawing/2014/main" id="{E25FEC27-704C-4663-8862-566E914A04F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36" name="Freeform 65"/>
          <p:cNvSpPr>
            <a:spLocks/>
          </p:cNvSpPr>
          <p:nvPr userDrawn="1"/>
        </p:nvSpPr>
        <p:spPr bwMode="auto">
          <a:xfrm rot="15126643">
            <a:off x="7541356" y="-2911523"/>
            <a:ext cx="5112799" cy="6121339"/>
          </a:xfrm>
          <a:custGeom>
            <a:avLst/>
            <a:gdLst>
              <a:gd name="T0" fmla="*/ 226 w 398"/>
              <a:gd name="T1" fmla="*/ 3 h 477"/>
              <a:gd name="T2" fmla="*/ 398 w 398"/>
              <a:gd name="T3" fmla="*/ 17 h 477"/>
              <a:gd name="T4" fmla="*/ 398 w 398"/>
              <a:gd name="T5" fmla="*/ 477 h 477"/>
              <a:gd name="T6" fmla="*/ 105 w 398"/>
              <a:gd name="T7" fmla="*/ 477 h 477"/>
              <a:gd name="T8" fmla="*/ 74 w 398"/>
              <a:gd name="T9" fmla="*/ 431 h 477"/>
              <a:gd name="T10" fmla="*/ 226 w 398"/>
              <a:gd name="T11" fmla="*/ 3 h 477"/>
            </a:gdLst>
            <a:ahLst/>
            <a:cxnLst>
              <a:cxn ang="0">
                <a:pos x="T0" y="T1"/>
              </a:cxn>
              <a:cxn ang="0">
                <a:pos x="T2" y="T3"/>
              </a:cxn>
              <a:cxn ang="0">
                <a:pos x="T4" y="T5"/>
              </a:cxn>
              <a:cxn ang="0">
                <a:pos x="T6" y="T7"/>
              </a:cxn>
              <a:cxn ang="0">
                <a:pos x="T8" y="T9"/>
              </a:cxn>
              <a:cxn ang="0">
                <a:pos x="T10" y="T11"/>
              </a:cxn>
            </a:cxnLst>
            <a:rect l="0" t="0" r="r" b="b"/>
            <a:pathLst>
              <a:path w="398" h="477">
                <a:moveTo>
                  <a:pt x="226" y="3"/>
                </a:moveTo>
                <a:cubicBezTo>
                  <a:pt x="285" y="0"/>
                  <a:pt x="344" y="4"/>
                  <a:pt x="398" y="17"/>
                </a:cubicBezTo>
                <a:cubicBezTo>
                  <a:pt x="398" y="477"/>
                  <a:pt x="398" y="477"/>
                  <a:pt x="398" y="477"/>
                </a:cubicBezTo>
                <a:cubicBezTo>
                  <a:pt x="105" y="477"/>
                  <a:pt x="105" y="477"/>
                  <a:pt x="105" y="477"/>
                </a:cubicBezTo>
                <a:cubicBezTo>
                  <a:pt x="93" y="464"/>
                  <a:pt x="82" y="448"/>
                  <a:pt x="74" y="431"/>
                </a:cubicBezTo>
                <a:cubicBezTo>
                  <a:pt x="0" y="269"/>
                  <a:pt x="197" y="109"/>
                  <a:pt x="226" y="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20" name="Conector reto 49">
            <a:extLst>
              <a:ext uri="{FF2B5EF4-FFF2-40B4-BE49-F238E27FC236}">
                <a16:creationId xmlns:a16="http://schemas.microsoft.com/office/drawing/2014/main" id="{1222E40B-9127-4795-B460-8EB662E6A22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id="{3DFEA158-193D-47B9-B294-6504F820B9A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57475225-8E50-4A7D-9053-16348D4D340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7" name="Freeform 57"/>
          <p:cNvSpPr>
            <a:spLocks/>
          </p:cNvSpPr>
          <p:nvPr userDrawn="1"/>
        </p:nvSpPr>
        <p:spPr bwMode="auto">
          <a:xfrm rot="17855275">
            <a:off x="-2851073" y="-471040"/>
            <a:ext cx="8104819" cy="5835277"/>
          </a:xfrm>
          <a:custGeom>
            <a:avLst/>
            <a:gdLst>
              <a:gd name="T0" fmla="*/ 718 w 718"/>
              <a:gd name="T1" fmla="*/ 281 h 517"/>
              <a:gd name="T2" fmla="*/ 513 w 718"/>
              <a:gd name="T3" fmla="*/ 474 h 517"/>
              <a:gd name="T4" fmla="*/ 403 w 718"/>
              <a:gd name="T5" fmla="*/ 0 h 517"/>
              <a:gd name="T6" fmla="*/ 718 w 718"/>
              <a:gd name="T7" fmla="*/ 0 h 517"/>
              <a:gd name="T8" fmla="*/ 718 w 718"/>
              <a:gd name="T9" fmla="*/ 281 h 517"/>
            </a:gdLst>
            <a:ahLst/>
            <a:cxnLst>
              <a:cxn ang="0">
                <a:pos x="T0" y="T1"/>
              </a:cxn>
              <a:cxn ang="0">
                <a:pos x="T2" y="T3"/>
              </a:cxn>
              <a:cxn ang="0">
                <a:pos x="T4" y="T5"/>
              </a:cxn>
              <a:cxn ang="0">
                <a:pos x="T6" y="T7"/>
              </a:cxn>
              <a:cxn ang="0">
                <a:pos x="T8" y="T9"/>
              </a:cxn>
            </a:cxnLst>
            <a:rect l="0" t="0" r="r" b="b"/>
            <a:pathLst>
              <a:path w="718" h="517">
                <a:moveTo>
                  <a:pt x="718" y="281"/>
                </a:moveTo>
                <a:cubicBezTo>
                  <a:pt x="718" y="281"/>
                  <a:pt x="654" y="517"/>
                  <a:pt x="513" y="474"/>
                </a:cubicBezTo>
                <a:cubicBezTo>
                  <a:pt x="555" y="320"/>
                  <a:pt x="0" y="325"/>
                  <a:pt x="403" y="0"/>
                </a:cubicBezTo>
                <a:cubicBezTo>
                  <a:pt x="718" y="0"/>
                  <a:pt x="718" y="0"/>
                  <a:pt x="718" y="0"/>
                </a:cubicBezTo>
                <a:lnTo>
                  <a:pt x="718" y="28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2" name="Conector reto 49">
            <a:extLst>
              <a:ext uri="{FF2B5EF4-FFF2-40B4-BE49-F238E27FC236}">
                <a16:creationId xmlns:a16="http://schemas.microsoft.com/office/drawing/2014/main" id="{B59012DC-4F8D-466B-A308-0D550C40D4C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id="{302193F5-845E-415B-B310-138DA74D58E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id="{4DD2A71D-AE56-4CB9-8870-CDC23C985DA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7973977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9586385B-ACE5-4E99-AC3D-B996C3DB80DC}"/>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9" name="Rectangle 27">
            <a:extLst>
              <a:ext uri="{FF2B5EF4-FFF2-40B4-BE49-F238E27FC236}">
                <a16:creationId xmlns:a16="http://schemas.microsoft.com/office/drawing/2014/main" id="{D0BE1A74-B036-4240-905B-CF65C62FA94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30" name="Retângulo 43">
            <a:extLst>
              <a:ext uri="{FF2B5EF4-FFF2-40B4-BE49-F238E27FC236}">
                <a16:creationId xmlns:a16="http://schemas.microsoft.com/office/drawing/2014/main" id="{844564C6-7CA2-4518-AB7B-24B5B92A3A13}"/>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sp>
        <p:nvSpPr>
          <p:cNvPr id="33" name="Freeform 57"/>
          <p:cNvSpPr>
            <a:spLocks/>
          </p:cNvSpPr>
          <p:nvPr userDrawn="1"/>
        </p:nvSpPr>
        <p:spPr bwMode="auto">
          <a:xfrm rot="360323" flipH="1">
            <a:off x="-1083588" y="-1185377"/>
            <a:ext cx="10918306" cy="7860920"/>
          </a:xfrm>
          <a:custGeom>
            <a:avLst/>
            <a:gdLst>
              <a:gd name="T0" fmla="*/ 718 w 718"/>
              <a:gd name="T1" fmla="*/ 281 h 517"/>
              <a:gd name="T2" fmla="*/ 513 w 718"/>
              <a:gd name="T3" fmla="*/ 474 h 517"/>
              <a:gd name="T4" fmla="*/ 403 w 718"/>
              <a:gd name="T5" fmla="*/ 0 h 517"/>
              <a:gd name="T6" fmla="*/ 718 w 718"/>
              <a:gd name="T7" fmla="*/ 0 h 517"/>
              <a:gd name="T8" fmla="*/ 718 w 718"/>
              <a:gd name="T9" fmla="*/ 281 h 517"/>
            </a:gdLst>
            <a:ahLst/>
            <a:cxnLst>
              <a:cxn ang="0">
                <a:pos x="T0" y="T1"/>
              </a:cxn>
              <a:cxn ang="0">
                <a:pos x="T2" y="T3"/>
              </a:cxn>
              <a:cxn ang="0">
                <a:pos x="T4" y="T5"/>
              </a:cxn>
              <a:cxn ang="0">
                <a:pos x="T6" y="T7"/>
              </a:cxn>
              <a:cxn ang="0">
                <a:pos x="T8" y="T9"/>
              </a:cxn>
            </a:cxnLst>
            <a:rect l="0" t="0" r="r" b="b"/>
            <a:pathLst>
              <a:path w="718" h="517">
                <a:moveTo>
                  <a:pt x="718" y="281"/>
                </a:moveTo>
                <a:cubicBezTo>
                  <a:pt x="718" y="281"/>
                  <a:pt x="654" y="517"/>
                  <a:pt x="513" y="474"/>
                </a:cubicBezTo>
                <a:cubicBezTo>
                  <a:pt x="555" y="320"/>
                  <a:pt x="0" y="325"/>
                  <a:pt x="403" y="0"/>
                </a:cubicBezTo>
                <a:cubicBezTo>
                  <a:pt x="718" y="0"/>
                  <a:pt x="718" y="0"/>
                  <a:pt x="718" y="0"/>
                </a:cubicBezTo>
                <a:lnTo>
                  <a:pt x="718" y="2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A1F85AC9-9984-4F10-B209-0EB4FAD58C61}"/>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id="{9C7942A0-C526-4DA6-AB88-0B2DDA8F985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494E97AD-55DF-49D5-8248-F3F0D676BBE4}"/>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id="{47D98455-8CDD-4DFA-ADB2-D078EEAF0E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Rectangle 27">
            <a:extLst>
              <a:ext uri="{FF2B5EF4-FFF2-40B4-BE49-F238E27FC236}">
                <a16:creationId xmlns:a16="http://schemas.microsoft.com/office/drawing/2014/main" id="{029E4273-A301-4D69-9FD0-940B771C4C8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id="{92331F92-7A47-4E33-B8E9-925E82AF90D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5" name="Freeform 73"/>
          <p:cNvSpPr>
            <a:spLocks/>
          </p:cNvSpPr>
          <p:nvPr userDrawn="1"/>
        </p:nvSpPr>
        <p:spPr bwMode="auto">
          <a:xfrm rot="13500000">
            <a:off x="10082250" y="-388249"/>
            <a:ext cx="5894924" cy="5805538"/>
          </a:xfrm>
          <a:custGeom>
            <a:avLst/>
            <a:gdLst>
              <a:gd name="T0" fmla="*/ 527 w 527"/>
              <a:gd name="T1" fmla="*/ 232 h 519"/>
              <a:gd name="T2" fmla="*/ 132 w 527"/>
              <a:gd name="T3" fmla="*/ 53 h 519"/>
              <a:gd name="T4" fmla="*/ 29 w 527"/>
              <a:gd name="T5" fmla="*/ 254 h 519"/>
              <a:gd name="T6" fmla="*/ 375 w 527"/>
              <a:gd name="T7" fmla="*/ 456 h 519"/>
              <a:gd name="T8" fmla="*/ 377 w 527"/>
              <a:gd name="T9" fmla="*/ 519 h 519"/>
              <a:gd name="T10" fmla="*/ 411 w 527"/>
              <a:gd name="T11" fmla="*/ 519 h 519"/>
              <a:gd name="T12" fmla="*/ 527 w 527"/>
              <a:gd name="T13" fmla="*/ 232 h 519"/>
            </a:gdLst>
            <a:ahLst/>
            <a:cxnLst>
              <a:cxn ang="0">
                <a:pos x="T0" y="T1"/>
              </a:cxn>
              <a:cxn ang="0">
                <a:pos x="T2" y="T3"/>
              </a:cxn>
              <a:cxn ang="0">
                <a:pos x="T4" y="T5"/>
              </a:cxn>
              <a:cxn ang="0">
                <a:pos x="T6" y="T7"/>
              </a:cxn>
              <a:cxn ang="0">
                <a:pos x="T8" y="T9"/>
              </a:cxn>
              <a:cxn ang="0">
                <a:pos x="T10" y="T11"/>
              </a:cxn>
              <a:cxn ang="0">
                <a:pos x="T12" y="T13"/>
              </a:cxn>
            </a:cxnLst>
            <a:rect l="0" t="0" r="r" b="b"/>
            <a:pathLst>
              <a:path w="527" h="519">
                <a:moveTo>
                  <a:pt x="527" y="232"/>
                </a:moveTo>
                <a:cubicBezTo>
                  <a:pt x="428" y="195"/>
                  <a:pt x="294" y="0"/>
                  <a:pt x="132" y="53"/>
                </a:cubicBezTo>
                <a:cubicBezTo>
                  <a:pt x="40" y="84"/>
                  <a:pt x="0" y="183"/>
                  <a:pt x="29" y="254"/>
                </a:cubicBezTo>
                <a:cubicBezTo>
                  <a:pt x="96" y="420"/>
                  <a:pt x="335" y="344"/>
                  <a:pt x="375" y="456"/>
                </a:cubicBezTo>
                <a:cubicBezTo>
                  <a:pt x="384" y="483"/>
                  <a:pt x="383" y="503"/>
                  <a:pt x="377" y="519"/>
                </a:cubicBezTo>
                <a:cubicBezTo>
                  <a:pt x="411" y="519"/>
                  <a:pt x="411" y="519"/>
                  <a:pt x="411" y="519"/>
                </a:cubicBezTo>
                <a:cubicBezTo>
                  <a:pt x="487" y="453"/>
                  <a:pt x="522" y="345"/>
                  <a:pt x="527" y="23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55" name="Rectangle 5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56" name="Rectangle 5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57" name="Rectangle 5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58" name="Rectangle 5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59" name="Rectangle 58"/>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60" name="Rectangle 59"/>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61" name="Rectangle 60"/>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62" name="Rectangle 61"/>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63" name="Rectangle 62"/>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64" name="Rectangle 63"/>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65" name="Rectangle 64"/>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66" name="Rectangle 65"/>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67" name="Rectangle 66"/>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68" name="Rectangle 67"/>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69" name="Rectangle 68"/>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70" name="Rectangle 69"/>
          <p:cNvSpPr/>
          <p:nvPr userDrawn="1"/>
        </p:nvSpPr>
        <p:spPr>
          <a:xfrm>
            <a:off x="14282011" y="3089930"/>
            <a:ext cx="595070" cy="621323"/>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71" name="Rectangle 70"/>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72" name="Rectangle 71"/>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73" name="Rectangle 72"/>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74" name="Rectangle 73"/>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75" name="Rectangle 74"/>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76" name="Rectangle 75"/>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cxnSp>
        <p:nvCxnSpPr>
          <p:cNvPr id="46" name="Conector reto 49">
            <a:extLst>
              <a:ext uri="{FF2B5EF4-FFF2-40B4-BE49-F238E27FC236}">
                <a16:creationId xmlns:a16="http://schemas.microsoft.com/office/drawing/2014/main" id="{EB1E7BE8-537F-4787-88F6-FD2B4C71B2FF}"/>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7" name="Rectangle 27">
            <a:extLst>
              <a:ext uri="{FF2B5EF4-FFF2-40B4-BE49-F238E27FC236}">
                <a16:creationId xmlns:a16="http://schemas.microsoft.com/office/drawing/2014/main" id="{840D9582-38B3-4252-961B-752780A48761}"/>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8" name="Retângulo 43">
            <a:extLst>
              <a:ext uri="{FF2B5EF4-FFF2-40B4-BE49-F238E27FC236}">
                <a16:creationId xmlns:a16="http://schemas.microsoft.com/office/drawing/2014/main" id="{D2569A3D-3F6C-493B-A48A-2774AADE22AB}"/>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9_Cover1">
    <p:bg>
      <p:bgPr>
        <a:solidFill>
          <a:schemeClr val="bg1"/>
        </a:solidFill>
        <a:effectLst/>
      </p:bgPr>
    </p:bg>
    <p:spTree>
      <p:nvGrpSpPr>
        <p:cNvPr id="1" name=""/>
        <p:cNvGrpSpPr/>
        <p:nvPr/>
      </p:nvGrpSpPr>
      <p:grpSpPr>
        <a:xfrm>
          <a:off x="0" y="0"/>
          <a:ext cx="0" cy="0"/>
          <a:chOff x="0" y="0"/>
          <a:chExt cx="0" cy="0"/>
        </a:xfrm>
      </p:grpSpPr>
      <p:pic>
        <p:nvPicPr>
          <p:cNvPr id="3" name="Picture 2" descr="A close up of a computer&#10;&#10;Description generated with high confidence">
            <a:extLst>
              <a:ext uri="{FF2B5EF4-FFF2-40B4-BE49-F238E27FC236}">
                <a16:creationId xmlns:a16="http://schemas.microsoft.com/office/drawing/2014/main" id="{134FA417-BCAD-4408-9607-CD85FC89A6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389" cy="6858000"/>
          </a:xfrm>
          <a:prstGeom prst="rect">
            <a:avLst/>
          </a:prstGeom>
        </p:spPr>
      </p:pic>
      <p:sp>
        <p:nvSpPr>
          <p:cNvPr id="11" name="Title 1"/>
          <p:cNvSpPr>
            <a:spLocks noGrp="1"/>
          </p:cNvSpPr>
          <p:nvPr>
            <p:ph type="ctrTitle" hasCustomPrompt="1"/>
          </p:nvPr>
        </p:nvSpPr>
        <p:spPr>
          <a:xfrm>
            <a:off x="407988" y="2427300"/>
            <a:ext cx="500221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290899"/>
            <a:ext cx="500221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Click to insert presenter, location, and date</a:t>
            </a:r>
          </a:p>
        </p:txBody>
      </p:sp>
      <p:pic>
        <p:nvPicPr>
          <p:cNvPr id="9"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7831" y="404813"/>
            <a:ext cx="2286000" cy="510013"/>
          </a:xfrm>
          <a:prstGeom prst="rect">
            <a:avLst/>
          </a:prstGeom>
        </p:spPr>
      </p:pic>
      <p:sp>
        <p:nvSpPr>
          <p:cNvPr id="2" name="Freeform: Shape 1">
            <a:extLst>
              <a:ext uri="{FF2B5EF4-FFF2-40B4-BE49-F238E27FC236}">
                <a16:creationId xmlns:a16="http://schemas.microsoft.com/office/drawing/2014/main" id="{C877FE1D-8411-487E-8153-E7DDD5F640E5}"/>
              </a:ext>
            </a:extLst>
          </p:cNvPr>
          <p:cNvSpPr/>
          <p:nvPr userDrawn="1"/>
        </p:nvSpPr>
        <p:spPr>
          <a:xfrm>
            <a:off x="4389120" y="4846320"/>
            <a:ext cx="2143760" cy="1971040"/>
          </a:xfrm>
          <a:custGeom>
            <a:avLst/>
            <a:gdLst>
              <a:gd name="connsiteX0" fmla="*/ 1960880 w 2235200"/>
              <a:gd name="connsiteY0" fmla="*/ 0 h 1971040"/>
              <a:gd name="connsiteX1" fmla="*/ 0 w 2235200"/>
              <a:gd name="connsiteY1" fmla="*/ 1524000 h 1971040"/>
              <a:gd name="connsiteX2" fmla="*/ 396240 w 2235200"/>
              <a:gd name="connsiteY2" fmla="*/ 1930400 h 1971040"/>
              <a:gd name="connsiteX3" fmla="*/ 731520 w 2235200"/>
              <a:gd name="connsiteY3" fmla="*/ 1971040 h 1971040"/>
              <a:gd name="connsiteX4" fmla="*/ 2235200 w 2235200"/>
              <a:gd name="connsiteY4" fmla="*/ 721360 h 1971040"/>
              <a:gd name="connsiteX5" fmla="*/ 1960880 w 2235200"/>
              <a:gd name="connsiteY5" fmla="*/ 0 h 1971040"/>
              <a:gd name="connsiteX0" fmla="*/ 1960880 w 2143760"/>
              <a:gd name="connsiteY0" fmla="*/ 0 h 1971040"/>
              <a:gd name="connsiteX1" fmla="*/ 0 w 2143760"/>
              <a:gd name="connsiteY1" fmla="*/ 1524000 h 1971040"/>
              <a:gd name="connsiteX2" fmla="*/ 396240 w 2143760"/>
              <a:gd name="connsiteY2" fmla="*/ 1930400 h 1971040"/>
              <a:gd name="connsiteX3" fmla="*/ 731520 w 2143760"/>
              <a:gd name="connsiteY3" fmla="*/ 1971040 h 1971040"/>
              <a:gd name="connsiteX4" fmla="*/ 2143760 w 2143760"/>
              <a:gd name="connsiteY4" fmla="*/ 731520 h 1971040"/>
              <a:gd name="connsiteX5" fmla="*/ 1960880 w 2143760"/>
              <a:gd name="connsiteY5" fmla="*/ 0 h 1971040"/>
              <a:gd name="connsiteX0" fmla="*/ 1960880 w 2143760"/>
              <a:gd name="connsiteY0" fmla="*/ 0 h 1971040"/>
              <a:gd name="connsiteX1" fmla="*/ 0 w 2143760"/>
              <a:gd name="connsiteY1" fmla="*/ 1524000 h 1971040"/>
              <a:gd name="connsiteX2" fmla="*/ 396240 w 2143760"/>
              <a:gd name="connsiteY2" fmla="*/ 1930400 h 1971040"/>
              <a:gd name="connsiteX3" fmla="*/ 731520 w 2143760"/>
              <a:gd name="connsiteY3" fmla="*/ 1971040 h 1971040"/>
              <a:gd name="connsiteX4" fmla="*/ 2143760 w 2143760"/>
              <a:gd name="connsiteY4" fmla="*/ 731520 h 1971040"/>
              <a:gd name="connsiteX5" fmla="*/ 1960880 w 2143760"/>
              <a:gd name="connsiteY5" fmla="*/ 0 h 197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3760" h="1971040">
                <a:moveTo>
                  <a:pt x="1960880" y="0"/>
                </a:moveTo>
                <a:lnTo>
                  <a:pt x="0" y="1524000"/>
                </a:lnTo>
                <a:lnTo>
                  <a:pt x="396240" y="1930400"/>
                </a:lnTo>
                <a:lnTo>
                  <a:pt x="731520" y="1971040"/>
                </a:lnTo>
                <a:cubicBezTo>
                  <a:pt x="1202267" y="1557867"/>
                  <a:pt x="1713653" y="1236133"/>
                  <a:pt x="2143760" y="731520"/>
                </a:cubicBezTo>
                <a:lnTo>
                  <a:pt x="1960880" y="0"/>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7614A6D-ACE4-400D-959F-382DCA80A4C3}"/>
              </a:ext>
            </a:extLst>
          </p:cNvPr>
          <p:cNvSpPr/>
          <p:nvPr userDrawn="1"/>
        </p:nvSpPr>
        <p:spPr>
          <a:xfrm rot="19287543">
            <a:off x="4290686" y="5897877"/>
            <a:ext cx="2486198" cy="339653"/>
          </a:xfrm>
          <a:prstGeom prst="rect">
            <a:avLst/>
          </a:prstGeom>
        </p:spPr>
        <p:txBody>
          <a:bodyPr wrap="none" lIns="0" tIns="0" rIns="0" bIns="0" anchor="t" anchorCtr="1">
            <a:prstTxWarp prst="textArchDown">
              <a:avLst/>
            </a:prstTxWarp>
            <a:noAutofit/>
          </a:bodyPr>
          <a:lstStyle/>
          <a:p>
            <a:pPr algn="ctr"/>
            <a:r>
              <a:rPr lang="en-US" sz="1400" b="1" dirty="0">
                <a:solidFill>
                  <a:schemeClr val="bg1"/>
                </a:solidFill>
                <a:effectLst/>
                <a:latin typeface="+mj-lt"/>
                <a:ea typeface="Calibri" panose="020F0502020204030204" pitchFamily="34" charset="0"/>
              </a:rPr>
              <a:t>INSIGHTS &amp; DATA</a:t>
            </a:r>
            <a:endParaRPr lang="en-US" sz="1400" b="1" dirty="0">
              <a:solidFill>
                <a:schemeClr val="bg1"/>
              </a:solidFill>
              <a:latin typeface="+mj-lt"/>
            </a:endParaRPr>
          </a:p>
        </p:txBody>
      </p:sp>
    </p:spTree>
    <p:extLst>
      <p:ext uri="{BB962C8B-B14F-4D97-AF65-F5344CB8AC3E}">
        <p14:creationId xmlns:p14="http://schemas.microsoft.com/office/powerpoint/2010/main" val="66035979"/>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0" name="Conector reto 49">
            <a:extLst>
              <a:ext uri="{FF2B5EF4-FFF2-40B4-BE49-F238E27FC236}">
                <a16:creationId xmlns:a16="http://schemas.microsoft.com/office/drawing/2014/main" id="{815BFE3A-D0CB-4C89-859A-F10C227EE1F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1" name="Rectangle 27">
            <a:extLst>
              <a:ext uri="{FF2B5EF4-FFF2-40B4-BE49-F238E27FC236}">
                <a16:creationId xmlns:a16="http://schemas.microsoft.com/office/drawing/2014/main" id="{00B9525E-9029-49AF-AEDC-4ED0AEA8F848}"/>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2" name="Retângulo 43">
            <a:extLst>
              <a:ext uri="{FF2B5EF4-FFF2-40B4-BE49-F238E27FC236}">
                <a16:creationId xmlns:a16="http://schemas.microsoft.com/office/drawing/2014/main" id="{0C3B0692-E2F6-480F-BD0C-800C0AB85518}"/>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45954EA-52BA-4993-88EC-DF18979BB835}"/>
              </a:ext>
            </a:extLst>
          </p:cNvPr>
          <p:cNvSpPr>
            <a:spLocks/>
          </p:cNvSpPr>
          <p:nvPr userDrawn="1"/>
        </p:nvSpPr>
        <p:spPr bwMode="auto">
          <a:xfrm>
            <a:off x="0" y="0"/>
            <a:ext cx="5942704" cy="6858000"/>
          </a:xfrm>
          <a:custGeom>
            <a:avLst/>
            <a:gdLst>
              <a:gd name="connsiteX0" fmla="*/ 0 w 5942704"/>
              <a:gd name="connsiteY0" fmla="*/ 0 h 6858000"/>
              <a:gd name="connsiteX1" fmla="*/ 1934853 w 5942704"/>
              <a:gd name="connsiteY1" fmla="*/ 0 h 6858000"/>
              <a:gd name="connsiteX2" fmla="*/ 2016936 w 5942704"/>
              <a:gd name="connsiteY2" fmla="*/ 210681 h 6858000"/>
              <a:gd name="connsiteX3" fmla="*/ 5381512 w 5942704"/>
              <a:gd name="connsiteY3" fmla="*/ 2418544 h 6858000"/>
              <a:gd name="connsiteX4" fmla="*/ 3847814 w 5942704"/>
              <a:gd name="connsiteY4" fmla="*/ 6821749 h 6858000"/>
              <a:gd name="connsiteX5" fmla="*/ 3794266 w 5942704"/>
              <a:gd name="connsiteY5" fmla="*/ 6858000 h 6858000"/>
              <a:gd name="connsiteX6" fmla="*/ 0 w 594270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8000">
                <a:moveTo>
                  <a:pt x="0" y="0"/>
                </a:moveTo>
                <a:lnTo>
                  <a:pt x="1934853" y="0"/>
                </a:lnTo>
                <a:lnTo>
                  <a:pt x="2016936" y="210681"/>
                </a:lnTo>
                <a:cubicBezTo>
                  <a:pt x="3206701" y="3025068"/>
                  <a:pt x="5838311" y="3712297"/>
                  <a:pt x="5381512" y="2418544"/>
                </a:cubicBezTo>
                <a:cubicBezTo>
                  <a:pt x="6127824" y="2700973"/>
                  <a:pt x="6548790" y="4891946"/>
                  <a:pt x="3847814" y="6821749"/>
                </a:cubicBezTo>
                <a:lnTo>
                  <a:pt x="3794266"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840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28613881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710694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A4F705-6FC6-49B9-B835-491CF3D856F8}"/>
              </a:ext>
            </a:extLst>
          </p:cNvPr>
          <p:cNvSpPr>
            <a:spLocks noGrp="1"/>
          </p:cNvSpPr>
          <p:nvPr>
            <p:ph type="dt" sz="half" idx="10"/>
          </p:nvPr>
        </p:nvSpPr>
        <p:spPr/>
        <p:txBody>
          <a:bodyPr/>
          <a:lstStyle/>
          <a:p>
            <a:fld id="{072BBE76-51EE-4C92-89FC-811C4B8C5C5A}" type="datetimeFigureOut">
              <a:rPr lang="de-DE" smtClean="0"/>
              <a:t>22.11.2019</a:t>
            </a:fld>
            <a:endParaRPr lang="de-DE"/>
          </a:p>
        </p:txBody>
      </p:sp>
      <p:sp>
        <p:nvSpPr>
          <p:cNvPr id="3" name="Footer Placeholder 2">
            <a:extLst>
              <a:ext uri="{FF2B5EF4-FFF2-40B4-BE49-F238E27FC236}">
                <a16:creationId xmlns:a16="http://schemas.microsoft.com/office/drawing/2014/main" id="{611C4941-525C-41CA-A756-84A14809301A}"/>
              </a:ext>
            </a:extLst>
          </p:cNvPr>
          <p:cNvSpPr>
            <a:spLocks noGrp="1"/>
          </p:cNvSpPr>
          <p:nvPr>
            <p:ph type="ftr" sz="quarter" idx="11"/>
          </p:nvPr>
        </p:nvSpPr>
        <p:spPr/>
        <p:txBody>
          <a:bodyPr/>
          <a:lstStyle/>
          <a:p>
            <a:endParaRPr lang="de-DE"/>
          </a:p>
        </p:txBody>
      </p:sp>
      <p:sp>
        <p:nvSpPr>
          <p:cNvPr id="4" name="Slide Number Placeholder 3">
            <a:extLst>
              <a:ext uri="{FF2B5EF4-FFF2-40B4-BE49-F238E27FC236}">
                <a16:creationId xmlns:a16="http://schemas.microsoft.com/office/drawing/2014/main" id="{7FBFB348-0282-4D2D-924E-548DBDE1CF6B}"/>
              </a:ext>
            </a:extLst>
          </p:cNvPr>
          <p:cNvSpPr>
            <a:spLocks noGrp="1"/>
          </p:cNvSpPr>
          <p:nvPr>
            <p:ph type="sldNum" sz="quarter" idx="12"/>
          </p:nvPr>
        </p:nvSpPr>
        <p:spPr/>
        <p:txBody>
          <a:bodyPr/>
          <a:lstStyle/>
          <a:p>
            <a:fld id="{30447009-BBBC-47EB-B574-E24E90FB33DE}" type="slidenum">
              <a:rPr lang="de-DE" smtClean="0"/>
              <a:t>‹#›</a:t>
            </a:fld>
            <a:endParaRPr lang="de-DE"/>
          </a:p>
        </p:txBody>
      </p:sp>
    </p:spTree>
    <p:extLst>
      <p:ext uri="{BB962C8B-B14F-4D97-AF65-F5344CB8AC3E}">
        <p14:creationId xmlns:p14="http://schemas.microsoft.com/office/powerpoint/2010/main" val="1111269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9058058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sp>
        <p:nvSpPr>
          <p:cNvPr id="23" name="Freeform 57"/>
          <p:cNvSpPr>
            <a:spLocks/>
          </p:cNvSpPr>
          <p:nvPr userDrawn="1"/>
        </p:nvSpPr>
        <p:spPr bwMode="auto">
          <a:xfrm rot="20236259" flipH="1">
            <a:off x="-2442171" y="-3599622"/>
            <a:ext cx="13266308" cy="9551426"/>
          </a:xfrm>
          <a:custGeom>
            <a:avLst/>
            <a:gdLst>
              <a:gd name="T0" fmla="*/ 718 w 718"/>
              <a:gd name="T1" fmla="*/ 281 h 517"/>
              <a:gd name="T2" fmla="*/ 513 w 718"/>
              <a:gd name="T3" fmla="*/ 474 h 517"/>
              <a:gd name="T4" fmla="*/ 403 w 718"/>
              <a:gd name="T5" fmla="*/ 0 h 517"/>
              <a:gd name="T6" fmla="*/ 718 w 718"/>
              <a:gd name="T7" fmla="*/ 0 h 517"/>
              <a:gd name="T8" fmla="*/ 718 w 718"/>
              <a:gd name="T9" fmla="*/ 281 h 517"/>
            </a:gdLst>
            <a:ahLst/>
            <a:cxnLst>
              <a:cxn ang="0">
                <a:pos x="T0" y="T1"/>
              </a:cxn>
              <a:cxn ang="0">
                <a:pos x="T2" y="T3"/>
              </a:cxn>
              <a:cxn ang="0">
                <a:pos x="T4" y="T5"/>
              </a:cxn>
              <a:cxn ang="0">
                <a:pos x="T6" y="T7"/>
              </a:cxn>
              <a:cxn ang="0">
                <a:pos x="T8" y="T9"/>
              </a:cxn>
            </a:cxnLst>
            <a:rect l="0" t="0" r="r" b="b"/>
            <a:pathLst>
              <a:path w="718" h="517">
                <a:moveTo>
                  <a:pt x="718" y="281"/>
                </a:moveTo>
                <a:cubicBezTo>
                  <a:pt x="718" y="281"/>
                  <a:pt x="654" y="517"/>
                  <a:pt x="513" y="474"/>
                </a:cubicBezTo>
                <a:cubicBezTo>
                  <a:pt x="555" y="320"/>
                  <a:pt x="0" y="325"/>
                  <a:pt x="403" y="0"/>
                </a:cubicBezTo>
                <a:cubicBezTo>
                  <a:pt x="718" y="0"/>
                  <a:pt x="718" y="0"/>
                  <a:pt x="718" y="0"/>
                </a:cubicBezTo>
                <a:lnTo>
                  <a:pt x="718" y="28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404813"/>
            <a:ext cx="12192000" cy="6453184"/>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D4AD8618-9464-4EC0-B29E-79B4AFC452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id="{A09A5417-ABF9-4F0E-A562-6A2E458A8750}"/>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5B800C84-6D1B-4912-A319-F1E00628B69D}"/>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23" name="Freeform 49"/>
          <p:cNvSpPr>
            <a:spLocks/>
          </p:cNvSpPr>
          <p:nvPr userDrawn="1"/>
        </p:nvSpPr>
        <p:spPr bwMode="auto">
          <a:xfrm rot="3189099" flipV="1">
            <a:off x="-482728" y="-3736650"/>
            <a:ext cx="8011922" cy="11522868"/>
          </a:xfrm>
          <a:custGeom>
            <a:avLst/>
            <a:gdLst>
              <a:gd name="T0" fmla="*/ 233 w 329"/>
              <a:gd name="T1" fmla="*/ 475 h 475"/>
              <a:gd name="T2" fmla="*/ 233 w 329"/>
              <a:gd name="T3" fmla="*/ 371 h 475"/>
              <a:gd name="T4" fmla="*/ 298 w 329"/>
              <a:gd name="T5" fmla="*/ 190 h 475"/>
              <a:gd name="T6" fmla="*/ 267 w 329"/>
              <a:gd name="T7" fmla="*/ 0 h 475"/>
              <a:gd name="T8" fmla="*/ 0 w 329"/>
              <a:gd name="T9" fmla="*/ 0 h 475"/>
              <a:gd name="T10" fmla="*/ 0 w 329"/>
              <a:gd name="T11" fmla="*/ 475 h 475"/>
              <a:gd name="T12" fmla="*/ 233 w 329"/>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329" h="475">
                <a:moveTo>
                  <a:pt x="233" y="475"/>
                </a:moveTo>
                <a:cubicBezTo>
                  <a:pt x="233" y="475"/>
                  <a:pt x="329" y="409"/>
                  <a:pt x="233" y="371"/>
                </a:cubicBezTo>
                <a:cubicBezTo>
                  <a:pt x="137" y="334"/>
                  <a:pt x="190" y="247"/>
                  <a:pt x="298" y="190"/>
                </a:cubicBezTo>
                <a:cubicBezTo>
                  <a:pt x="325" y="77"/>
                  <a:pt x="267" y="0"/>
                  <a:pt x="267" y="0"/>
                </a:cubicBezTo>
                <a:cubicBezTo>
                  <a:pt x="0" y="0"/>
                  <a:pt x="0" y="0"/>
                  <a:pt x="0" y="0"/>
                </a:cubicBezTo>
                <a:cubicBezTo>
                  <a:pt x="0" y="475"/>
                  <a:pt x="0" y="475"/>
                  <a:pt x="0" y="475"/>
                </a:cubicBezTo>
                <a:lnTo>
                  <a:pt x="233" y="47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2711624" y="-1"/>
            <a:ext cx="9480376"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sp>
        <p:nvSpPr>
          <p:cNvPr id="22" name="Freeform 73"/>
          <p:cNvSpPr>
            <a:spLocks/>
          </p:cNvSpPr>
          <p:nvPr userDrawn="1"/>
        </p:nvSpPr>
        <p:spPr bwMode="auto">
          <a:xfrm flipH="1">
            <a:off x="3886200" y="611"/>
            <a:ext cx="9698828" cy="9551763"/>
          </a:xfrm>
          <a:custGeom>
            <a:avLst/>
            <a:gdLst>
              <a:gd name="T0" fmla="*/ 527 w 527"/>
              <a:gd name="T1" fmla="*/ 232 h 519"/>
              <a:gd name="T2" fmla="*/ 132 w 527"/>
              <a:gd name="T3" fmla="*/ 53 h 519"/>
              <a:gd name="T4" fmla="*/ 29 w 527"/>
              <a:gd name="T5" fmla="*/ 254 h 519"/>
              <a:gd name="T6" fmla="*/ 375 w 527"/>
              <a:gd name="T7" fmla="*/ 456 h 519"/>
              <a:gd name="T8" fmla="*/ 377 w 527"/>
              <a:gd name="T9" fmla="*/ 519 h 519"/>
              <a:gd name="T10" fmla="*/ 411 w 527"/>
              <a:gd name="T11" fmla="*/ 519 h 519"/>
              <a:gd name="T12" fmla="*/ 527 w 527"/>
              <a:gd name="T13" fmla="*/ 232 h 519"/>
            </a:gdLst>
            <a:ahLst/>
            <a:cxnLst>
              <a:cxn ang="0">
                <a:pos x="T0" y="T1"/>
              </a:cxn>
              <a:cxn ang="0">
                <a:pos x="T2" y="T3"/>
              </a:cxn>
              <a:cxn ang="0">
                <a:pos x="T4" y="T5"/>
              </a:cxn>
              <a:cxn ang="0">
                <a:pos x="T6" y="T7"/>
              </a:cxn>
              <a:cxn ang="0">
                <a:pos x="T8" y="T9"/>
              </a:cxn>
              <a:cxn ang="0">
                <a:pos x="T10" y="T11"/>
              </a:cxn>
              <a:cxn ang="0">
                <a:pos x="T12" y="T13"/>
              </a:cxn>
            </a:cxnLst>
            <a:rect l="0" t="0" r="r" b="b"/>
            <a:pathLst>
              <a:path w="527" h="519">
                <a:moveTo>
                  <a:pt x="527" y="232"/>
                </a:moveTo>
                <a:cubicBezTo>
                  <a:pt x="428" y="195"/>
                  <a:pt x="294" y="0"/>
                  <a:pt x="132" y="53"/>
                </a:cubicBezTo>
                <a:cubicBezTo>
                  <a:pt x="40" y="84"/>
                  <a:pt x="0" y="183"/>
                  <a:pt x="29" y="254"/>
                </a:cubicBezTo>
                <a:cubicBezTo>
                  <a:pt x="96" y="420"/>
                  <a:pt x="335" y="344"/>
                  <a:pt x="375" y="456"/>
                </a:cubicBezTo>
                <a:cubicBezTo>
                  <a:pt x="384" y="483"/>
                  <a:pt x="383" y="503"/>
                  <a:pt x="377" y="519"/>
                </a:cubicBezTo>
                <a:cubicBezTo>
                  <a:pt x="411" y="519"/>
                  <a:pt x="411" y="519"/>
                  <a:pt x="411" y="519"/>
                </a:cubicBezTo>
                <a:cubicBezTo>
                  <a:pt x="487" y="453"/>
                  <a:pt x="522" y="345"/>
                  <a:pt x="527" y="23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45" name="Rectangle 4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46" name="Rectangle 4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47" name="Rectangle 4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48" name="Rectangle 4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49" name="Rectangle 48"/>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50" name="Rectangle 49"/>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51" name="Rectangle 50"/>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52" name="Rectangle 51"/>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53" name="Rectangle 52"/>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54" name="Rectangle 53"/>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55" name="Rectangle 54"/>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56" name="Rectangle 55"/>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57" name="Rectangle 56"/>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58" name="Rectangle 57"/>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59" name="Rectangle 58"/>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60" name="Rectangle 59"/>
          <p:cNvSpPr/>
          <p:nvPr userDrawn="1"/>
        </p:nvSpPr>
        <p:spPr>
          <a:xfrm>
            <a:off x="14282011" y="3089930"/>
            <a:ext cx="595070" cy="621323"/>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61" name="Rectangle 60"/>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62" name="Rectangle 61"/>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63" name="Rectangle 62"/>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64" name="Rectangle 63"/>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65" name="Rectangle 64"/>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66" name="Rectangle 65"/>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grpSp>
        <p:nvGrpSpPr>
          <p:cNvPr id="21" name="Group 20"/>
          <p:cNvGrpSpPr/>
          <p:nvPr userDrawn="1"/>
        </p:nvGrpSpPr>
        <p:grpSpPr>
          <a:xfrm>
            <a:off x="-8287378" y="-6098151"/>
            <a:ext cx="16513795" cy="18285344"/>
            <a:chOff x="6613525" y="3840163"/>
            <a:chExt cx="2116138" cy="2343150"/>
          </a:xfrm>
        </p:grpSpPr>
        <p:sp>
          <p:nvSpPr>
            <p:cNvPr id="22" name="Freeform 30"/>
            <p:cNvSpPr>
              <a:spLocks/>
            </p:cNvSpPr>
            <p:nvPr/>
          </p:nvSpPr>
          <p:spPr bwMode="auto">
            <a:xfrm>
              <a:off x="6613525" y="3840163"/>
              <a:ext cx="1889125" cy="2343150"/>
            </a:xfrm>
            <a:custGeom>
              <a:avLst/>
              <a:gdLst>
                <a:gd name="T0" fmla="*/ 432 w 501"/>
                <a:gd name="T1" fmla="*/ 340 h 622"/>
                <a:gd name="T2" fmla="*/ 430 w 501"/>
                <a:gd name="T3" fmla="*/ 227 h 622"/>
                <a:gd name="T4" fmla="*/ 420 w 501"/>
                <a:gd name="T5" fmla="*/ 221 h 622"/>
                <a:gd name="T6" fmla="*/ 162 w 501"/>
                <a:gd name="T7" fmla="*/ 0 h 622"/>
                <a:gd name="T8" fmla="*/ 0 w 501"/>
                <a:gd name="T9" fmla="*/ 0 h 622"/>
                <a:gd name="T10" fmla="*/ 0 w 501"/>
                <a:gd name="T11" fmla="*/ 601 h 622"/>
                <a:gd name="T12" fmla="*/ 309 w 501"/>
                <a:gd name="T13" fmla="*/ 596 h 622"/>
                <a:gd name="T14" fmla="*/ 284 w 501"/>
                <a:gd name="T15" fmla="*/ 539 h 622"/>
                <a:gd name="T16" fmla="*/ 432 w 501"/>
                <a:gd name="T17" fmla="*/ 3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1" h="622">
                  <a:moveTo>
                    <a:pt x="432" y="340"/>
                  </a:moveTo>
                  <a:cubicBezTo>
                    <a:pt x="501" y="280"/>
                    <a:pt x="452" y="240"/>
                    <a:pt x="430" y="227"/>
                  </a:cubicBezTo>
                  <a:cubicBezTo>
                    <a:pt x="426" y="225"/>
                    <a:pt x="423" y="223"/>
                    <a:pt x="420" y="221"/>
                  </a:cubicBezTo>
                  <a:cubicBezTo>
                    <a:pt x="276" y="150"/>
                    <a:pt x="162" y="102"/>
                    <a:pt x="162" y="0"/>
                  </a:cubicBezTo>
                  <a:cubicBezTo>
                    <a:pt x="0" y="0"/>
                    <a:pt x="0" y="0"/>
                    <a:pt x="0" y="0"/>
                  </a:cubicBezTo>
                  <a:cubicBezTo>
                    <a:pt x="0" y="601"/>
                    <a:pt x="0" y="601"/>
                    <a:pt x="0" y="601"/>
                  </a:cubicBezTo>
                  <a:cubicBezTo>
                    <a:pt x="0" y="601"/>
                    <a:pt x="174" y="622"/>
                    <a:pt x="309" y="596"/>
                  </a:cubicBezTo>
                  <a:cubicBezTo>
                    <a:pt x="297" y="582"/>
                    <a:pt x="288" y="563"/>
                    <a:pt x="284" y="539"/>
                  </a:cubicBezTo>
                  <a:cubicBezTo>
                    <a:pt x="273" y="442"/>
                    <a:pt x="344" y="416"/>
                    <a:pt x="432" y="34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1"/>
            <p:cNvSpPr>
              <a:spLocks/>
            </p:cNvSpPr>
            <p:nvPr/>
          </p:nvSpPr>
          <p:spPr bwMode="auto">
            <a:xfrm>
              <a:off x="7643813" y="4695825"/>
              <a:ext cx="1085850" cy="1390650"/>
            </a:xfrm>
            <a:custGeom>
              <a:avLst/>
              <a:gdLst>
                <a:gd name="T0" fmla="*/ 170 w 288"/>
                <a:gd name="T1" fmla="*/ 306 h 369"/>
                <a:gd name="T2" fmla="*/ 258 w 288"/>
                <a:gd name="T3" fmla="*/ 203 h 369"/>
                <a:gd name="T4" fmla="*/ 157 w 288"/>
                <a:gd name="T5" fmla="*/ 0 h 369"/>
                <a:gd name="T6" fmla="*/ 159 w 288"/>
                <a:gd name="T7" fmla="*/ 113 h 369"/>
                <a:gd name="T8" fmla="*/ 11 w 288"/>
                <a:gd name="T9" fmla="*/ 312 h 369"/>
                <a:gd name="T10" fmla="*/ 36 w 288"/>
                <a:gd name="T11" fmla="*/ 369 h 369"/>
                <a:gd name="T12" fmla="*/ 170 w 288"/>
                <a:gd name="T13" fmla="*/ 306 h 369"/>
              </a:gdLst>
              <a:ahLst/>
              <a:cxnLst>
                <a:cxn ang="0">
                  <a:pos x="T0" y="T1"/>
                </a:cxn>
                <a:cxn ang="0">
                  <a:pos x="T2" y="T3"/>
                </a:cxn>
                <a:cxn ang="0">
                  <a:pos x="T4" y="T5"/>
                </a:cxn>
                <a:cxn ang="0">
                  <a:pos x="T6" y="T7"/>
                </a:cxn>
                <a:cxn ang="0">
                  <a:pos x="T8" y="T9"/>
                </a:cxn>
                <a:cxn ang="0">
                  <a:pos x="T10" y="T11"/>
                </a:cxn>
                <a:cxn ang="0">
                  <a:pos x="T12" y="T13"/>
                </a:cxn>
              </a:cxnLst>
              <a:rect l="0" t="0" r="r" b="b"/>
              <a:pathLst>
                <a:path w="288" h="369">
                  <a:moveTo>
                    <a:pt x="170" y="306"/>
                  </a:moveTo>
                  <a:cubicBezTo>
                    <a:pt x="198" y="272"/>
                    <a:pt x="227" y="210"/>
                    <a:pt x="258" y="203"/>
                  </a:cubicBezTo>
                  <a:cubicBezTo>
                    <a:pt x="258" y="203"/>
                    <a:pt x="288" y="72"/>
                    <a:pt x="157" y="0"/>
                  </a:cubicBezTo>
                  <a:cubicBezTo>
                    <a:pt x="179" y="13"/>
                    <a:pt x="228" y="53"/>
                    <a:pt x="159" y="113"/>
                  </a:cubicBezTo>
                  <a:cubicBezTo>
                    <a:pt x="71" y="189"/>
                    <a:pt x="0" y="215"/>
                    <a:pt x="11" y="312"/>
                  </a:cubicBezTo>
                  <a:cubicBezTo>
                    <a:pt x="15" y="336"/>
                    <a:pt x="24" y="355"/>
                    <a:pt x="36" y="369"/>
                  </a:cubicBezTo>
                  <a:cubicBezTo>
                    <a:pt x="93" y="358"/>
                    <a:pt x="143" y="339"/>
                    <a:pt x="170" y="30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sp>
        <p:nvSpPr>
          <p:cNvPr id="30" name="Freeform 57"/>
          <p:cNvSpPr>
            <a:spLocks/>
          </p:cNvSpPr>
          <p:nvPr userDrawn="1"/>
        </p:nvSpPr>
        <p:spPr bwMode="auto">
          <a:xfrm>
            <a:off x="3275022" y="0"/>
            <a:ext cx="8951893" cy="6445150"/>
          </a:xfrm>
          <a:custGeom>
            <a:avLst/>
            <a:gdLst>
              <a:gd name="T0" fmla="*/ 718 w 718"/>
              <a:gd name="T1" fmla="*/ 281 h 517"/>
              <a:gd name="T2" fmla="*/ 513 w 718"/>
              <a:gd name="T3" fmla="*/ 474 h 517"/>
              <a:gd name="T4" fmla="*/ 403 w 718"/>
              <a:gd name="T5" fmla="*/ 0 h 517"/>
              <a:gd name="T6" fmla="*/ 718 w 718"/>
              <a:gd name="T7" fmla="*/ 0 h 517"/>
              <a:gd name="T8" fmla="*/ 718 w 718"/>
              <a:gd name="T9" fmla="*/ 281 h 517"/>
            </a:gdLst>
            <a:ahLst/>
            <a:cxnLst>
              <a:cxn ang="0">
                <a:pos x="T0" y="T1"/>
              </a:cxn>
              <a:cxn ang="0">
                <a:pos x="T2" y="T3"/>
              </a:cxn>
              <a:cxn ang="0">
                <a:pos x="T4" y="T5"/>
              </a:cxn>
              <a:cxn ang="0">
                <a:pos x="T6" y="T7"/>
              </a:cxn>
              <a:cxn ang="0">
                <a:pos x="T8" y="T9"/>
              </a:cxn>
            </a:cxnLst>
            <a:rect l="0" t="0" r="r" b="b"/>
            <a:pathLst>
              <a:path w="718" h="517">
                <a:moveTo>
                  <a:pt x="718" y="281"/>
                </a:moveTo>
                <a:cubicBezTo>
                  <a:pt x="718" y="281"/>
                  <a:pt x="654" y="517"/>
                  <a:pt x="513" y="474"/>
                </a:cubicBezTo>
                <a:cubicBezTo>
                  <a:pt x="555" y="320"/>
                  <a:pt x="0" y="325"/>
                  <a:pt x="403" y="0"/>
                </a:cubicBezTo>
                <a:cubicBezTo>
                  <a:pt x="718" y="0"/>
                  <a:pt x="718" y="0"/>
                  <a:pt x="718" y="0"/>
                </a:cubicBezTo>
                <a:lnTo>
                  <a:pt x="718" y="28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2" name="Conector reto 49">
            <a:extLst>
              <a:ext uri="{FF2B5EF4-FFF2-40B4-BE49-F238E27FC236}">
                <a16:creationId xmlns:a16="http://schemas.microsoft.com/office/drawing/2014/main" id="{018F4910-3D79-4976-87A4-98E154A1440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75D84E5C-5602-4EB5-BDE2-E980744CE9B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C9D8BFAF-D7A3-465E-B259-A2E702E47427}"/>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98078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1_Cover1">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man, sky, person, sitting&#10;&#10;Description generated with high confidence">
            <a:extLst>
              <a:ext uri="{FF2B5EF4-FFF2-40B4-BE49-F238E27FC236}">
                <a16:creationId xmlns:a16="http://schemas.microsoft.com/office/drawing/2014/main" id="{FD59CD19-85F9-44AE-8C84-4E4A2135D12D}"/>
              </a:ext>
            </a:extLst>
          </p:cNvPr>
          <p:cNvPicPr>
            <a:picLocks noChangeAspect="1"/>
          </p:cNvPicPr>
          <p:nvPr userDrawn="1"/>
        </p:nvPicPr>
        <p:blipFill>
          <a:blip r:embed="rId2">
            <a:extLst>
              <a:ext uri="{28A0092B-C50C-407E-A947-70E740481C1C}">
                <a14:useLocalDpi xmlns:a14="http://schemas.microsoft.com/office/drawing/2010/main" val="0"/>
              </a:ext>
            </a:extLst>
          </a:blip>
          <a:srcRect t="12302" r="18200"/>
          <a:stretch>
            <a:fillRect/>
          </a:stretch>
        </p:blipFill>
        <p:spPr>
          <a:xfrm>
            <a:off x="0" y="2"/>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0 w 12192000"/>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0" h="6857999">
                <a:moveTo>
                  <a:pt x="0" y="0"/>
                </a:moveTo>
                <a:lnTo>
                  <a:pt x="12192000" y="0"/>
                </a:lnTo>
                <a:lnTo>
                  <a:pt x="12192000" y="6857999"/>
                </a:lnTo>
                <a:lnTo>
                  <a:pt x="0" y="6857999"/>
                </a:lnTo>
                <a:close/>
              </a:path>
            </a:pathLst>
          </a:custGeom>
        </p:spPr>
      </p:pic>
      <p:sp>
        <p:nvSpPr>
          <p:cNvPr id="11" name="Title 1"/>
          <p:cNvSpPr>
            <a:spLocks noGrp="1"/>
          </p:cNvSpPr>
          <p:nvPr>
            <p:ph type="ctrTitle" hasCustomPrompt="1"/>
          </p:nvPr>
        </p:nvSpPr>
        <p:spPr>
          <a:xfrm>
            <a:off x="407988" y="1902384"/>
            <a:ext cx="500221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765983"/>
            <a:ext cx="500221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Click to insert presenter, location, </a:t>
            </a:r>
            <a:br>
              <a:rPr lang="en-US" dirty="0"/>
            </a:br>
            <a:r>
              <a:rPr lang="en-US" dirty="0"/>
              <a:t>and date</a:t>
            </a:r>
          </a:p>
        </p:txBody>
      </p:sp>
      <p:pic>
        <p:nvPicPr>
          <p:cNvPr id="9"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7831" y="404813"/>
            <a:ext cx="2286000" cy="510013"/>
          </a:xfrm>
          <a:prstGeom prst="rect">
            <a:avLst/>
          </a:prstGeom>
        </p:spPr>
      </p:pic>
      <p:sp>
        <p:nvSpPr>
          <p:cNvPr id="6" name="Freeform: Shape 5">
            <a:extLst>
              <a:ext uri="{FF2B5EF4-FFF2-40B4-BE49-F238E27FC236}">
                <a16:creationId xmlns:a16="http://schemas.microsoft.com/office/drawing/2014/main" id="{443CBBEF-9ED0-42BC-AC11-D1C99CCFA30E}"/>
              </a:ext>
            </a:extLst>
          </p:cNvPr>
          <p:cNvSpPr/>
          <p:nvPr userDrawn="1"/>
        </p:nvSpPr>
        <p:spPr>
          <a:xfrm>
            <a:off x="8315227" y="4478454"/>
            <a:ext cx="1737360" cy="2048256"/>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7360" h="2048256">
                <a:moveTo>
                  <a:pt x="0" y="1542288"/>
                </a:moveTo>
                <a:cubicBezTo>
                  <a:pt x="650240" y="1064768"/>
                  <a:pt x="1050544" y="568960"/>
                  <a:pt x="1511808" y="0"/>
                </a:cubicBezTo>
                <a:lnTo>
                  <a:pt x="1737360" y="182880"/>
                </a:lnTo>
                <a:lnTo>
                  <a:pt x="1676400" y="871728"/>
                </a:lnTo>
                <a:lnTo>
                  <a:pt x="256032" y="2048256"/>
                </a:lnTo>
                <a:lnTo>
                  <a:pt x="0" y="1542288"/>
                </a:lnTo>
                <a:close/>
              </a:path>
            </a:pathLst>
          </a:custGeom>
          <a:solidFill>
            <a:srgbClr val="1AA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3600740-B323-4559-A48E-4FD29FFF329D}"/>
              </a:ext>
            </a:extLst>
          </p:cNvPr>
          <p:cNvSpPr/>
          <p:nvPr userDrawn="1"/>
        </p:nvSpPr>
        <p:spPr>
          <a:xfrm rot="18646368">
            <a:off x="7408944" y="4738707"/>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1789121673"/>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1" name="Conector reto 49">
            <a:extLst>
              <a:ext uri="{FF2B5EF4-FFF2-40B4-BE49-F238E27FC236}">
                <a16:creationId xmlns:a16="http://schemas.microsoft.com/office/drawing/2014/main" id="{7B01D633-B1A5-489E-956B-6034B0CD485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extLst>
              <a:ext uri="{FF2B5EF4-FFF2-40B4-BE49-F238E27FC236}">
                <a16:creationId xmlns:a16="http://schemas.microsoft.com/office/drawing/2014/main" id="{ADF5AD96-DA82-4A3C-AC83-B58877FBB607}"/>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26815AEA-BD61-4359-ACD3-F9530F394AB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72663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Section Opener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4F27FFD-93AD-42EE-BB97-9FC5CA667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4800" y="1689755"/>
            <a:ext cx="8458200" cy="1182207"/>
          </a:xfrm>
          <a:prstGeom prst="rect">
            <a:avLst/>
          </a:prstGeom>
        </p:spPr>
        <p:txBody>
          <a:bodyPr anchor="ctr" anchorCtr="0">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8" name="Graphic 4">
            <a:extLst>
              <a:ext uri="{FF2B5EF4-FFF2-40B4-BE49-F238E27FC236}">
                <a16:creationId xmlns:a16="http://schemas.microsoft.com/office/drawing/2014/main" id="{A7AEEF80-BDB6-4067-A8D0-0741D7BBA2C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5" name="Freeform: Shape 4">
            <a:extLst>
              <a:ext uri="{FF2B5EF4-FFF2-40B4-BE49-F238E27FC236}">
                <a16:creationId xmlns:a16="http://schemas.microsoft.com/office/drawing/2014/main" id="{FF731544-E55B-4853-846F-011141C722B4}"/>
              </a:ext>
            </a:extLst>
          </p:cNvPr>
          <p:cNvSpPr/>
          <p:nvPr userDrawn="1"/>
        </p:nvSpPr>
        <p:spPr>
          <a:xfrm rot="790471">
            <a:off x="7800515" y="4718411"/>
            <a:ext cx="2079875" cy="2237681"/>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9875" h="2237681">
                <a:moveTo>
                  <a:pt x="0" y="1731713"/>
                </a:moveTo>
                <a:cubicBezTo>
                  <a:pt x="650240" y="1254193"/>
                  <a:pt x="1029703" y="669352"/>
                  <a:pt x="1490967" y="100392"/>
                </a:cubicBezTo>
                <a:lnTo>
                  <a:pt x="1856817" y="0"/>
                </a:lnTo>
                <a:lnTo>
                  <a:pt x="2079875" y="484628"/>
                </a:lnTo>
                <a:lnTo>
                  <a:pt x="256032" y="2237681"/>
                </a:lnTo>
                <a:lnTo>
                  <a:pt x="0" y="1731713"/>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F9EBF81-D281-450A-B035-A96F930D5F92}"/>
              </a:ext>
            </a:extLst>
          </p:cNvPr>
          <p:cNvSpPr/>
          <p:nvPr userDrawn="1"/>
        </p:nvSpPr>
        <p:spPr>
          <a:xfrm rot="19453922">
            <a:off x="6864298" y="5119794"/>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13876672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Section Opener1">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55BFB5-43DD-4B33-ADA7-042A633951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3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4800" y="4191000"/>
            <a:ext cx="8458200" cy="1182207"/>
          </a:xfrm>
          <a:prstGeom prst="rect">
            <a:avLst/>
          </a:prstGeom>
        </p:spPr>
        <p:txBody>
          <a:bodyPr anchor="ctr" anchorCtr="0">
            <a:normAutofit/>
          </a:bodyPr>
          <a:lstStyle>
            <a:lvl1pPr marL="0" indent="0" algn="l">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8" name="Graphic 4">
            <a:extLst>
              <a:ext uri="{FF2B5EF4-FFF2-40B4-BE49-F238E27FC236}">
                <a16:creationId xmlns:a16="http://schemas.microsoft.com/office/drawing/2014/main" id="{A7AEEF80-BDB6-4067-A8D0-0741D7BBA2C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5" name="Freeform: Shape 4">
            <a:extLst>
              <a:ext uri="{FF2B5EF4-FFF2-40B4-BE49-F238E27FC236}">
                <a16:creationId xmlns:a16="http://schemas.microsoft.com/office/drawing/2014/main" id="{AFB65237-0120-4945-8020-DAB6EE49FC37}"/>
              </a:ext>
            </a:extLst>
          </p:cNvPr>
          <p:cNvSpPr/>
          <p:nvPr userDrawn="1"/>
        </p:nvSpPr>
        <p:spPr>
          <a:xfrm rot="4961035">
            <a:off x="9166054" y="4311898"/>
            <a:ext cx="2355642" cy="2534825"/>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355642"/>
              <a:gd name="connsiteY0" fmla="*/ 1731713 h 2237681"/>
              <a:gd name="connsiteX1" fmla="*/ 1490967 w 2355642"/>
              <a:gd name="connsiteY1" fmla="*/ 100392 h 2237681"/>
              <a:gd name="connsiteX2" fmla="*/ 1856817 w 2355642"/>
              <a:gd name="connsiteY2" fmla="*/ 0 h 2237681"/>
              <a:gd name="connsiteX3" fmla="*/ 2355642 w 2355642"/>
              <a:gd name="connsiteY3" fmla="*/ 171757 h 2237681"/>
              <a:gd name="connsiteX4" fmla="*/ 256032 w 2355642"/>
              <a:gd name="connsiteY4" fmla="*/ 2237681 h 2237681"/>
              <a:gd name="connsiteX5" fmla="*/ 0 w 2355642"/>
              <a:gd name="connsiteY5" fmla="*/ 1731713 h 2237681"/>
              <a:gd name="connsiteX0" fmla="*/ 0 w 2355642"/>
              <a:gd name="connsiteY0" fmla="*/ 1731713 h 2237681"/>
              <a:gd name="connsiteX1" fmla="*/ 1490967 w 2355642"/>
              <a:gd name="connsiteY1" fmla="*/ 100392 h 2237681"/>
              <a:gd name="connsiteX2" fmla="*/ 1856817 w 2355642"/>
              <a:gd name="connsiteY2" fmla="*/ 0 h 2237681"/>
              <a:gd name="connsiteX3" fmla="*/ 2355642 w 2355642"/>
              <a:gd name="connsiteY3" fmla="*/ 171757 h 2237681"/>
              <a:gd name="connsiteX4" fmla="*/ 256032 w 2355642"/>
              <a:gd name="connsiteY4" fmla="*/ 2237681 h 2237681"/>
              <a:gd name="connsiteX5" fmla="*/ 0 w 2355642"/>
              <a:gd name="connsiteY5" fmla="*/ 1731713 h 2237681"/>
              <a:gd name="connsiteX0" fmla="*/ 0 w 2355642"/>
              <a:gd name="connsiteY0" fmla="*/ 1731713 h 2237681"/>
              <a:gd name="connsiteX1" fmla="*/ 1490967 w 2355642"/>
              <a:gd name="connsiteY1" fmla="*/ 100392 h 2237681"/>
              <a:gd name="connsiteX2" fmla="*/ 1856817 w 2355642"/>
              <a:gd name="connsiteY2" fmla="*/ 0 h 2237681"/>
              <a:gd name="connsiteX3" fmla="*/ 2355642 w 2355642"/>
              <a:gd name="connsiteY3" fmla="*/ 171757 h 2237681"/>
              <a:gd name="connsiteX4" fmla="*/ 256032 w 2355642"/>
              <a:gd name="connsiteY4" fmla="*/ 2237681 h 2237681"/>
              <a:gd name="connsiteX5" fmla="*/ 0 w 2355642"/>
              <a:gd name="connsiteY5" fmla="*/ 1731713 h 2237681"/>
              <a:gd name="connsiteX0" fmla="*/ 0 w 2355642"/>
              <a:gd name="connsiteY0" fmla="*/ 2028857 h 2534825"/>
              <a:gd name="connsiteX1" fmla="*/ 1490967 w 2355642"/>
              <a:gd name="connsiteY1" fmla="*/ 397536 h 2534825"/>
              <a:gd name="connsiteX2" fmla="*/ 1935941 w 2355642"/>
              <a:gd name="connsiteY2" fmla="*/ 0 h 2534825"/>
              <a:gd name="connsiteX3" fmla="*/ 2355642 w 2355642"/>
              <a:gd name="connsiteY3" fmla="*/ 468901 h 2534825"/>
              <a:gd name="connsiteX4" fmla="*/ 256032 w 2355642"/>
              <a:gd name="connsiteY4" fmla="*/ 2534825 h 2534825"/>
              <a:gd name="connsiteX5" fmla="*/ 0 w 2355642"/>
              <a:gd name="connsiteY5" fmla="*/ 2028857 h 253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5642" h="2534825">
                <a:moveTo>
                  <a:pt x="0" y="2028857"/>
                </a:moveTo>
                <a:cubicBezTo>
                  <a:pt x="650240" y="1551337"/>
                  <a:pt x="1029703" y="966496"/>
                  <a:pt x="1490967" y="397536"/>
                </a:cubicBezTo>
                <a:lnTo>
                  <a:pt x="1935941" y="0"/>
                </a:lnTo>
                <a:lnTo>
                  <a:pt x="2355642" y="468901"/>
                </a:lnTo>
                <a:cubicBezTo>
                  <a:pt x="1666597" y="1312583"/>
                  <a:pt x="652692" y="2452589"/>
                  <a:pt x="256032" y="2534825"/>
                </a:cubicBezTo>
                <a:lnTo>
                  <a:pt x="0" y="2028857"/>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38F5081-FB4F-491E-9B5B-E607994E247A}"/>
              </a:ext>
            </a:extLst>
          </p:cNvPr>
          <p:cNvSpPr/>
          <p:nvPr userDrawn="1"/>
        </p:nvSpPr>
        <p:spPr>
          <a:xfrm rot="2203129">
            <a:off x="8613946" y="5112505"/>
            <a:ext cx="3351333" cy="641845"/>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25447334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88F5A2-5D9C-4867-AE0E-5EA4D4E2BA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4800" y="1970202"/>
            <a:ext cx="6322243" cy="1182207"/>
          </a:xfrm>
          <a:prstGeom prst="rect">
            <a:avLst/>
          </a:prstGeom>
        </p:spPr>
        <p:txBody>
          <a:bodyPr anchor="ctr" anchorCtr="0">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8" name="Graphic 4">
            <a:extLst>
              <a:ext uri="{FF2B5EF4-FFF2-40B4-BE49-F238E27FC236}">
                <a16:creationId xmlns:a16="http://schemas.microsoft.com/office/drawing/2014/main" id="{A7AEEF80-BDB6-4067-A8D0-0741D7BBA2C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6" name="Freeform: Shape 5">
            <a:extLst>
              <a:ext uri="{FF2B5EF4-FFF2-40B4-BE49-F238E27FC236}">
                <a16:creationId xmlns:a16="http://schemas.microsoft.com/office/drawing/2014/main" id="{03768EAE-7402-47EA-BB8B-2FAFF663AC6A}"/>
              </a:ext>
            </a:extLst>
          </p:cNvPr>
          <p:cNvSpPr/>
          <p:nvPr userDrawn="1"/>
        </p:nvSpPr>
        <p:spPr>
          <a:xfrm rot="790471">
            <a:off x="7995535" y="4430403"/>
            <a:ext cx="2610295" cy="2405461"/>
          </a:xfrm>
          <a:custGeom>
            <a:avLst/>
            <a:gdLst>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1737360"/>
              <a:gd name="connsiteY0" fmla="*/ 1542288 h 2048256"/>
              <a:gd name="connsiteX1" fmla="*/ 1511808 w 1737360"/>
              <a:gd name="connsiteY1" fmla="*/ 0 h 2048256"/>
              <a:gd name="connsiteX2" fmla="*/ 1737360 w 1737360"/>
              <a:gd name="connsiteY2" fmla="*/ 182880 h 2048256"/>
              <a:gd name="connsiteX3" fmla="*/ 1676400 w 1737360"/>
              <a:gd name="connsiteY3" fmla="*/ 871728 h 2048256"/>
              <a:gd name="connsiteX4" fmla="*/ 256032 w 1737360"/>
              <a:gd name="connsiteY4" fmla="*/ 2048256 h 2048256"/>
              <a:gd name="connsiteX5" fmla="*/ 0 w 1737360"/>
              <a:gd name="connsiteY5" fmla="*/ 1542288 h 2048256"/>
              <a:gd name="connsiteX0" fmla="*/ 0 w 2079875"/>
              <a:gd name="connsiteY0" fmla="*/ 1542288 h 2048256"/>
              <a:gd name="connsiteX1" fmla="*/ 1511808 w 2079875"/>
              <a:gd name="connsiteY1" fmla="*/ 0 h 2048256"/>
              <a:gd name="connsiteX2" fmla="*/ 1737360 w 2079875"/>
              <a:gd name="connsiteY2" fmla="*/ 182880 h 2048256"/>
              <a:gd name="connsiteX3" fmla="*/ 2079875 w 2079875"/>
              <a:gd name="connsiteY3" fmla="*/ 295203 h 2048256"/>
              <a:gd name="connsiteX4" fmla="*/ 256032 w 2079875"/>
              <a:gd name="connsiteY4" fmla="*/ 2048256 h 2048256"/>
              <a:gd name="connsiteX5" fmla="*/ 0 w 2079875"/>
              <a:gd name="connsiteY5" fmla="*/ 1542288 h 2048256"/>
              <a:gd name="connsiteX0" fmla="*/ 0 w 2079875"/>
              <a:gd name="connsiteY0" fmla="*/ 1731713 h 2237681"/>
              <a:gd name="connsiteX1" fmla="*/ 1511808 w 2079875"/>
              <a:gd name="connsiteY1" fmla="*/ 189425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079875"/>
              <a:gd name="connsiteY0" fmla="*/ 1731713 h 2237681"/>
              <a:gd name="connsiteX1" fmla="*/ 1490967 w 2079875"/>
              <a:gd name="connsiteY1" fmla="*/ 100392 h 2237681"/>
              <a:gd name="connsiteX2" fmla="*/ 1856817 w 2079875"/>
              <a:gd name="connsiteY2" fmla="*/ 0 h 2237681"/>
              <a:gd name="connsiteX3" fmla="*/ 2079875 w 2079875"/>
              <a:gd name="connsiteY3" fmla="*/ 484628 h 2237681"/>
              <a:gd name="connsiteX4" fmla="*/ 256032 w 2079875"/>
              <a:gd name="connsiteY4" fmla="*/ 2237681 h 2237681"/>
              <a:gd name="connsiteX5" fmla="*/ 0 w 2079875"/>
              <a:gd name="connsiteY5" fmla="*/ 1731713 h 2237681"/>
              <a:gd name="connsiteX0" fmla="*/ 0 w 2610295"/>
              <a:gd name="connsiteY0" fmla="*/ 1731713 h 2237681"/>
              <a:gd name="connsiteX1" fmla="*/ 1490967 w 2610295"/>
              <a:gd name="connsiteY1" fmla="*/ 100392 h 2237681"/>
              <a:gd name="connsiteX2" fmla="*/ 1856817 w 2610295"/>
              <a:gd name="connsiteY2" fmla="*/ 0 h 2237681"/>
              <a:gd name="connsiteX3" fmla="*/ 2610295 w 2610295"/>
              <a:gd name="connsiteY3" fmla="*/ 610899 h 2237681"/>
              <a:gd name="connsiteX4" fmla="*/ 256032 w 2610295"/>
              <a:gd name="connsiteY4" fmla="*/ 2237681 h 2237681"/>
              <a:gd name="connsiteX5" fmla="*/ 0 w 2610295"/>
              <a:gd name="connsiteY5" fmla="*/ 1731713 h 2237681"/>
              <a:gd name="connsiteX0" fmla="*/ 0 w 2610295"/>
              <a:gd name="connsiteY0" fmla="*/ 1838658 h 2344626"/>
              <a:gd name="connsiteX1" fmla="*/ 1490967 w 2610295"/>
              <a:gd name="connsiteY1" fmla="*/ 207337 h 2344626"/>
              <a:gd name="connsiteX2" fmla="*/ 2447427 w 2610295"/>
              <a:gd name="connsiteY2" fmla="*/ 0 h 2344626"/>
              <a:gd name="connsiteX3" fmla="*/ 2610295 w 2610295"/>
              <a:gd name="connsiteY3" fmla="*/ 717844 h 2344626"/>
              <a:gd name="connsiteX4" fmla="*/ 256032 w 2610295"/>
              <a:gd name="connsiteY4" fmla="*/ 2344626 h 2344626"/>
              <a:gd name="connsiteX5" fmla="*/ 0 w 2610295"/>
              <a:gd name="connsiteY5" fmla="*/ 1838658 h 2344626"/>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 name="connsiteX0" fmla="*/ 0 w 2610295"/>
              <a:gd name="connsiteY0" fmla="*/ 1899493 h 2405461"/>
              <a:gd name="connsiteX1" fmla="*/ 2012533 w 2610295"/>
              <a:gd name="connsiteY1" fmla="*/ 0 h 2405461"/>
              <a:gd name="connsiteX2" fmla="*/ 2447427 w 2610295"/>
              <a:gd name="connsiteY2" fmla="*/ 60835 h 2405461"/>
              <a:gd name="connsiteX3" fmla="*/ 2610295 w 2610295"/>
              <a:gd name="connsiteY3" fmla="*/ 778679 h 2405461"/>
              <a:gd name="connsiteX4" fmla="*/ 256032 w 2610295"/>
              <a:gd name="connsiteY4" fmla="*/ 2405461 h 2405461"/>
              <a:gd name="connsiteX5" fmla="*/ 0 w 2610295"/>
              <a:gd name="connsiteY5" fmla="*/ 1899493 h 240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0295" h="2405461">
                <a:moveTo>
                  <a:pt x="0" y="1899493"/>
                </a:moveTo>
                <a:cubicBezTo>
                  <a:pt x="650240" y="1421973"/>
                  <a:pt x="1501806" y="580538"/>
                  <a:pt x="2012533" y="0"/>
                </a:cubicBezTo>
                <a:lnTo>
                  <a:pt x="2447427" y="60835"/>
                </a:lnTo>
                <a:lnTo>
                  <a:pt x="2610295" y="778679"/>
                </a:lnTo>
                <a:lnTo>
                  <a:pt x="256032" y="2405461"/>
                </a:lnTo>
                <a:lnTo>
                  <a:pt x="0" y="1899493"/>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1610ABF-3DD6-4338-B77A-7B3B84D8CDF4}"/>
              </a:ext>
            </a:extLst>
          </p:cNvPr>
          <p:cNvSpPr/>
          <p:nvPr userDrawn="1"/>
        </p:nvSpPr>
        <p:spPr>
          <a:xfrm rot="19858757">
            <a:off x="7067498" y="5038514"/>
            <a:ext cx="3351333" cy="801448"/>
          </a:xfrm>
          <a:prstGeom prst="rect">
            <a:avLst/>
          </a:prstGeom>
        </p:spPr>
        <p:txBody>
          <a:bodyPr wrap="none" lIns="0" tIns="0" rIns="0" bIns="0" anchor="t" anchorCtr="1">
            <a:prstTxWarp prst="textArchDown">
              <a:avLst/>
            </a:prstTxWarp>
            <a:noAutofit/>
          </a:bodyPr>
          <a:lstStyle/>
          <a:p>
            <a:pPr algn="ctr"/>
            <a:r>
              <a:rPr lang="en-US" sz="1600" b="1" dirty="0">
                <a:solidFill>
                  <a:schemeClr val="bg1"/>
                </a:solidFill>
                <a:effectLst/>
                <a:latin typeface="+mj-lt"/>
                <a:ea typeface="Calibri" panose="020F0502020204030204" pitchFamily="34" charset="0"/>
              </a:rPr>
              <a:t>INSIGHTS &amp; DATA</a:t>
            </a:r>
            <a:endParaRPr lang="en-US" sz="1600" b="1" dirty="0">
              <a:solidFill>
                <a:schemeClr val="bg1"/>
              </a:solidFill>
              <a:latin typeface="+mj-lt"/>
            </a:endParaRPr>
          </a:p>
        </p:txBody>
      </p:sp>
    </p:spTree>
    <p:extLst>
      <p:ext uri="{BB962C8B-B14F-4D97-AF65-F5344CB8AC3E}">
        <p14:creationId xmlns:p14="http://schemas.microsoft.com/office/powerpoint/2010/main" val="419145830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image" Target="../media/image3.sv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57.xml"/><Relationship Id="rId7" Type="http://schemas.openxmlformats.org/officeDocument/2006/relationships/theme" Target="../theme/theme4.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 Id="rId9"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816" r:id="rId1"/>
    <p:sldLayoutId id="2147483822" r:id="rId2"/>
    <p:sldLayoutId id="2147483826" r:id="rId3"/>
    <p:sldLayoutId id="2147483842" r:id="rId4"/>
    <p:sldLayoutId id="2147483844" r:id="rId5"/>
    <p:sldLayoutId id="2147483850" r:id="rId6"/>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830" r:id="rId1"/>
    <p:sldLayoutId id="2147483834" r:id="rId2"/>
    <p:sldLayoutId id="2147483837" r:id="rId3"/>
    <p:sldLayoutId id="2147483846" r:id="rId4"/>
    <p:sldLayoutId id="2147483848" r:id="rId5"/>
    <p:sldLayoutId id="2147483851"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4">
            <a:extLst>
              <a:ext uri="{96DAC541-7B7A-43D3-8B79-37D633B846F1}">
                <asvg:svgBlip xmlns:asvg="http://schemas.microsoft.com/office/drawing/2016/SVG/main" r:embed="rId4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userDrawn="1"/>
        </p:nvSpPr>
        <p:spPr>
          <a:xfrm>
            <a:off x="14282011" y="3089930"/>
            <a:ext cx="595070" cy="621323"/>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859" r:id="rId3"/>
    <p:sldLayoutId id="2147483672" r:id="rId4"/>
    <p:sldLayoutId id="2147483869" r:id="rId5"/>
    <p:sldLayoutId id="2147483856" r:id="rId6"/>
    <p:sldLayoutId id="2147483853" r:id="rId7"/>
    <p:sldLayoutId id="2147483860" r:id="rId8"/>
    <p:sldLayoutId id="2147483862" r:id="rId9"/>
    <p:sldLayoutId id="2147483863" r:id="rId10"/>
    <p:sldLayoutId id="2147483864" r:id="rId11"/>
    <p:sldLayoutId id="2147483865" r:id="rId12"/>
    <p:sldLayoutId id="2147483866" r:id="rId13"/>
    <p:sldLayoutId id="2147483867" r:id="rId14"/>
    <p:sldLayoutId id="2147483861" r:id="rId15"/>
    <p:sldLayoutId id="2147483854" r:id="rId16"/>
    <p:sldLayoutId id="2147483852" r:id="rId17"/>
    <p:sldLayoutId id="2147483855" r:id="rId18"/>
    <p:sldLayoutId id="2147483811" r:id="rId19"/>
    <p:sldLayoutId id="2147483870" r:id="rId20"/>
    <p:sldLayoutId id="2147483872" r:id="rId21"/>
    <p:sldLayoutId id="2147483871" r:id="rId22"/>
    <p:sldLayoutId id="2147483781" r:id="rId23"/>
    <p:sldLayoutId id="2147483780" r:id="rId24"/>
    <p:sldLayoutId id="2147483779" r:id="rId25"/>
    <p:sldLayoutId id="2147483778" r:id="rId26"/>
    <p:sldLayoutId id="2147483734" r:id="rId27"/>
    <p:sldLayoutId id="2147483735" r:id="rId28"/>
    <p:sldLayoutId id="2147483736" r:id="rId29"/>
    <p:sldLayoutId id="2147483785" r:id="rId30"/>
    <p:sldLayoutId id="2147483737" r:id="rId31"/>
    <p:sldLayoutId id="2147483738" r:id="rId32"/>
    <p:sldLayoutId id="2147483739" r:id="rId33"/>
    <p:sldLayoutId id="2147483740" r:id="rId34"/>
    <p:sldLayoutId id="2147483794" r:id="rId35"/>
    <p:sldLayoutId id="2147483793" r:id="rId36"/>
    <p:sldLayoutId id="2147483792" r:id="rId37"/>
    <p:sldLayoutId id="2147483787" r:id="rId38"/>
    <p:sldLayoutId id="2147483799" r:id="rId39"/>
    <p:sldLayoutId id="2147483874" r:id="rId40"/>
    <p:sldLayoutId id="2147483875" r:id="rId41"/>
    <p:sldLayoutId id="2147483876" r:id="rId42"/>
  </p:sldLayoutIdLst>
  <p:txStyles>
    <p:titleStyle>
      <a:lvl1pPr algn="l" defTabSz="914400" rtl="0" eaLnBrk="1" latinLnBrk="0" hangingPunct="1">
        <a:lnSpc>
          <a:spcPct val="90000"/>
        </a:lnSpc>
        <a:spcBef>
          <a:spcPct val="0"/>
        </a:spcBef>
        <a:buNone/>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2" name="Rectangle 31"/>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33" name="Rectangle 32"/>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34" name="Rectangle 33"/>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35" name="Rectangle 34"/>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36" name="Rectangle 35"/>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37" name="Rectangle 36"/>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38" name="Rectangle 37"/>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39" name="Rectangle 38"/>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40" name="Rectangle 39"/>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41" name="Rectangle 40"/>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42" name="Rectangle 41"/>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43" name="Rectangle 42"/>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44" name="Rectangle 43"/>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45" name="Rectangle 44"/>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46" name="Rectangle 45"/>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47" name="Rectangle 46"/>
          <p:cNvSpPr/>
          <p:nvPr userDrawn="1"/>
        </p:nvSpPr>
        <p:spPr>
          <a:xfrm>
            <a:off x="14282011" y="3089930"/>
            <a:ext cx="595070" cy="621323"/>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48" name="Rectangle 47"/>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49" name="Rectangle 48"/>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50" name="Rectangle 49"/>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51" name="Rectangle 50"/>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52" name="Rectangle 51"/>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53" name="Rectangle 52"/>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43" r:id="rId1"/>
    <p:sldLayoutId id="2147483812" r:id="rId2"/>
    <p:sldLayoutId id="2147483744" r:id="rId3"/>
    <p:sldLayoutId id="2147483745" r:id="rId4"/>
    <p:sldLayoutId id="2147483746" r:id="rId5"/>
    <p:sldLayoutId id="2147483747" r:id="rId6"/>
  </p:sldLayoutIdLst>
  <p:txStyles>
    <p:titleStyle>
      <a:lvl1pPr algn="l" defTabSz="914400" rtl="0" eaLnBrk="1" latinLnBrk="0" hangingPunct="1">
        <a:lnSpc>
          <a:spcPct val="90000"/>
        </a:lnSpc>
        <a:spcBef>
          <a:spcPct val="0"/>
        </a:spcBef>
        <a:buNone/>
        <a:defRPr kumimoji="0" lang="pt-PT" sz="2400" b="1" i="0" u="none" strike="noStrike" kern="1200" cap="none" spc="0" normalizeH="0" baseline="0" noProof="0" dirty="0">
          <a:ln>
            <a:noFill/>
          </a:ln>
          <a:solidFill>
            <a:schemeClr val="accent3"/>
          </a:solidFill>
          <a:effectLst/>
          <a:uLnTx/>
          <a:uFillTx/>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4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svg"/></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image" Target="../media/image40.png"/><Relationship Id="rId21" Type="http://schemas.openxmlformats.org/officeDocument/2006/relationships/image" Target="../media/image58.svg"/><Relationship Id="rId34" Type="http://schemas.openxmlformats.org/officeDocument/2006/relationships/image" Target="../media/image71.png"/><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svg"/><Relationship Id="rId25" Type="http://schemas.openxmlformats.org/officeDocument/2006/relationships/image" Target="../media/image62.svg"/><Relationship Id="rId33" Type="http://schemas.openxmlformats.org/officeDocument/2006/relationships/image" Target="../media/image70.svg"/><Relationship Id="rId2" Type="http://schemas.openxmlformats.org/officeDocument/2006/relationships/notesSlide" Target="../notesSlides/notesSlide4.xml"/><Relationship Id="rId16" Type="http://schemas.openxmlformats.org/officeDocument/2006/relationships/image" Target="../media/image53.png"/><Relationship Id="rId20" Type="http://schemas.openxmlformats.org/officeDocument/2006/relationships/image" Target="../media/image57.png"/><Relationship Id="rId29" Type="http://schemas.openxmlformats.org/officeDocument/2006/relationships/image" Target="../media/image66.svg"/><Relationship Id="rId1" Type="http://schemas.openxmlformats.org/officeDocument/2006/relationships/slideLayout" Target="../slideLayouts/slideLayout16.xml"/><Relationship Id="rId6" Type="http://schemas.openxmlformats.org/officeDocument/2006/relationships/image" Target="../media/image43.svg"/><Relationship Id="rId11" Type="http://schemas.openxmlformats.org/officeDocument/2006/relationships/image" Target="../media/image48.png"/><Relationship Id="rId24" Type="http://schemas.openxmlformats.org/officeDocument/2006/relationships/image" Target="../media/image61.png"/><Relationship Id="rId32" Type="http://schemas.openxmlformats.org/officeDocument/2006/relationships/image" Target="../media/image69.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svg"/><Relationship Id="rId28" Type="http://schemas.openxmlformats.org/officeDocument/2006/relationships/image" Target="../media/image65.png"/><Relationship Id="rId10" Type="http://schemas.openxmlformats.org/officeDocument/2006/relationships/image" Target="../media/image47.svg"/><Relationship Id="rId19" Type="http://schemas.openxmlformats.org/officeDocument/2006/relationships/image" Target="../media/image56.svg"/><Relationship Id="rId31" Type="http://schemas.openxmlformats.org/officeDocument/2006/relationships/image" Target="../media/image68.sv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 Id="rId22" Type="http://schemas.openxmlformats.org/officeDocument/2006/relationships/image" Target="../media/image59.png"/><Relationship Id="rId27" Type="http://schemas.openxmlformats.org/officeDocument/2006/relationships/image" Target="../media/image64.svg"/><Relationship Id="rId30" Type="http://schemas.openxmlformats.org/officeDocument/2006/relationships/image" Target="../media/image67.png"/><Relationship Id="rId35" Type="http://schemas.openxmlformats.org/officeDocument/2006/relationships/image" Target="../media/image72.svg"/></Relationships>
</file>

<file path=ppt/slides/_rels/slide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46.png"/><Relationship Id="rId3" Type="http://schemas.openxmlformats.org/officeDocument/2006/relationships/notesSlide" Target="../notesSlides/notesSlide5.xml"/><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slideLayout" Target="../slideLayouts/slideLayout52.xml"/><Relationship Id="rId1" Type="http://schemas.openxmlformats.org/officeDocument/2006/relationships/tags" Target="../tags/tag3.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sv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47.svg"/></Relationships>
</file>

<file path=ppt/slides/_rels/slide6.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78.png"/><Relationship Id="rId7"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53.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s>
</file>

<file path=ppt/slides/_rels/slide7.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3" Type="http://schemas.openxmlformats.org/officeDocument/2006/relationships/notesSlide" Target="../notesSlides/notesSlide7.xml"/><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103.png"/><Relationship Id="rId2" Type="http://schemas.openxmlformats.org/officeDocument/2006/relationships/slideLayout" Target="../slideLayouts/slideLayout54.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tags" Target="../tags/tag4.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sv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407988" y="2565078"/>
            <a:ext cx="5904036" cy="1223962"/>
          </a:xfrm>
        </p:spPr>
        <p:txBody>
          <a:bodyPr/>
          <a:lstStyle/>
          <a:p>
            <a:r>
              <a:rPr lang="en-US" sz="2000" dirty="0"/>
              <a:t>Semi-automated knowledge graph creation</a:t>
            </a:r>
            <a:br>
              <a:rPr lang="en-US" sz="2000" dirty="0"/>
            </a:br>
            <a:r>
              <a:rPr lang="en-US" sz="1800" dirty="0"/>
              <a:t>Overlaps between AI and Data Management</a:t>
            </a:r>
            <a:br>
              <a:rPr lang="en-US" sz="1800" dirty="0"/>
            </a:br>
            <a:br>
              <a:rPr lang="en-US" sz="2000" dirty="0"/>
            </a:br>
            <a:r>
              <a:rPr lang="en-US" sz="1800" dirty="0"/>
              <a:t>Data Management Community Call</a:t>
            </a:r>
          </a:p>
        </p:txBody>
      </p:sp>
      <p:sp>
        <p:nvSpPr>
          <p:cNvPr id="14" name="Subtitle 4"/>
          <p:cNvSpPr>
            <a:spLocks noGrp="1"/>
          </p:cNvSpPr>
          <p:nvPr>
            <p:ph type="subTitle" idx="1"/>
          </p:nvPr>
        </p:nvSpPr>
        <p:spPr>
          <a:xfrm>
            <a:off x="407988" y="4365277"/>
            <a:ext cx="5002212" cy="1223963"/>
          </a:xfrm>
        </p:spPr>
        <p:txBody>
          <a:bodyPr>
            <a:normAutofit/>
          </a:bodyPr>
          <a:lstStyle/>
          <a:p>
            <a:pPr lvl="0"/>
            <a:r>
              <a:rPr lang="en-US" sz="1400" dirty="0"/>
              <a:t>Tim Kettenacker</a:t>
            </a:r>
          </a:p>
          <a:p>
            <a:pPr lvl="0"/>
            <a:r>
              <a:rPr lang="en-US" sz="1400" dirty="0"/>
              <a:t>Gul </a:t>
            </a:r>
            <a:r>
              <a:rPr lang="en-US" sz="1400" dirty="0" err="1"/>
              <a:t>Jabeen</a:t>
            </a:r>
            <a:endParaRPr lang="en-US" sz="1400" dirty="0"/>
          </a:p>
          <a:p>
            <a:pPr lvl="0"/>
            <a:r>
              <a:rPr lang="en-US" sz="1400" dirty="0"/>
              <a:t>November 22</a:t>
            </a:r>
            <a:r>
              <a:rPr lang="en-US" sz="1400" baseline="30000" dirty="0"/>
              <a:t>nd</a:t>
            </a:r>
            <a:r>
              <a:rPr lang="en-US" sz="1400" dirty="0"/>
              <a:t> 2019</a:t>
            </a:r>
          </a:p>
        </p:txBody>
      </p:sp>
    </p:spTree>
    <p:extLst>
      <p:ext uri="{BB962C8B-B14F-4D97-AF65-F5344CB8AC3E}">
        <p14:creationId xmlns:p14="http://schemas.microsoft.com/office/powerpoint/2010/main" val="28329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F90D45-6C70-4A60-846A-DBB50340073A}"/>
              </a:ext>
            </a:extLst>
          </p:cNvPr>
          <p:cNvSpPr>
            <a:spLocks noGrp="1"/>
          </p:cNvSpPr>
          <p:nvPr>
            <p:ph type="body" sz="quarter" idx="36"/>
          </p:nvPr>
        </p:nvSpPr>
        <p:spPr>
          <a:xfrm>
            <a:off x="1596119" y="1607970"/>
            <a:ext cx="3887813" cy="524886"/>
          </a:xfrm>
        </p:spPr>
        <p:txBody>
          <a:bodyPr/>
          <a:lstStyle/>
          <a:p>
            <a:r>
              <a:rPr lang="de-DE" b="1" dirty="0">
                <a:solidFill>
                  <a:schemeClr val="bg1"/>
                </a:solidFill>
              </a:rPr>
              <a:t>Searchable by laymen terms</a:t>
            </a:r>
          </a:p>
        </p:txBody>
      </p:sp>
      <p:sp>
        <p:nvSpPr>
          <p:cNvPr id="8" name="Text Placeholder 7">
            <a:extLst>
              <a:ext uri="{FF2B5EF4-FFF2-40B4-BE49-F238E27FC236}">
                <a16:creationId xmlns:a16="http://schemas.microsoft.com/office/drawing/2014/main" id="{B93A89E5-A62F-4AEC-BA87-DCDA0BC06BE8}"/>
              </a:ext>
            </a:extLst>
          </p:cNvPr>
          <p:cNvSpPr>
            <a:spLocks noGrp="1"/>
          </p:cNvSpPr>
          <p:nvPr>
            <p:ph type="body" sz="quarter" idx="40"/>
          </p:nvPr>
        </p:nvSpPr>
        <p:spPr>
          <a:xfrm>
            <a:off x="1566415" y="3639070"/>
            <a:ext cx="2801393" cy="524886"/>
          </a:xfrm>
        </p:spPr>
        <p:txBody>
          <a:bodyPr/>
          <a:lstStyle/>
          <a:p>
            <a:r>
              <a:rPr lang="de-DE" b="1" dirty="0">
                <a:solidFill>
                  <a:schemeClr val="bg1"/>
                </a:solidFill>
              </a:rPr>
              <a:t>Easily extendable</a:t>
            </a:r>
          </a:p>
        </p:txBody>
      </p:sp>
      <p:sp>
        <p:nvSpPr>
          <p:cNvPr id="9" name="Text Placeholder 8">
            <a:extLst>
              <a:ext uri="{FF2B5EF4-FFF2-40B4-BE49-F238E27FC236}">
                <a16:creationId xmlns:a16="http://schemas.microsoft.com/office/drawing/2014/main" id="{474F77D9-EEE0-45DC-9018-6659263155A5}"/>
              </a:ext>
            </a:extLst>
          </p:cNvPr>
          <p:cNvSpPr>
            <a:spLocks noGrp="1"/>
          </p:cNvSpPr>
          <p:nvPr>
            <p:ph type="body" sz="quarter" idx="41"/>
          </p:nvPr>
        </p:nvSpPr>
        <p:spPr>
          <a:xfrm>
            <a:off x="1596119" y="2602024"/>
            <a:ext cx="3887813" cy="524886"/>
          </a:xfrm>
        </p:spPr>
        <p:txBody>
          <a:bodyPr/>
          <a:lstStyle/>
          <a:p>
            <a:r>
              <a:rPr lang="de-DE" b="1" dirty="0">
                <a:solidFill>
                  <a:schemeClr val="bg1"/>
                </a:solidFill>
              </a:rPr>
              <a:t>Information at the fingertips</a:t>
            </a:r>
          </a:p>
        </p:txBody>
      </p:sp>
      <p:sp>
        <p:nvSpPr>
          <p:cNvPr id="2" name="Title 1">
            <a:extLst>
              <a:ext uri="{FF2B5EF4-FFF2-40B4-BE49-F238E27FC236}">
                <a16:creationId xmlns:a16="http://schemas.microsoft.com/office/drawing/2014/main" id="{7AAE90D7-5D8B-489D-8CA5-341DAD88F178}"/>
              </a:ext>
            </a:extLst>
          </p:cNvPr>
          <p:cNvSpPr>
            <a:spLocks noGrp="1"/>
          </p:cNvSpPr>
          <p:nvPr>
            <p:ph type="title"/>
          </p:nvPr>
        </p:nvSpPr>
        <p:spPr>
          <a:xfrm>
            <a:off x="551384" y="563140"/>
            <a:ext cx="4932548" cy="863600"/>
          </a:xfrm>
        </p:spPr>
        <p:txBody>
          <a:bodyPr>
            <a:normAutofit/>
          </a:bodyPr>
          <a:lstStyle/>
          <a:p>
            <a:r>
              <a:rPr lang="pt-PT" sz="2000" dirty="0"/>
              <a:t>Promises of knowledge graphs ...</a:t>
            </a:r>
          </a:p>
        </p:txBody>
      </p:sp>
      <p:grpSp>
        <p:nvGrpSpPr>
          <p:cNvPr id="18" name="Group 17">
            <a:extLst>
              <a:ext uri="{FF2B5EF4-FFF2-40B4-BE49-F238E27FC236}">
                <a16:creationId xmlns:a16="http://schemas.microsoft.com/office/drawing/2014/main" id="{7022443D-0666-4202-91AA-65B818BC2AE3}"/>
              </a:ext>
            </a:extLst>
          </p:cNvPr>
          <p:cNvGrpSpPr/>
          <p:nvPr/>
        </p:nvGrpSpPr>
        <p:grpSpPr>
          <a:xfrm>
            <a:off x="755131" y="1561366"/>
            <a:ext cx="634560" cy="599554"/>
            <a:chOff x="7087039" y="1204685"/>
            <a:chExt cx="634560" cy="599554"/>
          </a:xfrm>
        </p:grpSpPr>
        <p:sp>
          <p:nvSpPr>
            <p:cNvPr id="10" name="Oval 20">
              <a:extLst>
                <a:ext uri="{FF2B5EF4-FFF2-40B4-BE49-F238E27FC236}">
                  <a16:creationId xmlns:a16="http://schemas.microsoft.com/office/drawing/2014/main" id="{1EA810CF-2B31-4A9C-B605-BF818AA9648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17" name="Graphic 16">
              <a:extLst>
                <a:ext uri="{FF2B5EF4-FFF2-40B4-BE49-F238E27FC236}">
                  <a16:creationId xmlns:a16="http://schemas.microsoft.com/office/drawing/2014/main" id="{DEC48A31-3CC1-4C6C-9875-69DA86479D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grpSp>
        <p:nvGrpSpPr>
          <p:cNvPr id="20" name="Group 19">
            <a:extLst>
              <a:ext uri="{FF2B5EF4-FFF2-40B4-BE49-F238E27FC236}">
                <a16:creationId xmlns:a16="http://schemas.microsoft.com/office/drawing/2014/main" id="{C44FD527-5B90-4FEB-B0CF-CC9895776D34}"/>
              </a:ext>
            </a:extLst>
          </p:cNvPr>
          <p:cNvGrpSpPr/>
          <p:nvPr/>
        </p:nvGrpSpPr>
        <p:grpSpPr>
          <a:xfrm>
            <a:off x="755131" y="2564690"/>
            <a:ext cx="634560" cy="599554"/>
            <a:chOff x="7087040" y="2057977"/>
            <a:chExt cx="634560" cy="599554"/>
          </a:xfrm>
        </p:grpSpPr>
        <p:sp>
          <p:nvSpPr>
            <p:cNvPr id="11" name="Oval 20">
              <a:extLst>
                <a:ext uri="{FF2B5EF4-FFF2-40B4-BE49-F238E27FC236}">
                  <a16:creationId xmlns:a16="http://schemas.microsoft.com/office/drawing/2014/main" id="{42AC5BAE-92E1-429B-8AB7-96FD4A200BE1}"/>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19" name="Graphic 18">
              <a:extLst>
                <a:ext uri="{FF2B5EF4-FFF2-40B4-BE49-F238E27FC236}">
                  <a16:creationId xmlns:a16="http://schemas.microsoft.com/office/drawing/2014/main" id="{71BD0536-CD41-4C03-91B6-D87F0DF671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2217198"/>
              <a:ext cx="281112" cy="281112"/>
            </a:xfrm>
            <a:prstGeom prst="rect">
              <a:avLst/>
            </a:prstGeom>
          </p:spPr>
        </p:pic>
      </p:grpSp>
      <p:grpSp>
        <p:nvGrpSpPr>
          <p:cNvPr id="22" name="Group 21">
            <a:extLst>
              <a:ext uri="{FF2B5EF4-FFF2-40B4-BE49-F238E27FC236}">
                <a16:creationId xmlns:a16="http://schemas.microsoft.com/office/drawing/2014/main" id="{F7BD4124-8E0F-402D-94CD-ADFE242E2307}"/>
              </a:ext>
            </a:extLst>
          </p:cNvPr>
          <p:cNvGrpSpPr/>
          <p:nvPr/>
        </p:nvGrpSpPr>
        <p:grpSpPr>
          <a:xfrm>
            <a:off x="755131" y="3567139"/>
            <a:ext cx="634560" cy="599554"/>
            <a:chOff x="7087040" y="2911269"/>
            <a:chExt cx="634560" cy="599554"/>
          </a:xfrm>
        </p:grpSpPr>
        <p:sp>
          <p:nvSpPr>
            <p:cNvPr id="12" name="Oval 20">
              <a:extLst>
                <a:ext uri="{FF2B5EF4-FFF2-40B4-BE49-F238E27FC236}">
                  <a16:creationId xmlns:a16="http://schemas.microsoft.com/office/drawing/2014/main" id="{AC7DBD34-4FD3-4596-A25F-A41C8C4D80CE}"/>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1" name="Graphic 20">
              <a:extLst>
                <a:ext uri="{FF2B5EF4-FFF2-40B4-BE49-F238E27FC236}">
                  <a16:creationId xmlns:a16="http://schemas.microsoft.com/office/drawing/2014/main" id="{B5F0A8BD-1F5D-43AB-9CD1-F467D5D546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070490"/>
              <a:ext cx="281112" cy="281112"/>
            </a:xfrm>
            <a:prstGeom prst="rect">
              <a:avLst/>
            </a:prstGeom>
          </p:spPr>
        </p:pic>
      </p:grpSp>
      <p:pic>
        <p:nvPicPr>
          <p:cNvPr id="40" name="Picture 39">
            <a:extLst>
              <a:ext uri="{FF2B5EF4-FFF2-40B4-BE49-F238E27FC236}">
                <a16:creationId xmlns:a16="http://schemas.microsoft.com/office/drawing/2014/main" id="{BB5CED81-D62B-44B2-8460-B6F638BE183E}"/>
              </a:ext>
            </a:extLst>
          </p:cNvPr>
          <p:cNvPicPr>
            <a:picLocks noChangeAspect="1"/>
          </p:cNvPicPr>
          <p:nvPr/>
        </p:nvPicPr>
        <p:blipFill>
          <a:blip r:embed="rId5"/>
          <a:stretch>
            <a:fillRect/>
          </a:stretch>
        </p:blipFill>
        <p:spPr>
          <a:xfrm>
            <a:off x="6238041" y="563140"/>
            <a:ext cx="5022104" cy="2824934"/>
          </a:xfrm>
          <a:prstGeom prst="rect">
            <a:avLst/>
          </a:prstGeom>
        </p:spPr>
      </p:pic>
      <p:pic>
        <p:nvPicPr>
          <p:cNvPr id="42" name="Picture 41">
            <a:extLst>
              <a:ext uri="{FF2B5EF4-FFF2-40B4-BE49-F238E27FC236}">
                <a16:creationId xmlns:a16="http://schemas.microsoft.com/office/drawing/2014/main" id="{421ABF7A-1C2D-44A5-AE20-FE6BCF079BAA}"/>
              </a:ext>
            </a:extLst>
          </p:cNvPr>
          <p:cNvPicPr>
            <a:picLocks noChangeAspect="1"/>
          </p:cNvPicPr>
          <p:nvPr/>
        </p:nvPicPr>
        <p:blipFill>
          <a:blip r:embed="rId6"/>
          <a:stretch>
            <a:fillRect/>
          </a:stretch>
        </p:blipFill>
        <p:spPr>
          <a:xfrm>
            <a:off x="2936651" y="4579481"/>
            <a:ext cx="2016224" cy="1668813"/>
          </a:xfrm>
          <a:prstGeom prst="rect">
            <a:avLst/>
          </a:prstGeom>
        </p:spPr>
      </p:pic>
      <p:grpSp>
        <p:nvGrpSpPr>
          <p:cNvPr id="43" name="Group 42">
            <a:extLst>
              <a:ext uri="{FF2B5EF4-FFF2-40B4-BE49-F238E27FC236}">
                <a16:creationId xmlns:a16="http://schemas.microsoft.com/office/drawing/2014/main" id="{85CF46CE-6A61-4164-BFB6-5819EDEC7002}"/>
              </a:ext>
            </a:extLst>
          </p:cNvPr>
          <p:cNvGrpSpPr/>
          <p:nvPr/>
        </p:nvGrpSpPr>
        <p:grpSpPr>
          <a:xfrm>
            <a:off x="5395891" y="4579481"/>
            <a:ext cx="634560" cy="599554"/>
            <a:chOff x="7087039" y="1204685"/>
            <a:chExt cx="634560" cy="599554"/>
          </a:xfrm>
        </p:grpSpPr>
        <p:sp>
          <p:nvSpPr>
            <p:cNvPr id="45" name="Oval 20">
              <a:extLst>
                <a:ext uri="{FF2B5EF4-FFF2-40B4-BE49-F238E27FC236}">
                  <a16:creationId xmlns:a16="http://schemas.microsoft.com/office/drawing/2014/main" id="{39314E8B-16D6-4FA7-85FC-45B14D3FBC3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6" name="Graphic 45">
              <a:extLst>
                <a:ext uri="{FF2B5EF4-FFF2-40B4-BE49-F238E27FC236}">
                  <a16:creationId xmlns:a16="http://schemas.microsoft.com/office/drawing/2014/main" id="{1109990C-C8FE-478D-8C22-44CE2EA7203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7" name="Text Placeholder 3">
            <a:extLst>
              <a:ext uri="{FF2B5EF4-FFF2-40B4-BE49-F238E27FC236}">
                <a16:creationId xmlns:a16="http://schemas.microsoft.com/office/drawing/2014/main" id="{0D0306C8-1F28-41D3-BEC4-61B2F955CC0C}"/>
              </a:ext>
            </a:extLst>
          </p:cNvPr>
          <p:cNvSpPr txBox="1">
            <a:spLocks/>
          </p:cNvSpPr>
          <p:nvPr/>
        </p:nvSpPr>
        <p:spPr>
          <a:xfrm>
            <a:off x="6238041" y="4579481"/>
            <a:ext cx="5186551" cy="599553"/>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Organizational adaption is slow, time consuming manual content generation</a:t>
            </a:r>
          </a:p>
        </p:txBody>
      </p:sp>
      <p:sp>
        <p:nvSpPr>
          <p:cNvPr id="48" name="Title 1">
            <a:extLst>
              <a:ext uri="{FF2B5EF4-FFF2-40B4-BE49-F238E27FC236}">
                <a16:creationId xmlns:a16="http://schemas.microsoft.com/office/drawing/2014/main" id="{5DAC29BB-51AF-4B4F-BD7E-5482B862F442}"/>
              </a:ext>
            </a:extLst>
          </p:cNvPr>
          <p:cNvSpPr txBox="1">
            <a:spLocks/>
          </p:cNvSpPr>
          <p:nvPr/>
        </p:nvSpPr>
        <p:spPr>
          <a:xfrm>
            <a:off x="5483932" y="3806132"/>
            <a:ext cx="4932548"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kumimoji="0" lang="pt-PT" sz="2400" b="1" i="0" u="none" strike="noStrike" kern="1200" cap="none" spc="0" normalizeH="0" baseline="0" noProof="0" dirty="0">
                <a:ln>
                  <a:noFill/>
                </a:ln>
                <a:solidFill>
                  <a:schemeClr val="bg1"/>
                </a:solidFill>
                <a:effectLst/>
                <a:uLnTx/>
                <a:uFillTx/>
                <a:latin typeface="+mj-lt"/>
                <a:ea typeface="+mj-ea"/>
                <a:cs typeface="+mj-cs"/>
              </a:defRPr>
            </a:lvl1pPr>
          </a:lstStyle>
          <a:p>
            <a:r>
              <a:rPr lang="de-DE" sz="2000" dirty="0">
                <a:solidFill>
                  <a:schemeClr val="tx1"/>
                </a:solidFill>
              </a:rPr>
              <a:t>… and implementation reality</a:t>
            </a:r>
          </a:p>
        </p:txBody>
      </p:sp>
      <p:grpSp>
        <p:nvGrpSpPr>
          <p:cNvPr id="49" name="Group 48">
            <a:extLst>
              <a:ext uri="{FF2B5EF4-FFF2-40B4-BE49-F238E27FC236}">
                <a16:creationId xmlns:a16="http://schemas.microsoft.com/office/drawing/2014/main" id="{7D9A90AE-CB39-49BC-A975-AAF1F4574E9A}"/>
              </a:ext>
            </a:extLst>
          </p:cNvPr>
          <p:cNvGrpSpPr/>
          <p:nvPr/>
        </p:nvGrpSpPr>
        <p:grpSpPr>
          <a:xfrm>
            <a:off x="5395891" y="5522749"/>
            <a:ext cx="634560" cy="599554"/>
            <a:chOff x="7087039" y="1204685"/>
            <a:chExt cx="634560" cy="599554"/>
          </a:xfrm>
        </p:grpSpPr>
        <p:sp>
          <p:nvSpPr>
            <p:cNvPr id="50" name="Oval 20">
              <a:extLst>
                <a:ext uri="{FF2B5EF4-FFF2-40B4-BE49-F238E27FC236}">
                  <a16:creationId xmlns:a16="http://schemas.microsoft.com/office/drawing/2014/main" id="{C75D44EE-8BC1-48D4-A050-A5712A990234}"/>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51" name="Graphic 50">
              <a:extLst>
                <a:ext uri="{FF2B5EF4-FFF2-40B4-BE49-F238E27FC236}">
                  <a16:creationId xmlns:a16="http://schemas.microsoft.com/office/drawing/2014/main" id="{D07C8669-A906-47D4-9200-44F9ED1408C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52" name="Text Placeholder 3">
            <a:extLst>
              <a:ext uri="{FF2B5EF4-FFF2-40B4-BE49-F238E27FC236}">
                <a16:creationId xmlns:a16="http://schemas.microsoft.com/office/drawing/2014/main" id="{444E5C36-F808-4427-9A5E-9874A802B718}"/>
              </a:ext>
            </a:extLst>
          </p:cNvPr>
          <p:cNvSpPr txBox="1">
            <a:spLocks/>
          </p:cNvSpPr>
          <p:nvPr/>
        </p:nvSpPr>
        <p:spPr>
          <a:xfrm>
            <a:off x="6238041" y="5522749"/>
            <a:ext cx="5186551" cy="599553"/>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Time intense tasks should be speed up, but not at the expense of quality</a:t>
            </a:r>
            <a:endParaRPr lang="de-DE" b="1" dirty="0"/>
          </a:p>
        </p:txBody>
      </p:sp>
    </p:spTree>
    <p:extLst>
      <p:ext uri="{BB962C8B-B14F-4D97-AF65-F5344CB8AC3E}">
        <p14:creationId xmlns:p14="http://schemas.microsoft.com/office/powerpoint/2010/main" val="1533903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mph" presetSubtype="2" fill="hold" nodeType="clickEffect">
                                  <p:stCondLst>
                                    <p:cond delay="0"/>
                                  </p:stCondLst>
                                  <p:childTnLst>
                                    <p:animClr clrSpc="rgb" dir="cw">
                                      <p:cBhvr>
                                        <p:cTn id="20" dur="2000" fill="hold"/>
                                        <p:tgtEl>
                                          <p:spTgt spid="52"/>
                                        </p:tgtEl>
                                        <p:attrNameLst>
                                          <p:attrName>fillcolor</p:attrName>
                                        </p:attrNameLst>
                                      </p:cBhvr>
                                      <p:to>
                                        <a:schemeClr val="accent2"/>
                                      </p:to>
                                    </p:animClr>
                                    <p:set>
                                      <p:cBhvr>
                                        <p:cTn id="21" dur="2000" fill="hold"/>
                                        <p:tgtEl>
                                          <p:spTgt spid="52"/>
                                        </p:tgtEl>
                                        <p:attrNameLst>
                                          <p:attrName>fill.type</p:attrName>
                                        </p:attrNameLst>
                                      </p:cBhvr>
                                      <p:to>
                                        <p:strVal val="solid"/>
                                      </p:to>
                                    </p:set>
                                    <p:set>
                                      <p:cBhvr>
                                        <p:cTn id="22" dur="2000" fill="hold"/>
                                        <p:tgtEl>
                                          <p:spTgt spid="5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8" grpId="0"/>
      <p:bldP spid="5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2A89583-44EA-4D80-A9DA-E077483CD3BA}"/>
              </a:ext>
            </a:extLst>
          </p:cNvPr>
          <p:cNvSpPr/>
          <p:nvPr/>
        </p:nvSpPr>
        <p:spPr>
          <a:xfrm>
            <a:off x="9552384" y="5589240"/>
            <a:ext cx="1289822" cy="1258116"/>
          </a:xfrm>
          <a:prstGeom prst="ellipse">
            <a:avLst/>
          </a:prstGeom>
          <a:solidFill>
            <a:schemeClr val="accent5">
              <a:lumMod val="60000"/>
              <a:lumOff val="40000"/>
            </a:schemeClr>
          </a:solidFill>
          <a:ln>
            <a:solidFill>
              <a:schemeClr val="accent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900" dirty="0">
                <a:ln w="0"/>
                <a:solidFill>
                  <a:schemeClr val="tx1"/>
                </a:solidFill>
                <a:effectLst>
                  <a:outerShdw blurRad="38100" dist="19050" dir="2700000" algn="tl" rotWithShape="0">
                    <a:schemeClr val="dk1">
                      <a:alpha val="40000"/>
                    </a:schemeClr>
                  </a:outerShdw>
                </a:effectLst>
              </a:rPr>
              <a:t>Data Governance</a:t>
            </a:r>
          </a:p>
        </p:txBody>
      </p:sp>
      <p:sp>
        <p:nvSpPr>
          <p:cNvPr id="24" name="Oval 23">
            <a:extLst>
              <a:ext uri="{FF2B5EF4-FFF2-40B4-BE49-F238E27FC236}">
                <a16:creationId xmlns:a16="http://schemas.microsoft.com/office/drawing/2014/main" id="{539DA36F-9E14-4296-A32B-9EA58806E6FB}"/>
              </a:ext>
            </a:extLst>
          </p:cNvPr>
          <p:cNvSpPr/>
          <p:nvPr/>
        </p:nvSpPr>
        <p:spPr>
          <a:xfrm>
            <a:off x="9115120" y="3356992"/>
            <a:ext cx="1147872" cy="1085688"/>
          </a:xfrm>
          <a:prstGeom prst="ellipse">
            <a:avLst/>
          </a:prstGeom>
          <a:solidFill>
            <a:schemeClr val="accent5">
              <a:lumMod val="60000"/>
              <a:lumOff val="40000"/>
            </a:schemeClr>
          </a:solidFill>
          <a:ln>
            <a:solidFill>
              <a:schemeClr val="accent6"/>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900" dirty="0">
                <a:ln w="0"/>
                <a:solidFill>
                  <a:schemeClr val="tx1"/>
                </a:solidFill>
                <a:effectLst>
                  <a:outerShdw blurRad="38100" dist="19050" dir="2700000" algn="tl" rotWithShape="0">
                    <a:schemeClr val="dk1">
                      <a:alpha val="40000"/>
                    </a:schemeClr>
                  </a:outerShdw>
                </a:effectLst>
              </a:rPr>
              <a:t>Ontology Creation</a:t>
            </a: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28335" y="619730"/>
            <a:ext cx="11520660" cy="865054"/>
          </a:xfrm>
        </p:spPr>
        <p:txBody>
          <a:bodyPr/>
          <a:lstStyle/>
          <a:p>
            <a:pPr algn="ctr"/>
            <a:r>
              <a:rPr lang="en-US" dirty="0"/>
              <a:t>NLP speeds up the (mostly tedious) creation of a knowledge graph</a:t>
            </a:r>
            <a:endParaRPr lang="pt-PT" dirty="0"/>
          </a:p>
        </p:txBody>
      </p:sp>
      <p:pic>
        <p:nvPicPr>
          <p:cNvPr id="2" name="Picture 1">
            <a:extLst>
              <a:ext uri="{FF2B5EF4-FFF2-40B4-BE49-F238E27FC236}">
                <a16:creationId xmlns:a16="http://schemas.microsoft.com/office/drawing/2014/main" id="{9C8CBED5-2CB6-4543-BFF4-1855FAD04E47}"/>
              </a:ext>
            </a:extLst>
          </p:cNvPr>
          <p:cNvPicPr>
            <a:picLocks noChangeAspect="1"/>
          </p:cNvPicPr>
          <p:nvPr/>
        </p:nvPicPr>
        <p:blipFill>
          <a:blip r:embed="rId3"/>
          <a:stretch>
            <a:fillRect/>
          </a:stretch>
        </p:blipFill>
        <p:spPr>
          <a:xfrm>
            <a:off x="6059597" y="1206449"/>
            <a:ext cx="5700992" cy="2078535"/>
          </a:xfrm>
          <a:prstGeom prst="rect">
            <a:avLst/>
          </a:prstGeom>
        </p:spPr>
      </p:pic>
      <p:sp>
        <p:nvSpPr>
          <p:cNvPr id="6" name="Rectangle 5">
            <a:extLst>
              <a:ext uri="{FF2B5EF4-FFF2-40B4-BE49-F238E27FC236}">
                <a16:creationId xmlns:a16="http://schemas.microsoft.com/office/drawing/2014/main" id="{7A43F31C-1664-49DA-9DC9-1F346A5770D3}"/>
              </a:ext>
            </a:extLst>
          </p:cNvPr>
          <p:cNvSpPr/>
          <p:nvPr/>
        </p:nvSpPr>
        <p:spPr>
          <a:xfrm>
            <a:off x="695400" y="1340768"/>
            <a:ext cx="4608512" cy="1944216"/>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Usually, companies already have written down their domain knowledge in one way or the other:</a:t>
            </a:r>
          </a:p>
          <a:p>
            <a:pPr algn="ctr"/>
            <a:endParaRPr lang="de-DE" sz="1200" dirty="0">
              <a:solidFill>
                <a:schemeClr val="tx1"/>
              </a:solidFill>
            </a:endParaRPr>
          </a:p>
          <a:p>
            <a:pPr marL="171450" indent="-171450" algn="ctr">
              <a:buFontTx/>
              <a:buChar char="-"/>
            </a:pPr>
            <a:r>
              <a:rPr lang="de-DE" sz="1200" dirty="0">
                <a:solidFill>
                  <a:schemeClr val="tx1"/>
                </a:solidFill>
              </a:rPr>
              <a:t>Confluence </a:t>
            </a:r>
          </a:p>
          <a:p>
            <a:pPr marL="171450" indent="-171450" algn="ctr">
              <a:buFontTx/>
              <a:buChar char="-"/>
            </a:pPr>
            <a:r>
              <a:rPr lang="de-DE" sz="1200" dirty="0">
                <a:solidFill>
                  <a:schemeClr val="tx1"/>
                </a:solidFill>
              </a:rPr>
              <a:t>Jira</a:t>
            </a:r>
          </a:p>
          <a:p>
            <a:pPr marL="171450" indent="-171450" algn="ctr">
              <a:buFontTx/>
              <a:buChar char="-"/>
            </a:pPr>
            <a:r>
              <a:rPr lang="de-DE" sz="1200" dirty="0">
                <a:solidFill>
                  <a:schemeClr val="tx1"/>
                </a:solidFill>
              </a:rPr>
              <a:t>Plain old word document</a:t>
            </a:r>
          </a:p>
          <a:p>
            <a:pPr marL="171450" indent="-171450" algn="ctr">
              <a:buFontTx/>
              <a:buChar char="-"/>
            </a:pPr>
            <a:r>
              <a:rPr lang="de-DE" sz="1200" dirty="0">
                <a:solidFill>
                  <a:schemeClr val="tx1"/>
                </a:solidFill>
              </a:rPr>
              <a:t>…</a:t>
            </a:r>
          </a:p>
        </p:txBody>
      </p:sp>
      <p:sp>
        <p:nvSpPr>
          <p:cNvPr id="19" name="Oval 18">
            <a:extLst>
              <a:ext uri="{FF2B5EF4-FFF2-40B4-BE49-F238E27FC236}">
                <a16:creationId xmlns:a16="http://schemas.microsoft.com/office/drawing/2014/main" id="{BBBED647-85D8-4E58-B72C-A8D11F7509EC}"/>
              </a:ext>
            </a:extLst>
          </p:cNvPr>
          <p:cNvSpPr/>
          <p:nvPr/>
        </p:nvSpPr>
        <p:spPr>
          <a:xfrm>
            <a:off x="9875323" y="3822306"/>
            <a:ext cx="2092177" cy="199751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Data Management</a:t>
            </a:r>
          </a:p>
        </p:txBody>
      </p:sp>
      <p:sp>
        <p:nvSpPr>
          <p:cNvPr id="20" name="Oval 19">
            <a:extLst>
              <a:ext uri="{FF2B5EF4-FFF2-40B4-BE49-F238E27FC236}">
                <a16:creationId xmlns:a16="http://schemas.microsoft.com/office/drawing/2014/main" id="{7542F5B6-465A-40D6-BA7B-A3ABAFFDAB4F}"/>
              </a:ext>
            </a:extLst>
          </p:cNvPr>
          <p:cNvSpPr/>
          <p:nvPr/>
        </p:nvSpPr>
        <p:spPr>
          <a:xfrm>
            <a:off x="8472264" y="5445224"/>
            <a:ext cx="1129663" cy="1057581"/>
          </a:xfrm>
          <a:prstGeom prst="ellipse">
            <a:avLst/>
          </a:prstGeom>
          <a:gradFill>
            <a:gsLst>
              <a:gs pos="28000">
                <a:schemeClr val="accent5">
                  <a:lumMod val="60000"/>
                  <a:lumOff val="40000"/>
                </a:schemeClr>
              </a:gs>
              <a:gs pos="25000">
                <a:schemeClr val="accent4">
                  <a:lumMod val="105000"/>
                  <a:satMod val="103000"/>
                  <a:tint val="73000"/>
                </a:schemeClr>
              </a:gs>
              <a:gs pos="100000">
                <a:schemeClr val="accent4">
                  <a:lumMod val="105000"/>
                  <a:satMod val="109000"/>
                  <a:tint val="81000"/>
                </a:schemeClr>
              </a:gs>
            </a:gsLst>
          </a:gra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900" dirty="0">
                <a:ln w="0"/>
                <a:solidFill>
                  <a:schemeClr val="tx1"/>
                </a:solidFill>
                <a:effectLst>
                  <a:outerShdw blurRad="38100" dist="19050" dir="2700000" algn="tl" rotWithShape="0">
                    <a:schemeClr val="dk1">
                      <a:alpha val="40000"/>
                    </a:schemeClr>
                  </a:outerShdw>
                </a:effectLst>
              </a:rPr>
              <a:t>Data Discovery</a:t>
            </a:r>
          </a:p>
        </p:txBody>
      </p:sp>
      <p:sp>
        <p:nvSpPr>
          <p:cNvPr id="22" name="Oval 21">
            <a:extLst>
              <a:ext uri="{FF2B5EF4-FFF2-40B4-BE49-F238E27FC236}">
                <a16:creationId xmlns:a16="http://schemas.microsoft.com/office/drawing/2014/main" id="{2013CB7E-8B6A-4192-8A55-CBB6F9CA404E}"/>
              </a:ext>
            </a:extLst>
          </p:cNvPr>
          <p:cNvSpPr/>
          <p:nvPr/>
        </p:nvSpPr>
        <p:spPr>
          <a:xfrm>
            <a:off x="8124063" y="3908025"/>
            <a:ext cx="1189634" cy="1032217"/>
          </a:xfrm>
          <a:prstGeom prst="ellipse">
            <a:avLst/>
          </a:prstGeom>
          <a:gradFill>
            <a:gsLst>
              <a:gs pos="25000">
                <a:schemeClr val="accent5">
                  <a:lumMod val="60000"/>
                  <a:lumOff val="40000"/>
                </a:schemeClr>
              </a:gs>
              <a:gs pos="50000">
                <a:schemeClr val="accent4">
                  <a:lumMod val="105000"/>
                  <a:satMod val="103000"/>
                  <a:tint val="73000"/>
                </a:schemeClr>
              </a:gs>
              <a:gs pos="100000">
                <a:schemeClr val="accent4">
                  <a:lumMod val="105000"/>
                  <a:satMod val="109000"/>
                  <a:tint val="81000"/>
                </a:schemeClr>
              </a:gs>
            </a:gsLst>
          </a:gra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900" dirty="0">
                <a:ln w="0"/>
                <a:solidFill>
                  <a:schemeClr val="tx1"/>
                </a:solidFill>
                <a:effectLst>
                  <a:outerShdw blurRad="38100" dist="19050" dir="2700000" algn="tl" rotWithShape="0">
                    <a:schemeClr val="dk1">
                      <a:alpha val="40000"/>
                    </a:schemeClr>
                  </a:outerShdw>
                </a:effectLst>
              </a:rPr>
              <a:t>Semantic Annotation</a:t>
            </a:r>
          </a:p>
        </p:txBody>
      </p:sp>
      <p:sp>
        <p:nvSpPr>
          <p:cNvPr id="23" name="Up-Down Arrow 31">
            <a:extLst>
              <a:ext uri="{FF2B5EF4-FFF2-40B4-BE49-F238E27FC236}">
                <a16:creationId xmlns:a16="http://schemas.microsoft.com/office/drawing/2014/main" id="{4A4E6B12-2ADB-43CB-B865-41FE2E318004}"/>
              </a:ext>
            </a:extLst>
          </p:cNvPr>
          <p:cNvSpPr/>
          <p:nvPr/>
        </p:nvSpPr>
        <p:spPr>
          <a:xfrm rot="5400000">
            <a:off x="8738168" y="4244513"/>
            <a:ext cx="463442" cy="2092177"/>
          </a:xfrm>
          <a:prstGeom prst="upDown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20D6A7E3-6231-4B2C-ADE8-DC6CE6069031}"/>
              </a:ext>
            </a:extLst>
          </p:cNvPr>
          <p:cNvSpPr/>
          <p:nvPr/>
        </p:nvSpPr>
        <p:spPr>
          <a:xfrm>
            <a:off x="5739538" y="3573017"/>
            <a:ext cx="1087089" cy="1032217"/>
          </a:xfrm>
          <a:prstGeom prst="ellipse">
            <a:avLst/>
          </a:prstGeom>
          <a:solidFill>
            <a:schemeClr val="accent4">
              <a:lumMod val="60000"/>
              <a:lumOff val="40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900" dirty="0">
                <a:ln w="0"/>
                <a:solidFill>
                  <a:schemeClr val="tx1"/>
                </a:solidFill>
                <a:effectLst>
                  <a:outerShdw blurRad="38100" dist="19050" dir="2700000" algn="tl" rotWithShape="0">
                    <a:schemeClr val="dk1">
                      <a:alpha val="40000"/>
                    </a:schemeClr>
                  </a:outerShdw>
                </a:effectLst>
              </a:rPr>
              <a:t>Deep Learning</a:t>
            </a:r>
          </a:p>
        </p:txBody>
      </p:sp>
      <p:sp>
        <p:nvSpPr>
          <p:cNvPr id="7" name="Flowchart: Merge 6">
            <a:extLst>
              <a:ext uri="{FF2B5EF4-FFF2-40B4-BE49-F238E27FC236}">
                <a16:creationId xmlns:a16="http://schemas.microsoft.com/office/drawing/2014/main" id="{98DDFC43-8416-4957-8165-35C26376F4EE}"/>
              </a:ext>
            </a:extLst>
          </p:cNvPr>
          <p:cNvSpPr/>
          <p:nvPr/>
        </p:nvSpPr>
        <p:spPr>
          <a:xfrm>
            <a:off x="695400" y="3454031"/>
            <a:ext cx="4665833" cy="479025"/>
          </a:xfrm>
          <a:prstGeom prst="flowChartMerg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8" name="TextBox 7">
            <a:extLst>
              <a:ext uri="{FF2B5EF4-FFF2-40B4-BE49-F238E27FC236}">
                <a16:creationId xmlns:a16="http://schemas.microsoft.com/office/drawing/2014/main" id="{CE2BE8AC-7FF0-4DD4-9795-261F14449FFD}"/>
              </a:ext>
            </a:extLst>
          </p:cNvPr>
          <p:cNvSpPr txBox="1"/>
          <p:nvPr/>
        </p:nvSpPr>
        <p:spPr>
          <a:xfrm>
            <a:off x="695400" y="4575612"/>
            <a:ext cx="3672408" cy="1015663"/>
          </a:xfrm>
          <a:prstGeom prst="rect">
            <a:avLst/>
          </a:prstGeom>
          <a:noFill/>
        </p:spPr>
        <p:txBody>
          <a:bodyPr wrap="square" rtlCol="0">
            <a:spAutoFit/>
          </a:bodyPr>
          <a:lstStyle/>
          <a:p>
            <a:r>
              <a:rPr lang="de-DE" sz="1200" i="1" dirty="0"/>
              <a:t>It is possible to extract and transform information into a form needed for modelling knowledge graphs by means of artifical intelligence! Our project operates at the brink between AI and data management …</a:t>
            </a:r>
          </a:p>
        </p:txBody>
      </p:sp>
      <p:sp>
        <p:nvSpPr>
          <p:cNvPr id="27" name="Oval 26">
            <a:extLst>
              <a:ext uri="{FF2B5EF4-FFF2-40B4-BE49-F238E27FC236}">
                <a16:creationId xmlns:a16="http://schemas.microsoft.com/office/drawing/2014/main" id="{3B246CDD-FA7C-48B1-8BBA-EE01C8F34F45}"/>
              </a:ext>
            </a:extLst>
          </p:cNvPr>
          <p:cNvSpPr/>
          <p:nvPr/>
        </p:nvSpPr>
        <p:spPr>
          <a:xfrm>
            <a:off x="7061788" y="5237517"/>
            <a:ext cx="1129663" cy="1057581"/>
          </a:xfrm>
          <a:prstGeom prst="ellipse">
            <a:avLst/>
          </a:prstGeom>
          <a:solidFill>
            <a:schemeClr val="accent4">
              <a:lumMod val="60000"/>
              <a:lumOff val="40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900" dirty="0">
                <a:ln w="0"/>
                <a:solidFill>
                  <a:schemeClr val="tx1"/>
                </a:solidFill>
                <a:effectLst>
                  <a:outerShdw blurRad="38100" dist="19050" dir="2700000" algn="tl" rotWithShape="0">
                    <a:schemeClr val="dk1">
                      <a:alpha val="40000"/>
                    </a:schemeClr>
                  </a:outerShdw>
                </a:effectLst>
              </a:rPr>
              <a:t>Sentiment Analysis</a:t>
            </a:r>
          </a:p>
        </p:txBody>
      </p:sp>
      <p:sp>
        <p:nvSpPr>
          <p:cNvPr id="18" name="Oval 17">
            <a:extLst>
              <a:ext uri="{FF2B5EF4-FFF2-40B4-BE49-F238E27FC236}">
                <a16:creationId xmlns:a16="http://schemas.microsoft.com/office/drawing/2014/main" id="{0E2C39E4-F1EA-49C9-8E86-81D2263B1408}"/>
              </a:ext>
            </a:extLst>
          </p:cNvPr>
          <p:cNvSpPr/>
          <p:nvPr/>
        </p:nvSpPr>
        <p:spPr>
          <a:xfrm>
            <a:off x="4647504" y="4549972"/>
            <a:ext cx="2257346" cy="2078535"/>
          </a:xfrm>
          <a:prstGeom prst="ellipse">
            <a:avLst/>
          </a:prstGeom>
          <a:solidFill>
            <a:schemeClr val="accent4">
              <a:lumMod val="60000"/>
              <a:lumOff val="4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Data Science / Artificial Intelligence</a:t>
            </a:r>
          </a:p>
        </p:txBody>
      </p:sp>
      <p:sp>
        <p:nvSpPr>
          <p:cNvPr id="25" name="Oval 24">
            <a:extLst>
              <a:ext uri="{FF2B5EF4-FFF2-40B4-BE49-F238E27FC236}">
                <a16:creationId xmlns:a16="http://schemas.microsoft.com/office/drawing/2014/main" id="{145681B5-5069-40D7-9364-AB9747E21038}"/>
              </a:ext>
            </a:extLst>
          </p:cNvPr>
          <p:cNvSpPr/>
          <p:nvPr/>
        </p:nvSpPr>
        <p:spPr>
          <a:xfrm>
            <a:off x="6640267" y="4111050"/>
            <a:ext cx="1240343" cy="1179551"/>
          </a:xfrm>
          <a:prstGeom prst="ellipse">
            <a:avLst/>
          </a:prstGeom>
          <a:solidFill>
            <a:schemeClr val="accent4">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900" dirty="0">
                <a:ln w="0"/>
                <a:solidFill>
                  <a:schemeClr val="tx1"/>
                </a:solidFill>
                <a:effectLst>
                  <a:outerShdw blurRad="38100" dist="19050" dir="2700000" algn="tl" rotWithShape="0">
                    <a:schemeClr val="dk1">
                      <a:alpha val="40000"/>
                    </a:schemeClr>
                  </a:outerShdw>
                </a:effectLst>
              </a:rPr>
              <a:t>Natural Language Processing</a:t>
            </a:r>
          </a:p>
        </p:txBody>
      </p:sp>
    </p:spTree>
    <p:extLst>
      <p:ext uri="{BB962C8B-B14F-4D97-AF65-F5344CB8AC3E}">
        <p14:creationId xmlns:p14="http://schemas.microsoft.com/office/powerpoint/2010/main" val="308216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4" grpId="0" animBg="1"/>
      <p:bldP spid="19" grpId="0" animBg="1"/>
      <p:bldP spid="20" grpId="0" animBg="1"/>
      <p:bldP spid="22" grpId="0" animBg="1"/>
      <p:bldP spid="23" grpId="0" animBg="1"/>
      <p:bldP spid="26" grpId="0" animBg="1"/>
      <p:bldP spid="7" grpId="0" animBg="1"/>
      <p:bldP spid="8" grpId="0"/>
      <p:bldP spid="27" grpId="0" animBg="1"/>
      <p:bldP spid="18" grpId="0" animBg="1"/>
      <p:bldP spid="2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F1023-4540-45E6-85E4-87F70BB8F02C}"/>
              </a:ext>
            </a:extLst>
          </p:cNvPr>
          <p:cNvSpPr>
            <a:spLocks noGrp="1"/>
          </p:cNvSpPr>
          <p:nvPr>
            <p:ph type="title"/>
          </p:nvPr>
        </p:nvSpPr>
        <p:spPr>
          <a:xfrm>
            <a:off x="407988" y="404813"/>
            <a:ext cx="11088612" cy="863600"/>
          </a:xfrm>
        </p:spPr>
        <p:txBody>
          <a:bodyPr/>
          <a:lstStyle/>
          <a:p>
            <a:pPr algn="ctr"/>
            <a:r>
              <a:rPr lang="de-DE" dirty="0"/>
              <a:t>Every corporate AI project is closely intertwined with information management</a:t>
            </a:r>
          </a:p>
        </p:txBody>
      </p:sp>
      <p:sp>
        <p:nvSpPr>
          <p:cNvPr id="3" name="Block Arc 2">
            <a:extLst>
              <a:ext uri="{FF2B5EF4-FFF2-40B4-BE49-F238E27FC236}">
                <a16:creationId xmlns:a16="http://schemas.microsoft.com/office/drawing/2014/main" id="{796740F5-724A-46E4-9FFA-80E378A2F225}"/>
              </a:ext>
            </a:extLst>
          </p:cNvPr>
          <p:cNvSpPr/>
          <p:nvPr/>
        </p:nvSpPr>
        <p:spPr>
          <a:xfrm rot="10800000">
            <a:off x="608358" y="3920028"/>
            <a:ext cx="1296144" cy="863600"/>
          </a:xfrm>
          <a:prstGeom prst="blockArc">
            <a:avLst>
              <a:gd name="adj1" fmla="val 10855147"/>
              <a:gd name="adj2" fmla="val 13550"/>
              <a:gd name="adj3" fmla="val 1809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pic>
        <p:nvPicPr>
          <p:cNvPr id="5" name="Graphic 4" descr="Money">
            <a:extLst>
              <a:ext uri="{FF2B5EF4-FFF2-40B4-BE49-F238E27FC236}">
                <a16:creationId xmlns:a16="http://schemas.microsoft.com/office/drawing/2014/main" id="{0A89C7B7-5B38-43B8-AB79-93E832DAA2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2190" y="3728626"/>
            <a:ext cx="695491" cy="695491"/>
          </a:xfrm>
          <a:prstGeom prst="rect">
            <a:avLst/>
          </a:prstGeom>
        </p:spPr>
      </p:pic>
      <p:pic>
        <p:nvPicPr>
          <p:cNvPr id="7" name="Graphic 6" descr="Coins">
            <a:extLst>
              <a:ext uri="{FF2B5EF4-FFF2-40B4-BE49-F238E27FC236}">
                <a16:creationId xmlns:a16="http://schemas.microsoft.com/office/drawing/2014/main" id="{883CF486-4926-42B5-87D0-5BB5137280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59935" y="4076371"/>
            <a:ext cx="504056" cy="504056"/>
          </a:xfrm>
          <a:prstGeom prst="rect">
            <a:avLst/>
          </a:prstGeom>
        </p:spPr>
      </p:pic>
      <p:sp>
        <p:nvSpPr>
          <p:cNvPr id="10" name="Cloud 9">
            <a:extLst>
              <a:ext uri="{FF2B5EF4-FFF2-40B4-BE49-F238E27FC236}">
                <a16:creationId xmlns:a16="http://schemas.microsoft.com/office/drawing/2014/main" id="{F12D6797-0384-41E9-B1FF-3517F65DF4A9}"/>
              </a:ext>
            </a:extLst>
          </p:cNvPr>
          <p:cNvSpPr/>
          <p:nvPr/>
        </p:nvSpPr>
        <p:spPr>
          <a:xfrm>
            <a:off x="407368" y="2529112"/>
            <a:ext cx="2016224" cy="1152128"/>
          </a:xfrm>
          <a:prstGeom prst="cloud">
            <a:avLst/>
          </a:pr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rPr>
              <a:t>What is the business question AI should support?</a:t>
            </a:r>
          </a:p>
        </p:txBody>
      </p:sp>
      <p:sp>
        <p:nvSpPr>
          <p:cNvPr id="11" name="Block Arc 10">
            <a:extLst>
              <a:ext uri="{FF2B5EF4-FFF2-40B4-BE49-F238E27FC236}">
                <a16:creationId xmlns:a16="http://schemas.microsoft.com/office/drawing/2014/main" id="{A48AD09F-4FEC-46D8-BFAD-85C3B8ED0F27}"/>
              </a:ext>
            </a:extLst>
          </p:cNvPr>
          <p:cNvSpPr/>
          <p:nvPr/>
        </p:nvSpPr>
        <p:spPr>
          <a:xfrm>
            <a:off x="2986189" y="3311455"/>
            <a:ext cx="1296144" cy="863600"/>
          </a:xfrm>
          <a:prstGeom prst="blockArc">
            <a:avLst>
              <a:gd name="adj1" fmla="val 10489991"/>
              <a:gd name="adj2" fmla="val 375242"/>
              <a:gd name="adj3" fmla="val 1775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pic>
        <p:nvPicPr>
          <p:cNvPr id="13" name="Graphic 12" descr="Clock">
            <a:extLst>
              <a:ext uri="{FF2B5EF4-FFF2-40B4-BE49-F238E27FC236}">
                <a16:creationId xmlns:a16="http://schemas.microsoft.com/office/drawing/2014/main" id="{3C0090B8-606D-4EC7-BA65-89F6839792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99414" y="3920028"/>
            <a:ext cx="468999" cy="468999"/>
          </a:xfrm>
          <a:prstGeom prst="rect">
            <a:avLst/>
          </a:prstGeom>
        </p:spPr>
      </p:pic>
      <p:pic>
        <p:nvPicPr>
          <p:cNvPr id="15" name="Graphic 14" descr="Magnifying glass">
            <a:extLst>
              <a:ext uri="{FF2B5EF4-FFF2-40B4-BE49-F238E27FC236}">
                <a16:creationId xmlns:a16="http://schemas.microsoft.com/office/drawing/2014/main" id="{1CC1317F-2293-4DF6-9FF7-1DCB7CCEA8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31222" y="3576027"/>
            <a:ext cx="688001" cy="688001"/>
          </a:xfrm>
          <a:prstGeom prst="rect">
            <a:avLst/>
          </a:prstGeom>
        </p:spPr>
      </p:pic>
      <p:sp>
        <p:nvSpPr>
          <p:cNvPr id="16" name="Cloud 15">
            <a:extLst>
              <a:ext uri="{FF2B5EF4-FFF2-40B4-BE49-F238E27FC236}">
                <a16:creationId xmlns:a16="http://schemas.microsoft.com/office/drawing/2014/main" id="{959F852B-01B4-4045-B2FD-EF60D6D0F3AF}"/>
              </a:ext>
            </a:extLst>
          </p:cNvPr>
          <p:cNvSpPr/>
          <p:nvPr/>
        </p:nvSpPr>
        <p:spPr>
          <a:xfrm>
            <a:off x="2639616" y="4389027"/>
            <a:ext cx="1872208" cy="992702"/>
          </a:xfrm>
          <a:prstGeom prst="cloud">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rPr>
              <a:t>Where is the data I can use for training my models?</a:t>
            </a:r>
          </a:p>
        </p:txBody>
      </p:sp>
      <p:pic>
        <p:nvPicPr>
          <p:cNvPr id="18" name="Graphic 17" descr="Shopping cart">
            <a:extLst>
              <a:ext uri="{FF2B5EF4-FFF2-40B4-BE49-F238E27FC236}">
                <a16:creationId xmlns:a16="http://schemas.microsoft.com/office/drawing/2014/main" id="{7E2AED56-F29A-40B1-BB81-C7A4A768CD4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25636" y="5381729"/>
            <a:ext cx="567827" cy="567827"/>
          </a:xfrm>
          <a:prstGeom prst="rect">
            <a:avLst/>
          </a:prstGeom>
        </p:spPr>
      </p:pic>
      <p:pic>
        <p:nvPicPr>
          <p:cNvPr id="20" name="Graphic 19" descr="Gears">
            <a:extLst>
              <a:ext uri="{FF2B5EF4-FFF2-40B4-BE49-F238E27FC236}">
                <a16:creationId xmlns:a16="http://schemas.microsoft.com/office/drawing/2014/main" id="{2165BBC5-E870-4CBA-8E96-30688666BC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92728" y="5424006"/>
            <a:ext cx="698376" cy="698376"/>
          </a:xfrm>
          <a:prstGeom prst="rect">
            <a:avLst/>
          </a:prstGeom>
        </p:spPr>
      </p:pic>
      <p:sp>
        <p:nvSpPr>
          <p:cNvPr id="21" name="TextBox 20">
            <a:extLst>
              <a:ext uri="{FF2B5EF4-FFF2-40B4-BE49-F238E27FC236}">
                <a16:creationId xmlns:a16="http://schemas.microsoft.com/office/drawing/2014/main" id="{CD1980A4-ED7E-4927-B14F-BCA65B71916F}"/>
              </a:ext>
            </a:extLst>
          </p:cNvPr>
          <p:cNvSpPr txBox="1"/>
          <p:nvPr/>
        </p:nvSpPr>
        <p:spPr>
          <a:xfrm>
            <a:off x="3100421" y="5949556"/>
            <a:ext cx="1296144" cy="261610"/>
          </a:xfrm>
          <a:prstGeom prst="rect">
            <a:avLst/>
          </a:prstGeom>
          <a:noFill/>
        </p:spPr>
        <p:txBody>
          <a:bodyPr wrap="square" rtlCol="0">
            <a:spAutoFit/>
          </a:bodyPr>
          <a:lstStyle/>
          <a:p>
            <a:r>
              <a:rPr lang="de-DE" sz="1100" dirty="0"/>
              <a:t>„Make“ or buy?</a:t>
            </a:r>
          </a:p>
        </p:txBody>
      </p:sp>
      <p:pic>
        <p:nvPicPr>
          <p:cNvPr id="23" name="Picture 22" descr="A close up of a logo&#10;&#10;Description automatically generated">
            <a:extLst>
              <a:ext uri="{FF2B5EF4-FFF2-40B4-BE49-F238E27FC236}">
                <a16:creationId xmlns:a16="http://schemas.microsoft.com/office/drawing/2014/main" id="{47C5DD20-B0D8-4A6F-9BB7-973EF10D8CF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17323" y="3920027"/>
            <a:ext cx="609600" cy="609600"/>
          </a:xfrm>
          <a:prstGeom prst="rect">
            <a:avLst/>
          </a:prstGeom>
        </p:spPr>
      </p:pic>
      <p:sp>
        <p:nvSpPr>
          <p:cNvPr id="24" name="Block Arc 23">
            <a:extLst>
              <a:ext uri="{FF2B5EF4-FFF2-40B4-BE49-F238E27FC236}">
                <a16:creationId xmlns:a16="http://schemas.microsoft.com/office/drawing/2014/main" id="{C5897AB0-E412-4B6A-BC34-319E313481C5}"/>
              </a:ext>
            </a:extLst>
          </p:cNvPr>
          <p:cNvSpPr/>
          <p:nvPr/>
        </p:nvSpPr>
        <p:spPr>
          <a:xfrm rot="10800000">
            <a:off x="5663953" y="3920028"/>
            <a:ext cx="1296144" cy="863600"/>
          </a:xfrm>
          <a:prstGeom prst="blockArc">
            <a:avLst>
              <a:gd name="adj1" fmla="val 10855147"/>
              <a:gd name="adj2" fmla="val 13550"/>
              <a:gd name="adj3" fmla="val 1809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5" name="Cloud 24">
            <a:extLst>
              <a:ext uri="{FF2B5EF4-FFF2-40B4-BE49-F238E27FC236}">
                <a16:creationId xmlns:a16="http://schemas.microsoft.com/office/drawing/2014/main" id="{080EAAB6-E5E1-40DC-A690-5BF437CD8081}"/>
              </a:ext>
            </a:extLst>
          </p:cNvPr>
          <p:cNvSpPr/>
          <p:nvPr/>
        </p:nvSpPr>
        <p:spPr>
          <a:xfrm>
            <a:off x="5609621" y="2646792"/>
            <a:ext cx="1457153" cy="1152128"/>
          </a:xfrm>
          <a:prstGeom prst="cloud">
            <a:avLst/>
          </a:prstGeom>
          <a:solidFill>
            <a:schemeClr val="bg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rPr>
              <a:t>Is the data fit for my purpose?</a:t>
            </a:r>
          </a:p>
        </p:txBody>
      </p:sp>
      <p:pic>
        <p:nvPicPr>
          <p:cNvPr id="6" name="Graphic 5" descr="Database">
            <a:extLst>
              <a:ext uri="{FF2B5EF4-FFF2-40B4-BE49-F238E27FC236}">
                <a16:creationId xmlns:a16="http://schemas.microsoft.com/office/drawing/2014/main" id="{ADA40828-FC75-49B0-BA7E-B0E4293F619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63415" y="3934553"/>
            <a:ext cx="573176" cy="573176"/>
          </a:xfrm>
          <a:prstGeom prst="rect">
            <a:avLst/>
          </a:prstGeom>
        </p:spPr>
      </p:pic>
      <p:pic>
        <p:nvPicPr>
          <p:cNvPr id="9" name="Graphic 8" descr="Arrow circle">
            <a:extLst>
              <a:ext uri="{FF2B5EF4-FFF2-40B4-BE49-F238E27FC236}">
                <a16:creationId xmlns:a16="http://schemas.microsoft.com/office/drawing/2014/main" id="{C0AB16BA-A971-4D82-A6F3-31E2F4EBC2A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303838" y="5390530"/>
            <a:ext cx="573177" cy="573177"/>
          </a:xfrm>
          <a:prstGeom prst="rect">
            <a:avLst/>
          </a:prstGeom>
        </p:spPr>
      </p:pic>
      <p:sp>
        <p:nvSpPr>
          <p:cNvPr id="27" name="TextBox 26">
            <a:extLst>
              <a:ext uri="{FF2B5EF4-FFF2-40B4-BE49-F238E27FC236}">
                <a16:creationId xmlns:a16="http://schemas.microsoft.com/office/drawing/2014/main" id="{DFB75B48-1D16-4853-9FDA-2F1EF09DD341}"/>
              </a:ext>
            </a:extLst>
          </p:cNvPr>
          <p:cNvSpPr txBox="1"/>
          <p:nvPr/>
        </p:nvSpPr>
        <p:spPr>
          <a:xfrm>
            <a:off x="5237314" y="4935052"/>
            <a:ext cx="1057612" cy="430887"/>
          </a:xfrm>
          <a:prstGeom prst="rect">
            <a:avLst/>
          </a:prstGeom>
          <a:noFill/>
        </p:spPr>
        <p:txBody>
          <a:bodyPr wrap="square" rtlCol="0">
            <a:spAutoFit/>
          </a:bodyPr>
          <a:lstStyle/>
          <a:p>
            <a:r>
              <a:rPr lang="de-DE" sz="1100" dirty="0"/>
              <a:t>Integration needs?</a:t>
            </a:r>
          </a:p>
        </p:txBody>
      </p:sp>
      <p:sp>
        <p:nvSpPr>
          <p:cNvPr id="28" name="TextBox 27">
            <a:extLst>
              <a:ext uri="{FF2B5EF4-FFF2-40B4-BE49-F238E27FC236}">
                <a16:creationId xmlns:a16="http://schemas.microsoft.com/office/drawing/2014/main" id="{A0A25B50-20CD-4EB1-990E-34F36CD27D97}"/>
              </a:ext>
            </a:extLst>
          </p:cNvPr>
          <p:cNvSpPr txBox="1"/>
          <p:nvPr/>
        </p:nvSpPr>
        <p:spPr>
          <a:xfrm>
            <a:off x="5705330" y="5729610"/>
            <a:ext cx="1233585" cy="430887"/>
          </a:xfrm>
          <a:prstGeom prst="rect">
            <a:avLst/>
          </a:prstGeom>
          <a:noFill/>
        </p:spPr>
        <p:txBody>
          <a:bodyPr wrap="square" rtlCol="0">
            <a:spAutoFit/>
          </a:bodyPr>
          <a:lstStyle/>
          <a:p>
            <a:r>
              <a:rPr lang="de-DE" sz="1100" dirty="0"/>
              <a:t>Lifecycle information?</a:t>
            </a:r>
          </a:p>
        </p:txBody>
      </p:sp>
      <p:sp>
        <p:nvSpPr>
          <p:cNvPr id="29" name="TextBox 28">
            <a:extLst>
              <a:ext uri="{FF2B5EF4-FFF2-40B4-BE49-F238E27FC236}">
                <a16:creationId xmlns:a16="http://schemas.microsoft.com/office/drawing/2014/main" id="{F7149487-DEED-4D7A-8C58-182E55F2C103}"/>
              </a:ext>
            </a:extLst>
          </p:cNvPr>
          <p:cNvSpPr txBox="1"/>
          <p:nvPr/>
        </p:nvSpPr>
        <p:spPr>
          <a:xfrm>
            <a:off x="6312024" y="4960345"/>
            <a:ext cx="990694" cy="430887"/>
          </a:xfrm>
          <a:prstGeom prst="rect">
            <a:avLst/>
          </a:prstGeom>
          <a:noFill/>
        </p:spPr>
        <p:txBody>
          <a:bodyPr wrap="square" rtlCol="0">
            <a:spAutoFit/>
          </a:bodyPr>
          <a:lstStyle/>
          <a:p>
            <a:r>
              <a:rPr lang="de-DE" sz="1100" dirty="0"/>
              <a:t>Data usage?</a:t>
            </a:r>
          </a:p>
        </p:txBody>
      </p:sp>
      <p:sp>
        <p:nvSpPr>
          <p:cNvPr id="30" name="Block Arc 29">
            <a:extLst>
              <a:ext uri="{FF2B5EF4-FFF2-40B4-BE49-F238E27FC236}">
                <a16:creationId xmlns:a16="http://schemas.microsoft.com/office/drawing/2014/main" id="{22456905-AE50-4362-B125-C74BA9F8FABA}"/>
              </a:ext>
            </a:extLst>
          </p:cNvPr>
          <p:cNvSpPr/>
          <p:nvPr/>
        </p:nvSpPr>
        <p:spPr>
          <a:xfrm>
            <a:off x="7859266" y="3249440"/>
            <a:ext cx="1296144" cy="863600"/>
          </a:xfrm>
          <a:prstGeom prst="blockArc">
            <a:avLst>
              <a:gd name="adj1" fmla="val 10489991"/>
              <a:gd name="adj2" fmla="val 375242"/>
              <a:gd name="adj3" fmla="val 1775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pic>
        <p:nvPicPr>
          <p:cNvPr id="32" name="Graphic 31" descr="Venn diagram">
            <a:extLst>
              <a:ext uri="{FF2B5EF4-FFF2-40B4-BE49-F238E27FC236}">
                <a16:creationId xmlns:a16="http://schemas.microsoft.com/office/drawing/2014/main" id="{91C337CA-8F9A-4A96-88A0-BFD342D3215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672395" y="5051922"/>
            <a:ext cx="625197" cy="625197"/>
          </a:xfrm>
          <a:prstGeom prst="rect">
            <a:avLst/>
          </a:prstGeom>
        </p:spPr>
      </p:pic>
      <p:pic>
        <p:nvPicPr>
          <p:cNvPr id="34" name="Graphic 33" descr="Checklist RTL">
            <a:extLst>
              <a:ext uri="{FF2B5EF4-FFF2-40B4-BE49-F238E27FC236}">
                <a16:creationId xmlns:a16="http://schemas.microsoft.com/office/drawing/2014/main" id="{99D8FCA4-E31A-41CF-B576-58C7A319E05B}"/>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09406" y="3591496"/>
            <a:ext cx="563031" cy="563031"/>
          </a:xfrm>
          <a:prstGeom prst="rect">
            <a:avLst/>
          </a:prstGeom>
        </p:spPr>
      </p:pic>
      <p:sp>
        <p:nvSpPr>
          <p:cNvPr id="35" name="Cloud 34">
            <a:extLst>
              <a:ext uri="{FF2B5EF4-FFF2-40B4-BE49-F238E27FC236}">
                <a16:creationId xmlns:a16="http://schemas.microsoft.com/office/drawing/2014/main" id="{D24EC666-18EC-4B89-8AF5-431963FB4C99}"/>
              </a:ext>
            </a:extLst>
          </p:cNvPr>
          <p:cNvSpPr/>
          <p:nvPr/>
        </p:nvSpPr>
        <p:spPr>
          <a:xfrm>
            <a:off x="7824192" y="4343010"/>
            <a:ext cx="1296144" cy="983944"/>
          </a:xfrm>
          <a:prstGeom prst="cloud">
            <a:avLst/>
          </a:prstGeom>
          <a:solidFill>
            <a:schemeClr val="bg2"/>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rPr>
              <a:t>Which model to chose? </a:t>
            </a:r>
          </a:p>
        </p:txBody>
      </p:sp>
      <p:sp>
        <p:nvSpPr>
          <p:cNvPr id="36" name="Block Arc 35">
            <a:extLst>
              <a:ext uri="{FF2B5EF4-FFF2-40B4-BE49-F238E27FC236}">
                <a16:creationId xmlns:a16="http://schemas.microsoft.com/office/drawing/2014/main" id="{A99C60AB-84E9-4142-9B14-0B59C5CFEE06}"/>
              </a:ext>
            </a:extLst>
          </p:cNvPr>
          <p:cNvSpPr/>
          <p:nvPr/>
        </p:nvSpPr>
        <p:spPr>
          <a:xfrm rot="10800000">
            <a:off x="9912424" y="3911210"/>
            <a:ext cx="1296144" cy="863600"/>
          </a:xfrm>
          <a:prstGeom prst="blockArc">
            <a:avLst>
              <a:gd name="adj1" fmla="val 10855147"/>
              <a:gd name="adj2" fmla="val 13550"/>
              <a:gd name="adj3" fmla="val 1809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37" name="Cloud 36">
            <a:extLst>
              <a:ext uri="{FF2B5EF4-FFF2-40B4-BE49-F238E27FC236}">
                <a16:creationId xmlns:a16="http://schemas.microsoft.com/office/drawing/2014/main" id="{192206AE-4D62-4E4D-9306-DF60CB30EDC0}"/>
              </a:ext>
            </a:extLst>
          </p:cNvPr>
          <p:cNvSpPr/>
          <p:nvPr/>
        </p:nvSpPr>
        <p:spPr>
          <a:xfrm>
            <a:off x="9860905" y="2558100"/>
            <a:ext cx="1565604" cy="1152128"/>
          </a:xfrm>
          <a:prstGeom prst="cloud">
            <a:avLst/>
          </a:prstGeom>
          <a:solidFill>
            <a:schemeClr val="bg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rPr>
              <a:t>How to make the results consumablefor others?</a:t>
            </a:r>
          </a:p>
        </p:txBody>
      </p:sp>
      <p:pic>
        <p:nvPicPr>
          <p:cNvPr id="39" name="Graphic 38" descr="Microscope">
            <a:extLst>
              <a:ext uri="{FF2B5EF4-FFF2-40B4-BE49-F238E27FC236}">
                <a16:creationId xmlns:a16="http://schemas.microsoft.com/office/drawing/2014/main" id="{84656CE7-ED95-43B2-A308-FC8ADA23566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021921" y="5475888"/>
            <a:ext cx="573177" cy="573177"/>
          </a:xfrm>
          <a:prstGeom prst="rect">
            <a:avLst/>
          </a:prstGeom>
        </p:spPr>
      </p:pic>
      <p:pic>
        <p:nvPicPr>
          <p:cNvPr id="41" name="Graphic 40" descr="Arrow circle">
            <a:extLst>
              <a:ext uri="{FF2B5EF4-FFF2-40B4-BE49-F238E27FC236}">
                <a16:creationId xmlns:a16="http://schemas.microsoft.com/office/drawing/2014/main" id="{B1A2BF6B-59DD-46EF-985C-2367FC0AEF0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68359" y="5326954"/>
            <a:ext cx="573178" cy="573178"/>
          </a:xfrm>
          <a:prstGeom prst="rect">
            <a:avLst/>
          </a:prstGeom>
        </p:spPr>
      </p:pic>
      <p:sp>
        <p:nvSpPr>
          <p:cNvPr id="42" name="TextBox 41">
            <a:extLst>
              <a:ext uri="{FF2B5EF4-FFF2-40B4-BE49-F238E27FC236}">
                <a16:creationId xmlns:a16="http://schemas.microsoft.com/office/drawing/2014/main" id="{45558996-5695-4688-B705-AD32D80376A8}"/>
              </a:ext>
            </a:extLst>
          </p:cNvPr>
          <p:cNvSpPr txBox="1"/>
          <p:nvPr/>
        </p:nvSpPr>
        <p:spPr>
          <a:xfrm>
            <a:off x="8571877" y="5878433"/>
            <a:ext cx="990694" cy="430887"/>
          </a:xfrm>
          <a:prstGeom prst="rect">
            <a:avLst/>
          </a:prstGeom>
          <a:noFill/>
        </p:spPr>
        <p:txBody>
          <a:bodyPr wrap="square" rtlCol="0">
            <a:spAutoFit/>
          </a:bodyPr>
          <a:lstStyle/>
          <a:p>
            <a:r>
              <a:rPr lang="de-DE" sz="1100" dirty="0"/>
              <a:t>DataOps support?</a:t>
            </a:r>
          </a:p>
        </p:txBody>
      </p:sp>
      <p:pic>
        <p:nvPicPr>
          <p:cNvPr id="44" name="Graphic 43" descr="Information">
            <a:extLst>
              <a:ext uri="{FF2B5EF4-FFF2-40B4-BE49-F238E27FC236}">
                <a16:creationId xmlns:a16="http://schemas.microsoft.com/office/drawing/2014/main" id="{4A375BFE-6070-4BBB-A22E-4BA6335E3DD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146432" y="5131167"/>
            <a:ext cx="465669" cy="465669"/>
          </a:xfrm>
          <a:prstGeom prst="rect">
            <a:avLst/>
          </a:prstGeom>
        </p:spPr>
      </p:pic>
      <p:pic>
        <p:nvPicPr>
          <p:cNvPr id="46" name="Graphic 45" descr="Signpost">
            <a:extLst>
              <a:ext uri="{FF2B5EF4-FFF2-40B4-BE49-F238E27FC236}">
                <a16:creationId xmlns:a16="http://schemas.microsoft.com/office/drawing/2014/main" id="{1674B8E1-D264-4AC8-A075-C3968148EF16}"/>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280576" y="4822777"/>
            <a:ext cx="465669" cy="465669"/>
          </a:xfrm>
          <a:prstGeom prst="rect">
            <a:avLst/>
          </a:prstGeom>
        </p:spPr>
      </p:pic>
      <p:sp>
        <p:nvSpPr>
          <p:cNvPr id="47" name="TextBox 46">
            <a:extLst>
              <a:ext uri="{FF2B5EF4-FFF2-40B4-BE49-F238E27FC236}">
                <a16:creationId xmlns:a16="http://schemas.microsoft.com/office/drawing/2014/main" id="{6203C67F-E77A-4355-9AA4-FBE5056E65CE}"/>
              </a:ext>
            </a:extLst>
          </p:cNvPr>
          <p:cNvSpPr txBox="1"/>
          <p:nvPr/>
        </p:nvSpPr>
        <p:spPr>
          <a:xfrm>
            <a:off x="10643707" y="5063919"/>
            <a:ext cx="1195617" cy="600164"/>
          </a:xfrm>
          <a:prstGeom prst="rect">
            <a:avLst/>
          </a:prstGeom>
          <a:noFill/>
        </p:spPr>
        <p:txBody>
          <a:bodyPr wrap="square" rtlCol="0">
            <a:spAutoFit/>
          </a:bodyPr>
          <a:lstStyle/>
          <a:p>
            <a:r>
              <a:rPr lang="de-DE" sz="1100" dirty="0"/>
              <a:t>How to present the information?</a:t>
            </a:r>
          </a:p>
        </p:txBody>
      </p:sp>
      <p:pic>
        <p:nvPicPr>
          <p:cNvPr id="51" name="Graphic 50" descr="Arrow Counterclockwise curve">
            <a:extLst>
              <a:ext uri="{FF2B5EF4-FFF2-40B4-BE49-F238E27FC236}">
                <a16:creationId xmlns:a16="http://schemas.microsoft.com/office/drawing/2014/main" id="{4356ADDD-7A66-4D93-8A40-88E4835280B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rot="4403645">
            <a:off x="7105394" y="3773658"/>
            <a:ext cx="668983" cy="668983"/>
          </a:xfrm>
          <a:prstGeom prst="rect">
            <a:avLst/>
          </a:prstGeom>
        </p:spPr>
      </p:pic>
      <p:pic>
        <p:nvPicPr>
          <p:cNvPr id="53" name="Graphic 52" descr="Arrow Straight">
            <a:extLst>
              <a:ext uri="{FF2B5EF4-FFF2-40B4-BE49-F238E27FC236}">
                <a16:creationId xmlns:a16="http://schemas.microsoft.com/office/drawing/2014/main" id="{BA769ABA-4992-4682-B93D-3811D45435DA}"/>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rot="11571893">
            <a:off x="4632936" y="3715485"/>
            <a:ext cx="721026" cy="721026"/>
          </a:xfrm>
          <a:prstGeom prst="rect">
            <a:avLst/>
          </a:prstGeom>
        </p:spPr>
      </p:pic>
      <p:pic>
        <p:nvPicPr>
          <p:cNvPr id="55" name="Graphic 54" descr="Arrow Slight curve">
            <a:extLst>
              <a:ext uri="{FF2B5EF4-FFF2-40B4-BE49-F238E27FC236}">
                <a16:creationId xmlns:a16="http://schemas.microsoft.com/office/drawing/2014/main" id="{41EC315D-5BCB-45CC-A5D7-9C173A1D5FB4}"/>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rot="20759304">
            <a:off x="2121296" y="3830440"/>
            <a:ext cx="689230" cy="689230"/>
          </a:xfrm>
          <a:prstGeom prst="rect">
            <a:avLst/>
          </a:prstGeom>
        </p:spPr>
      </p:pic>
      <p:pic>
        <p:nvPicPr>
          <p:cNvPr id="56" name="Graphic 55" descr="Arrow Straight">
            <a:extLst>
              <a:ext uri="{FF2B5EF4-FFF2-40B4-BE49-F238E27FC236}">
                <a16:creationId xmlns:a16="http://schemas.microsoft.com/office/drawing/2014/main" id="{B21FF3F1-BF29-43BF-9114-42D8F75C2261}"/>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rot="12294361">
            <a:off x="9277030" y="3469461"/>
            <a:ext cx="721026" cy="721026"/>
          </a:xfrm>
          <a:prstGeom prst="rect">
            <a:avLst/>
          </a:prstGeom>
        </p:spPr>
      </p:pic>
      <p:sp>
        <p:nvSpPr>
          <p:cNvPr id="58" name="Flowchart: Process 57">
            <a:extLst>
              <a:ext uri="{FF2B5EF4-FFF2-40B4-BE49-F238E27FC236}">
                <a16:creationId xmlns:a16="http://schemas.microsoft.com/office/drawing/2014/main" id="{DE22EC96-8F56-4858-BD39-D0762D7B0312}"/>
              </a:ext>
            </a:extLst>
          </p:cNvPr>
          <p:cNvSpPr/>
          <p:nvPr/>
        </p:nvSpPr>
        <p:spPr>
          <a:xfrm>
            <a:off x="502690" y="1261164"/>
            <a:ext cx="10899208" cy="863601"/>
          </a:xfrm>
          <a:prstGeom prst="flowChartProcess">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chemeClr val="tx1"/>
                </a:solidFill>
              </a:rPr>
              <a:t>In the current AI wave, it is all about automating repetitive work for a specific domain.</a:t>
            </a:r>
          </a:p>
          <a:p>
            <a:pPr algn="ctr"/>
            <a:endParaRPr lang="de-DE" sz="1100" dirty="0">
              <a:solidFill>
                <a:schemeClr val="tx1"/>
              </a:solidFill>
            </a:endParaRPr>
          </a:p>
          <a:p>
            <a:pPr algn="ctr"/>
            <a:r>
              <a:rPr lang="de-DE" sz="1100" dirty="0">
                <a:solidFill>
                  <a:schemeClr val="tx1"/>
                </a:solidFill>
              </a:rPr>
              <a:t>The sponsors for AI solutions are business players that are fed up with slow IT departments and prefer to work in a self-service fashion.</a:t>
            </a:r>
          </a:p>
        </p:txBody>
      </p:sp>
    </p:spTree>
    <p:extLst>
      <p:ext uri="{BB962C8B-B14F-4D97-AF65-F5344CB8AC3E}">
        <p14:creationId xmlns:p14="http://schemas.microsoft.com/office/powerpoint/2010/main" val="12617569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65E73987-E151-40C5-A126-58D9197BB43D}"/>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0203F52D-82D5-4BCC-8865-F0F502A9A5D5}"/>
              </a:ext>
            </a:extLst>
          </p:cNvPr>
          <p:cNvSpPr>
            <a:spLocks noGrp="1"/>
          </p:cNvSpPr>
          <p:nvPr>
            <p:ph type="title"/>
          </p:nvPr>
        </p:nvSpPr>
        <p:spPr>
          <a:xfrm>
            <a:off x="202001" y="351230"/>
            <a:ext cx="11016604" cy="863601"/>
          </a:xfrm>
        </p:spPr>
        <p:txBody>
          <a:bodyPr/>
          <a:lstStyle/>
          <a:p>
            <a:r>
              <a:rPr lang="de-DE" dirty="0"/>
              <a:t>How can we convert unstructured data to structured data? </a:t>
            </a:r>
            <a:br>
              <a:rPr lang="de-DE" dirty="0"/>
            </a:br>
            <a:endParaRPr lang="de-DE" dirty="0"/>
          </a:p>
        </p:txBody>
      </p:sp>
      <p:sp>
        <p:nvSpPr>
          <p:cNvPr id="4" name="Footer Placeholder 3">
            <a:extLst>
              <a:ext uri="{FF2B5EF4-FFF2-40B4-BE49-F238E27FC236}">
                <a16:creationId xmlns:a16="http://schemas.microsoft.com/office/drawing/2014/main" id="{19846E38-5899-4B0D-A245-B9147825C9B2}"/>
              </a:ext>
            </a:extLst>
          </p:cNvPr>
          <p:cNvSpPr>
            <a:spLocks noGrp="1"/>
          </p:cNvSpPr>
          <p:nvPr>
            <p:ph type="ftr" sz="quarter" idx="15"/>
          </p:nvPr>
        </p:nvSpPr>
        <p:spPr/>
        <p:txBody>
          <a:bodyPr/>
          <a:lstStyle/>
          <a:p>
            <a:r>
              <a:rPr lang="en-US" dirty="0"/>
              <a:t>© 2019 Capgemini. All rights reserved.</a:t>
            </a:r>
          </a:p>
        </p:txBody>
      </p:sp>
      <p:sp>
        <p:nvSpPr>
          <p:cNvPr id="5" name="Slide Number Placeholder 4">
            <a:extLst>
              <a:ext uri="{FF2B5EF4-FFF2-40B4-BE49-F238E27FC236}">
                <a16:creationId xmlns:a16="http://schemas.microsoft.com/office/drawing/2014/main" id="{803F6C52-678F-4F4E-889E-17D548744CF6}"/>
              </a:ext>
            </a:extLst>
          </p:cNvPr>
          <p:cNvSpPr>
            <a:spLocks noGrp="1"/>
          </p:cNvSpPr>
          <p:nvPr>
            <p:ph type="sldNum" sz="quarter" idx="16"/>
          </p:nvPr>
        </p:nvSpPr>
        <p:spPr/>
        <p:txBody>
          <a:bodyPr/>
          <a:lstStyle/>
          <a:p>
            <a:fld id="{DD205EFF-948D-4AF6-B54C-65639188FB5F}" type="slidenum">
              <a:rPr lang="en-US" smtClean="0"/>
              <a:pPr/>
              <a:t>5</a:t>
            </a:fld>
            <a:endParaRPr lang="en-US" dirty="0"/>
          </a:p>
        </p:txBody>
      </p:sp>
      <p:sp>
        <p:nvSpPr>
          <p:cNvPr id="7" name="AutoShape 2" descr="Image result for wikipedia">
            <a:extLst>
              <a:ext uri="{FF2B5EF4-FFF2-40B4-BE49-F238E27FC236}">
                <a16:creationId xmlns:a16="http://schemas.microsoft.com/office/drawing/2014/main" id="{C1CD4438-D045-4ECA-A476-E0C01628B992}"/>
              </a:ext>
            </a:extLst>
          </p:cNvPr>
          <p:cNvSpPr>
            <a:spLocks noChangeAspect="1" noChangeArrowheads="1"/>
          </p:cNvSpPr>
          <p:nvPr/>
        </p:nvSpPr>
        <p:spPr bwMode="auto">
          <a:xfrm>
            <a:off x="6608318" y="32415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de-DE" dirty="0"/>
              <a:t> </a:t>
            </a:r>
          </a:p>
        </p:txBody>
      </p:sp>
      <p:sp>
        <p:nvSpPr>
          <p:cNvPr id="9" name="AutoShape 4" descr="Image result for webscraper bs4">
            <a:extLst>
              <a:ext uri="{FF2B5EF4-FFF2-40B4-BE49-F238E27FC236}">
                <a16:creationId xmlns:a16="http://schemas.microsoft.com/office/drawing/2014/main" id="{798F7FF1-CBAE-45FC-8428-225FF0035BDD}"/>
              </a:ext>
            </a:extLst>
          </p:cNvPr>
          <p:cNvSpPr>
            <a:spLocks noChangeAspect="1" noChangeArrowheads="1"/>
          </p:cNvSpPr>
          <p:nvPr/>
        </p:nvSpPr>
        <p:spPr bwMode="auto">
          <a:xfrm>
            <a:off x="6760718" y="33939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 name="AutoShape 6" descr="Image result for webscraper bs4">
            <a:extLst>
              <a:ext uri="{FF2B5EF4-FFF2-40B4-BE49-F238E27FC236}">
                <a16:creationId xmlns:a16="http://schemas.microsoft.com/office/drawing/2014/main" id="{DEAD9725-3FC8-4575-AE06-091C2B6E46A8}"/>
              </a:ext>
            </a:extLst>
          </p:cNvPr>
          <p:cNvSpPr>
            <a:spLocks noChangeAspect="1" noChangeArrowheads="1"/>
          </p:cNvSpPr>
          <p:nvPr/>
        </p:nvSpPr>
        <p:spPr bwMode="auto">
          <a:xfrm>
            <a:off x="6913118" y="35463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4" name="Graphic 13" descr="Building">
            <a:extLst>
              <a:ext uri="{FF2B5EF4-FFF2-40B4-BE49-F238E27FC236}">
                <a16:creationId xmlns:a16="http://schemas.microsoft.com/office/drawing/2014/main" id="{298841A1-AF7C-4FCC-AA30-B315879DFA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7392" y="1159574"/>
            <a:ext cx="1409185" cy="1409185"/>
          </a:xfrm>
          <a:prstGeom prst="rect">
            <a:avLst/>
          </a:prstGeom>
        </p:spPr>
      </p:pic>
      <p:sp>
        <p:nvSpPr>
          <p:cNvPr id="15" name="TextBox 14">
            <a:extLst>
              <a:ext uri="{FF2B5EF4-FFF2-40B4-BE49-F238E27FC236}">
                <a16:creationId xmlns:a16="http://schemas.microsoft.com/office/drawing/2014/main" id="{F893126B-AE6A-4A8A-A0CC-CE1A5AA9257A}"/>
              </a:ext>
            </a:extLst>
          </p:cNvPr>
          <p:cNvSpPr txBox="1"/>
          <p:nvPr/>
        </p:nvSpPr>
        <p:spPr bwMode="auto">
          <a:xfrm>
            <a:off x="750356" y="2574400"/>
            <a:ext cx="1488605" cy="900246"/>
          </a:xfrm>
          <a:prstGeom prst="rect">
            <a:avLst/>
          </a:prstGeom>
          <a:solidFill>
            <a:schemeClr val="bg1">
              <a:lumMod val="85000"/>
            </a:schemeClr>
          </a:solidFill>
          <a:ln>
            <a:solidFill>
              <a:schemeClr val="bg2"/>
            </a:solidFill>
          </a:ln>
        </p:spPr>
        <p:style>
          <a:lnRef idx="1">
            <a:schemeClr val="accent3"/>
          </a:lnRef>
          <a:fillRef idx="2">
            <a:schemeClr val="accent3"/>
          </a:fillRef>
          <a:effectRef idx="1">
            <a:schemeClr val="accent3"/>
          </a:effectRef>
          <a:fontRef idx="minor">
            <a:schemeClr val="dk1"/>
          </a:fontRef>
        </p:style>
        <p:txBody>
          <a:bodyPr vert="horz" wrap="square" lIns="0" tIns="45720" rIns="0" bIns="45720" rtlCol="0" anchor="t" anchorCtr="0">
            <a:spAutoFit/>
          </a:bodyPr>
          <a:lstStyle/>
          <a:p>
            <a:pPr algn="ctr">
              <a:spcBef>
                <a:spcPts val="0"/>
              </a:spcBef>
            </a:pPr>
            <a:r>
              <a:rPr lang="de-DE" sz="1050" dirty="0">
                <a:latin typeface="Verdana" panose="020B0604030504040204" pitchFamily="34" charset="0"/>
              </a:rPr>
              <a:t>Insurance company tries to monitor real-time events to figure out how it affects investment objects</a:t>
            </a:r>
          </a:p>
        </p:txBody>
      </p:sp>
      <p:pic>
        <p:nvPicPr>
          <p:cNvPr id="18" name="Picture 17">
            <a:extLst>
              <a:ext uri="{FF2B5EF4-FFF2-40B4-BE49-F238E27FC236}">
                <a16:creationId xmlns:a16="http://schemas.microsoft.com/office/drawing/2014/main" id="{8F17D3B5-C637-471C-B59F-BC98D83801A6}"/>
              </a:ext>
            </a:extLst>
          </p:cNvPr>
          <p:cNvPicPr>
            <a:picLocks noChangeAspect="1"/>
          </p:cNvPicPr>
          <p:nvPr/>
        </p:nvPicPr>
        <p:blipFill rotWithShape="1">
          <a:blip r:embed="rId6"/>
          <a:srcRect r="17198"/>
          <a:stretch/>
        </p:blipFill>
        <p:spPr>
          <a:xfrm>
            <a:off x="3019271" y="3784127"/>
            <a:ext cx="1880816" cy="2331546"/>
          </a:xfrm>
          <a:prstGeom prst="rect">
            <a:avLst/>
          </a:prstGeom>
        </p:spPr>
      </p:pic>
      <p:pic>
        <p:nvPicPr>
          <p:cNvPr id="19" name="Picture 18">
            <a:extLst>
              <a:ext uri="{FF2B5EF4-FFF2-40B4-BE49-F238E27FC236}">
                <a16:creationId xmlns:a16="http://schemas.microsoft.com/office/drawing/2014/main" id="{87CC6696-6113-4D86-BCEB-3D66C4E6A62A}"/>
              </a:ext>
            </a:extLst>
          </p:cNvPr>
          <p:cNvPicPr>
            <a:picLocks noChangeAspect="1"/>
          </p:cNvPicPr>
          <p:nvPr/>
        </p:nvPicPr>
        <p:blipFill rotWithShape="1">
          <a:blip r:embed="rId7"/>
          <a:srcRect l="16736" t="1637" r="13073"/>
          <a:stretch/>
        </p:blipFill>
        <p:spPr>
          <a:xfrm>
            <a:off x="3590129" y="3691313"/>
            <a:ext cx="732750" cy="788047"/>
          </a:xfrm>
          <a:prstGeom prst="rect">
            <a:avLst/>
          </a:prstGeom>
        </p:spPr>
      </p:pic>
      <p:pic>
        <p:nvPicPr>
          <p:cNvPr id="22" name="Picture 21">
            <a:extLst>
              <a:ext uri="{FF2B5EF4-FFF2-40B4-BE49-F238E27FC236}">
                <a16:creationId xmlns:a16="http://schemas.microsoft.com/office/drawing/2014/main" id="{8FE32045-37C1-4174-AD7A-2E4C17794B13}"/>
              </a:ext>
            </a:extLst>
          </p:cNvPr>
          <p:cNvPicPr>
            <a:picLocks noChangeAspect="1"/>
          </p:cNvPicPr>
          <p:nvPr/>
        </p:nvPicPr>
        <p:blipFill>
          <a:blip r:embed="rId8"/>
          <a:stretch>
            <a:fillRect/>
          </a:stretch>
        </p:blipFill>
        <p:spPr>
          <a:xfrm>
            <a:off x="6532098" y="3165290"/>
            <a:ext cx="457240" cy="457240"/>
          </a:xfrm>
          <a:prstGeom prst="rect">
            <a:avLst/>
          </a:prstGeom>
        </p:spPr>
      </p:pic>
      <p:pic>
        <p:nvPicPr>
          <p:cNvPr id="25" name="Picture 2" descr="https://miro.medium.com/max/942/1*aGHlRwFfrKd2SjVoy_7lcg.png">
            <a:extLst>
              <a:ext uri="{FF2B5EF4-FFF2-40B4-BE49-F238E27FC236}">
                <a16:creationId xmlns:a16="http://schemas.microsoft.com/office/drawing/2014/main" id="{F5840A8D-201B-434C-BD90-15407A139D3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8168" t="14722" r="32645" b="21088"/>
          <a:stretch/>
        </p:blipFill>
        <p:spPr bwMode="auto">
          <a:xfrm>
            <a:off x="5551109" y="1771294"/>
            <a:ext cx="1383020" cy="1370633"/>
          </a:xfrm>
          <a:prstGeom prst="rect">
            <a:avLst/>
          </a:prstGeom>
          <a:noFill/>
          <a:extLst>
            <a:ext uri="{909E8E84-426E-40DD-AFC4-6F175D3DCCD1}">
              <a14:hiddenFill xmlns:a14="http://schemas.microsoft.com/office/drawing/2010/main">
                <a:solidFill>
                  <a:srgbClr val="FFFFFF"/>
                </a:solidFill>
              </a14:hiddenFill>
            </a:ext>
          </a:extLst>
        </p:spPr>
      </p:pic>
      <p:sp>
        <p:nvSpPr>
          <p:cNvPr id="28" name="Arrow: Right 27">
            <a:extLst>
              <a:ext uri="{FF2B5EF4-FFF2-40B4-BE49-F238E27FC236}">
                <a16:creationId xmlns:a16="http://schemas.microsoft.com/office/drawing/2014/main" id="{F2B18998-8ED0-46D8-B880-7CD6E8A124F6}"/>
              </a:ext>
            </a:extLst>
          </p:cNvPr>
          <p:cNvSpPr/>
          <p:nvPr/>
        </p:nvSpPr>
        <p:spPr>
          <a:xfrm rot="18525525">
            <a:off x="4115365" y="2992513"/>
            <a:ext cx="599715" cy="345554"/>
          </a:xfrm>
          <a:prstGeom prst="rightArrow">
            <a:avLst/>
          </a:prstGeom>
          <a:solidFill>
            <a:schemeClr val="tx1">
              <a:lumMod val="65000"/>
              <a:lumOff val="3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de-DE" sz="1400" dirty="0">
              <a:solidFill>
                <a:schemeClr val="tx1"/>
              </a:solidFill>
            </a:endParaRPr>
          </a:p>
        </p:txBody>
      </p:sp>
      <p:sp>
        <p:nvSpPr>
          <p:cNvPr id="29" name="Arrow: Right 28">
            <a:extLst>
              <a:ext uri="{FF2B5EF4-FFF2-40B4-BE49-F238E27FC236}">
                <a16:creationId xmlns:a16="http://schemas.microsoft.com/office/drawing/2014/main" id="{B07B6605-8D04-4C06-9831-893DC67553D2}"/>
              </a:ext>
            </a:extLst>
          </p:cNvPr>
          <p:cNvSpPr/>
          <p:nvPr/>
        </p:nvSpPr>
        <p:spPr>
          <a:xfrm rot="2699738">
            <a:off x="6538738" y="3311271"/>
            <a:ext cx="586670" cy="364851"/>
          </a:xfrm>
          <a:prstGeom prst="rightArrow">
            <a:avLst/>
          </a:prstGeom>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de-DE" sz="1400" dirty="0">
              <a:solidFill>
                <a:schemeClr val="tx1"/>
              </a:solidFill>
            </a:endParaRPr>
          </a:p>
        </p:txBody>
      </p:sp>
      <p:sp>
        <p:nvSpPr>
          <p:cNvPr id="32" name="Rectangle 31">
            <a:extLst>
              <a:ext uri="{FF2B5EF4-FFF2-40B4-BE49-F238E27FC236}">
                <a16:creationId xmlns:a16="http://schemas.microsoft.com/office/drawing/2014/main" id="{7ED87840-706C-4DEF-9E3D-D31025BC9B2E}"/>
              </a:ext>
            </a:extLst>
          </p:cNvPr>
          <p:cNvSpPr/>
          <p:nvPr/>
        </p:nvSpPr>
        <p:spPr>
          <a:xfrm>
            <a:off x="1957455" y="4403770"/>
            <a:ext cx="1606206" cy="487341"/>
          </a:xfrm>
          <a:prstGeom prst="rect">
            <a:avLst/>
          </a:prstGeom>
          <a:solidFill>
            <a:schemeClr val="bg1">
              <a:lumMod val="8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050" dirty="0">
                <a:solidFill>
                  <a:schemeClr val="tx1"/>
                </a:solidFill>
              </a:rPr>
              <a:t>Where is the data for training this model?</a:t>
            </a:r>
          </a:p>
        </p:txBody>
      </p:sp>
      <p:sp>
        <p:nvSpPr>
          <p:cNvPr id="33" name="Rectangle 32">
            <a:extLst>
              <a:ext uri="{FF2B5EF4-FFF2-40B4-BE49-F238E27FC236}">
                <a16:creationId xmlns:a16="http://schemas.microsoft.com/office/drawing/2014/main" id="{E700EAA6-E06A-4265-B07A-22530F1F5F7A}"/>
              </a:ext>
            </a:extLst>
          </p:cNvPr>
          <p:cNvSpPr/>
          <p:nvPr/>
        </p:nvSpPr>
        <p:spPr>
          <a:xfrm>
            <a:off x="4120449" y="2039715"/>
            <a:ext cx="1369716" cy="738664"/>
          </a:xfrm>
          <a:prstGeom prst="rect">
            <a:avLst/>
          </a:prstGeom>
          <a:solidFill>
            <a:schemeClr val="bg1">
              <a:lumMod val="85000"/>
            </a:schemeClr>
          </a:solidFill>
        </p:spPr>
        <p:txBody>
          <a:bodyPr wrap="square">
            <a:spAutoFit/>
          </a:bodyPr>
          <a:lstStyle/>
          <a:p>
            <a:pPr algn="ctr"/>
            <a:r>
              <a:rPr lang="de-DE" sz="1050" dirty="0"/>
              <a:t>How to convert unstructured  into structured data?</a:t>
            </a:r>
          </a:p>
        </p:txBody>
      </p:sp>
      <p:sp>
        <p:nvSpPr>
          <p:cNvPr id="34" name="Rectangle 33">
            <a:extLst>
              <a:ext uri="{FF2B5EF4-FFF2-40B4-BE49-F238E27FC236}">
                <a16:creationId xmlns:a16="http://schemas.microsoft.com/office/drawing/2014/main" id="{3B36D833-AA30-47E2-BBD2-F83D6DC6082F}"/>
              </a:ext>
            </a:extLst>
          </p:cNvPr>
          <p:cNvSpPr/>
          <p:nvPr/>
        </p:nvSpPr>
        <p:spPr>
          <a:xfrm>
            <a:off x="7857483" y="1984798"/>
            <a:ext cx="1935843" cy="253916"/>
          </a:xfrm>
          <a:prstGeom prst="rect">
            <a:avLst/>
          </a:prstGeom>
        </p:spPr>
        <p:txBody>
          <a:bodyPr wrap="square">
            <a:spAutoFit/>
          </a:bodyPr>
          <a:lstStyle/>
          <a:p>
            <a:pPr algn="ctr"/>
            <a:endParaRPr lang="de-DE" sz="1050" dirty="0"/>
          </a:p>
        </p:txBody>
      </p:sp>
      <p:sp>
        <p:nvSpPr>
          <p:cNvPr id="36" name="Arrow: Right 35">
            <a:extLst>
              <a:ext uri="{FF2B5EF4-FFF2-40B4-BE49-F238E27FC236}">
                <a16:creationId xmlns:a16="http://schemas.microsoft.com/office/drawing/2014/main" id="{6E8682DB-096F-4C62-ACD5-99C0F6441298}"/>
              </a:ext>
            </a:extLst>
          </p:cNvPr>
          <p:cNvSpPr/>
          <p:nvPr/>
        </p:nvSpPr>
        <p:spPr>
          <a:xfrm rot="18981470">
            <a:off x="8039467" y="3297800"/>
            <a:ext cx="586874" cy="335699"/>
          </a:xfrm>
          <a:prstGeom prst="rightArrow">
            <a:avLst>
              <a:gd name="adj1" fmla="val 51949"/>
              <a:gd name="adj2" fmla="val 50000"/>
            </a:avLst>
          </a:prstGeom>
          <a:solidFill>
            <a:schemeClr val="tx1">
              <a:lumMod val="85000"/>
              <a:lumOff val="1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de-DE" sz="1400" dirty="0">
              <a:solidFill>
                <a:schemeClr val="tx1"/>
              </a:solidFill>
            </a:endParaRPr>
          </a:p>
        </p:txBody>
      </p:sp>
      <p:sp>
        <p:nvSpPr>
          <p:cNvPr id="40" name="Rectangle 39">
            <a:extLst>
              <a:ext uri="{FF2B5EF4-FFF2-40B4-BE49-F238E27FC236}">
                <a16:creationId xmlns:a16="http://schemas.microsoft.com/office/drawing/2014/main" id="{FC1DAAD9-6DED-40E2-AC42-6408C8864EC0}"/>
              </a:ext>
            </a:extLst>
          </p:cNvPr>
          <p:cNvSpPr/>
          <p:nvPr/>
        </p:nvSpPr>
        <p:spPr>
          <a:xfrm rot="18908417">
            <a:off x="7764796" y="3050071"/>
            <a:ext cx="681230" cy="253916"/>
          </a:xfrm>
          <a:prstGeom prst="rect">
            <a:avLst/>
          </a:prstGeom>
          <a:solidFill>
            <a:schemeClr val="bg1">
              <a:lumMod val="85000"/>
            </a:schemeClr>
          </a:solidFill>
        </p:spPr>
        <p:txBody>
          <a:bodyPr wrap="square">
            <a:spAutoFit/>
          </a:bodyPr>
          <a:lstStyle/>
          <a:p>
            <a:pPr algn="ctr"/>
            <a:r>
              <a:rPr lang="de-DE" sz="1050" dirty="0"/>
              <a:t>Triples</a:t>
            </a:r>
          </a:p>
        </p:txBody>
      </p:sp>
      <p:pic>
        <p:nvPicPr>
          <p:cNvPr id="42" name="Picture 41">
            <a:extLst>
              <a:ext uri="{FF2B5EF4-FFF2-40B4-BE49-F238E27FC236}">
                <a16:creationId xmlns:a16="http://schemas.microsoft.com/office/drawing/2014/main" id="{CB31BF40-6283-4E18-A14B-8C734C9ED602}"/>
              </a:ext>
            </a:extLst>
          </p:cNvPr>
          <p:cNvPicPr>
            <a:picLocks noChangeAspect="1"/>
          </p:cNvPicPr>
          <p:nvPr/>
        </p:nvPicPr>
        <p:blipFill>
          <a:blip r:embed="rId10"/>
          <a:stretch>
            <a:fillRect/>
          </a:stretch>
        </p:blipFill>
        <p:spPr>
          <a:xfrm>
            <a:off x="8842629" y="1861076"/>
            <a:ext cx="1055565" cy="1143529"/>
          </a:xfrm>
          <a:prstGeom prst="rect">
            <a:avLst/>
          </a:prstGeom>
        </p:spPr>
      </p:pic>
      <p:sp>
        <p:nvSpPr>
          <p:cNvPr id="43" name="Oval 42">
            <a:extLst>
              <a:ext uri="{FF2B5EF4-FFF2-40B4-BE49-F238E27FC236}">
                <a16:creationId xmlns:a16="http://schemas.microsoft.com/office/drawing/2014/main" id="{5BA43A27-57E0-4BE8-98E3-F996E444A0A0}"/>
              </a:ext>
            </a:extLst>
          </p:cNvPr>
          <p:cNvSpPr/>
          <p:nvPr/>
        </p:nvSpPr>
        <p:spPr>
          <a:xfrm>
            <a:off x="1535933" y="2007112"/>
            <a:ext cx="1104490" cy="620311"/>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de-DE" sz="900" dirty="0">
                <a:ln w="0"/>
                <a:solidFill>
                  <a:schemeClr val="tx1"/>
                </a:solidFill>
                <a:effectLst>
                  <a:outerShdw blurRad="38100" dist="19050" dir="2700000" algn="tl" rotWithShape="0">
                    <a:schemeClr val="dk1">
                      <a:alpha val="40000"/>
                    </a:schemeClr>
                  </a:outerShdw>
                </a:effectLst>
              </a:rPr>
              <a:t>Business</a:t>
            </a:r>
          </a:p>
        </p:txBody>
      </p:sp>
      <p:sp>
        <p:nvSpPr>
          <p:cNvPr id="47" name="Rectangle 46">
            <a:extLst>
              <a:ext uri="{FF2B5EF4-FFF2-40B4-BE49-F238E27FC236}">
                <a16:creationId xmlns:a16="http://schemas.microsoft.com/office/drawing/2014/main" id="{E248D4E3-12E8-44C0-886B-387A19291F63}"/>
              </a:ext>
            </a:extLst>
          </p:cNvPr>
          <p:cNvSpPr/>
          <p:nvPr/>
        </p:nvSpPr>
        <p:spPr>
          <a:xfrm>
            <a:off x="10119975" y="2545508"/>
            <a:ext cx="1364773" cy="848402"/>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dirty="0">
                <a:solidFill>
                  <a:schemeClr val="tx1"/>
                </a:solidFill>
              </a:rPr>
              <a:t>Storage of (intermediate and end) results</a:t>
            </a:r>
          </a:p>
        </p:txBody>
      </p:sp>
      <p:sp>
        <p:nvSpPr>
          <p:cNvPr id="51" name="Oval 50">
            <a:extLst>
              <a:ext uri="{FF2B5EF4-FFF2-40B4-BE49-F238E27FC236}">
                <a16:creationId xmlns:a16="http://schemas.microsoft.com/office/drawing/2014/main" id="{B667A5FE-3BCA-4E3C-BF5A-7A2199454231}"/>
              </a:ext>
            </a:extLst>
          </p:cNvPr>
          <p:cNvSpPr/>
          <p:nvPr/>
        </p:nvSpPr>
        <p:spPr>
          <a:xfrm>
            <a:off x="1340605" y="4744857"/>
            <a:ext cx="1150572" cy="713542"/>
          </a:xfrm>
          <a:prstGeom prst="ellipse">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n w="0"/>
                <a:solidFill>
                  <a:schemeClr val="tx1"/>
                </a:solidFill>
                <a:effectLst>
                  <a:outerShdw blurRad="38100" dist="19050" dir="2700000" algn="tl" rotWithShape="0">
                    <a:schemeClr val="dk1">
                      <a:alpha val="40000"/>
                    </a:schemeClr>
                  </a:outerShdw>
                </a:effectLst>
              </a:rPr>
              <a:t>Data Scientist/</a:t>
            </a:r>
          </a:p>
          <a:p>
            <a:pPr algn="ctr"/>
            <a:r>
              <a:rPr lang="de-DE" sz="800" dirty="0">
                <a:ln w="0"/>
                <a:solidFill>
                  <a:schemeClr val="tx1"/>
                </a:solidFill>
                <a:effectLst>
                  <a:outerShdw blurRad="38100" dist="19050" dir="2700000" algn="tl" rotWithShape="0">
                    <a:schemeClr val="dk1">
                      <a:alpha val="40000"/>
                    </a:schemeClr>
                  </a:outerShdw>
                </a:effectLst>
              </a:rPr>
              <a:t>Data Manager</a:t>
            </a:r>
          </a:p>
        </p:txBody>
      </p:sp>
      <p:sp>
        <p:nvSpPr>
          <p:cNvPr id="54" name="Oval 53">
            <a:extLst>
              <a:ext uri="{FF2B5EF4-FFF2-40B4-BE49-F238E27FC236}">
                <a16:creationId xmlns:a16="http://schemas.microsoft.com/office/drawing/2014/main" id="{7E4CDC93-015A-4B2F-855F-3940B9F994A0}"/>
              </a:ext>
            </a:extLst>
          </p:cNvPr>
          <p:cNvSpPr/>
          <p:nvPr/>
        </p:nvSpPr>
        <p:spPr>
          <a:xfrm>
            <a:off x="5707650" y="1180711"/>
            <a:ext cx="929848" cy="683984"/>
          </a:xfrm>
          <a:prstGeom prst="ellipse">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n w="0"/>
                <a:solidFill>
                  <a:schemeClr val="tx1"/>
                </a:solidFill>
                <a:effectLst>
                  <a:outerShdw blurRad="38100" dist="19050" dir="2700000" algn="tl" rotWithShape="0">
                    <a:schemeClr val="dk1">
                      <a:alpha val="40000"/>
                    </a:schemeClr>
                  </a:outerShdw>
                </a:effectLst>
              </a:rPr>
              <a:t>Data Scientist</a:t>
            </a:r>
          </a:p>
        </p:txBody>
      </p:sp>
      <p:sp>
        <p:nvSpPr>
          <p:cNvPr id="56" name="Oval 55">
            <a:extLst>
              <a:ext uri="{FF2B5EF4-FFF2-40B4-BE49-F238E27FC236}">
                <a16:creationId xmlns:a16="http://schemas.microsoft.com/office/drawing/2014/main" id="{18B75BDA-00D2-4822-A5DE-5AF6C51A03EB}"/>
              </a:ext>
            </a:extLst>
          </p:cNvPr>
          <p:cNvSpPr/>
          <p:nvPr/>
        </p:nvSpPr>
        <p:spPr>
          <a:xfrm>
            <a:off x="775446" y="961174"/>
            <a:ext cx="381928" cy="406936"/>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de-DE" sz="1600" b="1" dirty="0">
                <a:ln w="0"/>
                <a:solidFill>
                  <a:schemeClr val="tx1"/>
                </a:solidFill>
                <a:effectLst>
                  <a:outerShdw blurRad="38100" dist="19050" dir="2700000" algn="tl" rotWithShape="0">
                    <a:schemeClr val="dk1">
                      <a:alpha val="40000"/>
                    </a:schemeClr>
                  </a:outerShdw>
                </a:effectLst>
              </a:rPr>
              <a:t>1</a:t>
            </a:r>
          </a:p>
        </p:txBody>
      </p:sp>
      <p:sp>
        <p:nvSpPr>
          <p:cNvPr id="57" name="Oval 56">
            <a:extLst>
              <a:ext uri="{FF2B5EF4-FFF2-40B4-BE49-F238E27FC236}">
                <a16:creationId xmlns:a16="http://schemas.microsoft.com/office/drawing/2014/main" id="{1BC20370-DAEA-486C-AEDA-5B33DB176001}"/>
              </a:ext>
            </a:extLst>
          </p:cNvPr>
          <p:cNvSpPr/>
          <p:nvPr/>
        </p:nvSpPr>
        <p:spPr>
          <a:xfrm>
            <a:off x="2319851" y="4975252"/>
            <a:ext cx="440992" cy="429960"/>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de-DE" sz="1600" b="1" dirty="0">
                <a:ln w="0"/>
                <a:solidFill>
                  <a:schemeClr val="tx1"/>
                </a:solidFill>
                <a:effectLst>
                  <a:outerShdw blurRad="38100" dist="19050" dir="2700000" algn="tl" rotWithShape="0">
                    <a:schemeClr val="dk1">
                      <a:alpha val="40000"/>
                    </a:schemeClr>
                  </a:outerShdw>
                </a:effectLst>
              </a:rPr>
              <a:t>2</a:t>
            </a:r>
          </a:p>
        </p:txBody>
      </p:sp>
      <p:sp>
        <p:nvSpPr>
          <p:cNvPr id="58" name="Oval 57">
            <a:extLst>
              <a:ext uri="{FF2B5EF4-FFF2-40B4-BE49-F238E27FC236}">
                <a16:creationId xmlns:a16="http://schemas.microsoft.com/office/drawing/2014/main" id="{A6E1AAC5-B2BA-43E3-9FF3-A0ADC02AD264}"/>
              </a:ext>
            </a:extLst>
          </p:cNvPr>
          <p:cNvSpPr/>
          <p:nvPr/>
        </p:nvSpPr>
        <p:spPr>
          <a:xfrm>
            <a:off x="5374948" y="1554157"/>
            <a:ext cx="401725" cy="357319"/>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de-DE" sz="1600" b="1" dirty="0">
                <a:ln w="0"/>
                <a:solidFill>
                  <a:schemeClr val="tx1"/>
                </a:solidFill>
                <a:effectLst>
                  <a:outerShdw blurRad="38100" dist="19050" dir="2700000" algn="tl" rotWithShape="0">
                    <a:schemeClr val="dk1">
                      <a:alpha val="40000"/>
                    </a:schemeClr>
                  </a:outerShdw>
                </a:effectLst>
              </a:rPr>
              <a:t>3</a:t>
            </a:r>
          </a:p>
        </p:txBody>
      </p:sp>
      <p:sp>
        <p:nvSpPr>
          <p:cNvPr id="59" name="Rectangle 58">
            <a:extLst>
              <a:ext uri="{FF2B5EF4-FFF2-40B4-BE49-F238E27FC236}">
                <a16:creationId xmlns:a16="http://schemas.microsoft.com/office/drawing/2014/main" id="{3E39DF35-CA9B-4D23-ACC8-28C3F3E1A6B1}"/>
              </a:ext>
            </a:extLst>
          </p:cNvPr>
          <p:cNvSpPr/>
          <p:nvPr/>
        </p:nvSpPr>
        <p:spPr>
          <a:xfrm>
            <a:off x="7335202" y="5702890"/>
            <a:ext cx="1041866" cy="577081"/>
          </a:xfrm>
          <a:prstGeom prst="rect">
            <a:avLst/>
          </a:prstGeom>
          <a:solidFill>
            <a:schemeClr val="bg1">
              <a:lumMod val="85000"/>
            </a:schemeClr>
          </a:solidFill>
        </p:spPr>
        <p:txBody>
          <a:bodyPr wrap="square">
            <a:spAutoFit/>
          </a:bodyPr>
          <a:lstStyle/>
          <a:p>
            <a:pPr algn="ctr"/>
            <a:r>
              <a:rPr lang="de-DE" sz="1050" dirty="0"/>
              <a:t>Review Annotated Objects</a:t>
            </a:r>
          </a:p>
        </p:txBody>
      </p:sp>
      <p:sp>
        <p:nvSpPr>
          <p:cNvPr id="61" name="Oval 60">
            <a:extLst>
              <a:ext uri="{FF2B5EF4-FFF2-40B4-BE49-F238E27FC236}">
                <a16:creationId xmlns:a16="http://schemas.microsoft.com/office/drawing/2014/main" id="{467696A6-F965-4490-A4E7-AA55C70CFFEC}"/>
              </a:ext>
            </a:extLst>
          </p:cNvPr>
          <p:cNvSpPr/>
          <p:nvPr/>
        </p:nvSpPr>
        <p:spPr>
          <a:xfrm>
            <a:off x="7196878" y="6160142"/>
            <a:ext cx="438041" cy="405038"/>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de-DE" sz="1600" b="1" dirty="0">
                <a:ln w="0"/>
                <a:solidFill>
                  <a:schemeClr val="tx1"/>
                </a:solidFill>
                <a:effectLst>
                  <a:outerShdw blurRad="38100" dist="19050" dir="2700000" algn="tl" rotWithShape="0">
                    <a:schemeClr val="dk1">
                      <a:alpha val="40000"/>
                    </a:schemeClr>
                  </a:outerShdw>
                </a:effectLst>
              </a:rPr>
              <a:t>4</a:t>
            </a:r>
          </a:p>
        </p:txBody>
      </p:sp>
      <p:sp>
        <p:nvSpPr>
          <p:cNvPr id="62" name="Oval 61">
            <a:extLst>
              <a:ext uri="{FF2B5EF4-FFF2-40B4-BE49-F238E27FC236}">
                <a16:creationId xmlns:a16="http://schemas.microsoft.com/office/drawing/2014/main" id="{7C19D6D7-7496-41F2-BD0A-BAB57206853D}"/>
              </a:ext>
            </a:extLst>
          </p:cNvPr>
          <p:cNvSpPr/>
          <p:nvPr/>
        </p:nvSpPr>
        <p:spPr>
          <a:xfrm>
            <a:off x="9475726" y="1024392"/>
            <a:ext cx="471068" cy="303201"/>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de-DE" sz="1600" b="1" dirty="0">
                <a:ln w="0"/>
                <a:solidFill>
                  <a:schemeClr val="tx1"/>
                </a:solidFill>
                <a:effectLst>
                  <a:outerShdw blurRad="38100" dist="19050" dir="2700000" algn="tl" rotWithShape="0">
                    <a:schemeClr val="dk1">
                      <a:alpha val="40000"/>
                    </a:schemeClr>
                  </a:outerShdw>
                </a:effectLst>
              </a:rPr>
              <a:t>5</a:t>
            </a:r>
          </a:p>
        </p:txBody>
      </p:sp>
      <p:sp>
        <p:nvSpPr>
          <p:cNvPr id="3" name="AutoShape 2" descr="Image result for ontology">
            <a:extLst>
              <a:ext uri="{FF2B5EF4-FFF2-40B4-BE49-F238E27FC236}">
                <a16:creationId xmlns:a16="http://schemas.microsoft.com/office/drawing/2014/main" id="{C06836FB-BAC6-443C-BA05-6239DE82DD84}"/>
              </a:ext>
            </a:extLst>
          </p:cNvPr>
          <p:cNvSpPr>
            <a:spLocks noChangeAspect="1" noChangeArrowheads="1"/>
          </p:cNvSpPr>
          <p:nvPr/>
        </p:nvSpPr>
        <p:spPr bwMode="auto">
          <a:xfrm>
            <a:off x="7065518" y="36987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8" name="Picture 7">
            <a:extLst>
              <a:ext uri="{FF2B5EF4-FFF2-40B4-BE49-F238E27FC236}">
                <a16:creationId xmlns:a16="http://schemas.microsoft.com/office/drawing/2014/main" id="{7CC3886D-065B-4D57-AFBE-B9CA206B8196}"/>
              </a:ext>
            </a:extLst>
          </p:cNvPr>
          <p:cNvPicPr>
            <a:picLocks noChangeAspect="1"/>
          </p:cNvPicPr>
          <p:nvPr/>
        </p:nvPicPr>
        <p:blipFill rotWithShape="1">
          <a:blip r:embed="rId11"/>
          <a:srcRect l="1980" r="-1"/>
          <a:stretch/>
        </p:blipFill>
        <p:spPr>
          <a:xfrm>
            <a:off x="9995394" y="1212430"/>
            <a:ext cx="1270572" cy="1278087"/>
          </a:xfrm>
          <a:prstGeom prst="rect">
            <a:avLst/>
          </a:prstGeom>
        </p:spPr>
      </p:pic>
      <p:sp>
        <p:nvSpPr>
          <p:cNvPr id="41" name="Oval 40">
            <a:extLst>
              <a:ext uri="{FF2B5EF4-FFF2-40B4-BE49-F238E27FC236}">
                <a16:creationId xmlns:a16="http://schemas.microsoft.com/office/drawing/2014/main" id="{50ADA1F6-EA12-488F-8332-D2964E5A1777}"/>
              </a:ext>
            </a:extLst>
          </p:cNvPr>
          <p:cNvSpPr/>
          <p:nvPr/>
        </p:nvSpPr>
        <p:spPr>
          <a:xfrm>
            <a:off x="8225509" y="5750246"/>
            <a:ext cx="1041118" cy="947993"/>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800" dirty="0">
                <a:ln w="0"/>
                <a:solidFill>
                  <a:schemeClr val="tx1"/>
                </a:solidFill>
                <a:effectLst>
                  <a:outerShdw blurRad="38100" dist="19050" dir="2700000" algn="tl" rotWithShape="0">
                    <a:schemeClr val="dk1">
                      <a:alpha val="40000"/>
                    </a:schemeClr>
                  </a:outerShdw>
                </a:effectLst>
              </a:rPr>
              <a:t>Data Manager/Domain Expert</a:t>
            </a:r>
          </a:p>
        </p:txBody>
      </p:sp>
      <p:sp>
        <p:nvSpPr>
          <p:cNvPr id="45" name="Oval 44">
            <a:extLst>
              <a:ext uri="{FF2B5EF4-FFF2-40B4-BE49-F238E27FC236}">
                <a16:creationId xmlns:a16="http://schemas.microsoft.com/office/drawing/2014/main" id="{8A7CF21E-CDE6-4CE5-B9D1-FCAFB4B8281E}"/>
              </a:ext>
            </a:extLst>
          </p:cNvPr>
          <p:cNvSpPr/>
          <p:nvPr/>
        </p:nvSpPr>
        <p:spPr>
          <a:xfrm>
            <a:off x="9090567" y="1317691"/>
            <a:ext cx="894518" cy="582270"/>
          </a:xfrm>
          <a:prstGeom prst="ellipse">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ln w="0"/>
                <a:solidFill>
                  <a:schemeClr val="tx1"/>
                </a:solidFill>
                <a:effectLst>
                  <a:outerShdw blurRad="38100" dist="19050" dir="2700000" algn="tl" rotWithShape="0">
                    <a:schemeClr val="dk1">
                      <a:alpha val="40000"/>
                    </a:schemeClr>
                  </a:outerShdw>
                </a:effectLst>
              </a:rPr>
              <a:t>Data Engineer</a:t>
            </a:r>
          </a:p>
        </p:txBody>
      </p:sp>
      <p:sp>
        <p:nvSpPr>
          <p:cNvPr id="52" name="Arrow: Right 51">
            <a:extLst>
              <a:ext uri="{FF2B5EF4-FFF2-40B4-BE49-F238E27FC236}">
                <a16:creationId xmlns:a16="http://schemas.microsoft.com/office/drawing/2014/main" id="{6E18B32E-01D5-4F69-B27F-8900BA4B41A1}"/>
              </a:ext>
            </a:extLst>
          </p:cNvPr>
          <p:cNvSpPr/>
          <p:nvPr/>
        </p:nvSpPr>
        <p:spPr>
          <a:xfrm rot="2699738">
            <a:off x="2674766" y="3051080"/>
            <a:ext cx="586670" cy="364851"/>
          </a:xfrm>
          <a:prstGeom prst="rightArrow">
            <a:avLst/>
          </a:prstGeom>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de-DE" sz="1400" dirty="0">
              <a:solidFill>
                <a:schemeClr val="tx1"/>
              </a:solidFill>
            </a:endParaRPr>
          </a:p>
        </p:txBody>
      </p:sp>
      <p:sp>
        <p:nvSpPr>
          <p:cNvPr id="12" name="AutoShape 2" descr="Image result for quality of data">
            <a:extLst>
              <a:ext uri="{FF2B5EF4-FFF2-40B4-BE49-F238E27FC236}">
                <a16:creationId xmlns:a16="http://schemas.microsoft.com/office/drawing/2014/main" id="{DFB06B2C-42F0-414D-BD64-4FD7A4D71B50}"/>
              </a:ext>
            </a:extLst>
          </p:cNvPr>
          <p:cNvSpPr>
            <a:spLocks noChangeAspect="1" noChangeArrowheads="1"/>
          </p:cNvSpPr>
          <p:nvPr/>
        </p:nvSpPr>
        <p:spPr bwMode="auto">
          <a:xfrm>
            <a:off x="7217918" y="38511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 name="AutoShape 4" descr="Image result for quality of data">
            <a:extLst>
              <a:ext uri="{FF2B5EF4-FFF2-40B4-BE49-F238E27FC236}">
                <a16:creationId xmlns:a16="http://schemas.microsoft.com/office/drawing/2014/main" id="{2DBD6F10-03E1-452F-AE2F-CBEEEB83D77F}"/>
              </a:ext>
            </a:extLst>
          </p:cNvPr>
          <p:cNvSpPr>
            <a:spLocks noChangeAspect="1" noChangeArrowheads="1"/>
          </p:cNvSpPr>
          <p:nvPr/>
        </p:nvSpPr>
        <p:spPr bwMode="auto">
          <a:xfrm>
            <a:off x="7370318" y="40035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8" name="Oval 67">
            <a:extLst>
              <a:ext uri="{FF2B5EF4-FFF2-40B4-BE49-F238E27FC236}">
                <a16:creationId xmlns:a16="http://schemas.microsoft.com/office/drawing/2014/main" id="{7A059140-2428-414C-9409-51FE6BC98707}"/>
              </a:ext>
            </a:extLst>
          </p:cNvPr>
          <p:cNvSpPr/>
          <p:nvPr/>
        </p:nvSpPr>
        <p:spPr>
          <a:xfrm>
            <a:off x="8064885" y="1150354"/>
            <a:ext cx="949159" cy="848402"/>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800" dirty="0">
                <a:ln w="0"/>
                <a:solidFill>
                  <a:schemeClr val="tx1"/>
                </a:solidFill>
                <a:effectLst>
                  <a:outerShdw blurRad="38100" dist="19050" dir="2700000" algn="tl" rotWithShape="0">
                    <a:schemeClr val="dk1">
                      <a:alpha val="40000"/>
                    </a:schemeClr>
                  </a:outerShdw>
                </a:effectLst>
              </a:rPr>
              <a:t>Data manager</a:t>
            </a:r>
          </a:p>
        </p:txBody>
      </p:sp>
      <p:sp>
        <p:nvSpPr>
          <p:cNvPr id="71" name="Oval 70">
            <a:extLst>
              <a:ext uri="{FF2B5EF4-FFF2-40B4-BE49-F238E27FC236}">
                <a16:creationId xmlns:a16="http://schemas.microsoft.com/office/drawing/2014/main" id="{AA4B3A38-1727-4E19-B156-ECCA54323B9B}"/>
              </a:ext>
            </a:extLst>
          </p:cNvPr>
          <p:cNvSpPr/>
          <p:nvPr/>
        </p:nvSpPr>
        <p:spPr>
          <a:xfrm>
            <a:off x="8863994" y="5563611"/>
            <a:ext cx="1418730" cy="58227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800" dirty="0">
                <a:ln w="0"/>
                <a:solidFill>
                  <a:schemeClr val="tx1"/>
                </a:solidFill>
                <a:effectLst>
                  <a:outerShdw blurRad="38100" dist="19050" dir="2700000" algn="tl" rotWithShape="0">
                    <a:schemeClr val="dk1">
                      <a:alpha val="40000"/>
                    </a:schemeClr>
                  </a:outerShdw>
                </a:effectLst>
              </a:rPr>
              <a:t>Crowdworkers</a:t>
            </a:r>
          </a:p>
        </p:txBody>
      </p:sp>
      <p:pic>
        <p:nvPicPr>
          <p:cNvPr id="16" name="Picture 15">
            <a:extLst>
              <a:ext uri="{FF2B5EF4-FFF2-40B4-BE49-F238E27FC236}">
                <a16:creationId xmlns:a16="http://schemas.microsoft.com/office/drawing/2014/main" id="{288F872D-6AE8-4FBF-B4E2-8CB5E2DAB23B}"/>
              </a:ext>
            </a:extLst>
          </p:cNvPr>
          <p:cNvPicPr>
            <a:picLocks noChangeAspect="1"/>
          </p:cNvPicPr>
          <p:nvPr/>
        </p:nvPicPr>
        <p:blipFill>
          <a:blip r:embed="rId12"/>
          <a:stretch>
            <a:fillRect/>
          </a:stretch>
        </p:blipFill>
        <p:spPr>
          <a:xfrm>
            <a:off x="7106201" y="4513048"/>
            <a:ext cx="2509925" cy="985103"/>
          </a:xfrm>
          <a:prstGeom prst="rect">
            <a:avLst/>
          </a:prstGeom>
        </p:spPr>
      </p:pic>
      <p:pic>
        <p:nvPicPr>
          <p:cNvPr id="50" name="Graphic 49" descr="Magnifying glass">
            <a:extLst>
              <a:ext uri="{FF2B5EF4-FFF2-40B4-BE49-F238E27FC236}">
                <a16:creationId xmlns:a16="http://schemas.microsoft.com/office/drawing/2014/main" id="{E86CA23E-1859-49E0-9930-B21D62A777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184132" y="4596578"/>
            <a:ext cx="901573" cy="901573"/>
          </a:xfrm>
          <a:prstGeom prst="rect">
            <a:avLst/>
          </a:prstGeom>
        </p:spPr>
      </p:pic>
      <p:pic>
        <p:nvPicPr>
          <p:cNvPr id="17" name="Picture 16">
            <a:extLst>
              <a:ext uri="{FF2B5EF4-FFF2-40B4-BE49-F238E27FC236}">
                <a16:creationId xmlns:a16="http://schemas.microsoft.com/office/drawing/2014/main" id="{E58A7BB5-7F69-44B2-9B4D-546EF0B33711}"/>
              </a:ext>
            </a:extLst>
          </p:cNvPr>
          <p:cNvPicPr>
            <a:picLocks noChangeAspect="1"/>
          </p:cNvPicPr>
          <p:nvPr/>
        </p:nvPicPr>
        <p:blipFill>
          <a:blip r:embed="rId12"/>
          <a:stretch>
            <a:fillRect/>
          </a:stretch>
        </p:blipFill>
        <p:spPr>
          <a:xfrm>
            <a:off x="1756989" y="1682058"/>
            <a:ext cx="8574399" cy="3365306"/>
          </a:xfrm>
          <a:prstGeom prst="rect">
            <a:avLst/>
          </a:prstGeom>
        </p:spPr>
      </p:pic>
    </p:spTree>
    <p:custDataLst>
      <p:tags r:id="rId1"/>
    </p:custDataLst>
    <p:extLst>
      <p:ext uri="{BB962C8B-B14F-4D97-AF65-F5344CB8AC3E}">
        <p14:creationId xmlns:p14="http://schemas.microsoft.com/office/powerpoint/2010/main" val="273972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500" fill="hold"/>
                                        <p:tgtEl>
                                          <p:spTgt spid="32"/>
                                        </p:tgtEl>
                                        <p:attrNameLst>
                                          <p:attrName>ppt_x</p:attrName>
                                        </p:attrNameLst>
                                      </p:cBhvr>
                                      <p:tavLst>
                                        <p:tav tm="0">
                                          <p:val>
                                            <p:strVal val="#ppt_x"/>
                                          </p:val>
                                        </p:tav>
                                        <p:tav tm="100000">
                                          <p:val>
                                            <p:strVal val="#ppt_x"/>
                                          </p:val>
                                        </p:tav>
                                      </p:tavLst>
                                    </p:anim>
                                    <p:anim calcmode="lin" valueType="num">
                                      <p:cBhvr additive="base">
                                        <p:cTn id="12" dur="500" fill="hold"/>
                                        <p:tgtEl>
                                          <p:spTgt spid="3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500" fill="hold"/>
                                        <p:tgtEl>
                                          <p:spTgt spid="51"/>
                                        </p:tgtEl>
                                        <p:attrNameLst>
                                          <p:attrName>ppt_x</p:attrName>
                                        </p:attrNameLst>
                                      </p:cBhvr>
                                      <p:tavLst>
                                        <p:tav tm="0">
                                          <p:val>
                                            <p:strVal val="#ppt_x"/>
                                          </p:val>
                                        </p:tav>
                                        <p:tav tm="100000">
                                          <p:val>
                                            <p:strVal val="#ppt_x"/>
                                          </p:val>
                                        </p:tav>
                                      </p:tavLst>
                                    </p:anim>
                                    <p:anim calcmode="lin" valueType="num">
                                      <p:cBhvr additive="base">
                                        <p:cTn id="16" dur="500" fill="hold"/>
                                        <p:tgtEl>
                                          <p:spTgt spid="5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500" fill="hold"/>
                                        <p:tgtEl>
                                          <p:spTgt spid="57"/>
                                        </p:tgtEl>
                                        <p:attrNameLst>
                                          <p:attrName>ppt_x</p:attrName>
                                        </p:attrNameLst>
                                      </p:cBhvr>
                                      <p:tavLst>
                                        <p:tav tm="0">
                                          <p:val>
                                            <p:strVal val="#ppt_x"/>
                                          </p:val>
                                        </p:tav>
                                        <p:tav tm="100000">
                                          <p:val>
                                            <p:strVal val="#ppt_x"/>
                                          </p:val>
                                        </p:tav>
                                      </p:tavLst>
                                    </p:anim>
                                    <p:anim calcmode="lin" valueType="num">
                                      <p:cBhvr additive="base">
                                        <p:cTn id="20" dur="500" fill="hold"/>
                                        <p:tgtEl>
                                          <p:spTgt spid="5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500" fill="hold"/>
                                        <p:tgtEl>
                                          <p:spTgt spid="19"/>
                                        </p:tgtEl>
                                        <p:attrNameLst>
                                          <p:attrName>ppt_x</p:attrName>
                                        </p:attrNameLst>
                                      </p:cBhvr>
                                      <p:tavLst>
                                        <p:tav tm="0">
                                          <p:val>
                                            <p:strVal val="#ppt_x"/>
                                          </p:val>
                                        </p:tav>
                                        <p:tav tm="100000">
                                          <p:val>
                                            <p:strVal val="#ppt_x"/>
                                          </p:val>
                                        </p:tav>
                                      </p:tavLst>
                                    </p:anim>
                                    <p:anim calcmode="lin" valueType="num">
                                      <p:cBhvr additive="base">
                                        <p:cTn id="2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anim calcmode="lin" valueType="num">
                                      <p:cBhvr additive="base">
                                        <p:cTn id="33" dur="500" fill="hold"/>
                                        <p:tgtEl>
                                          <p:spTgt spid="28"/>
                                        </p:tgtEl>
                                        <p:attrNameLst>
                                          <p:attrName>ppt_x</p:attrName>
                                        </p:attrNameLst>
                                      </p:cBhvr>
                                      <p:tavLst>
                                        <p:tav tm="0">
                                          <p:val>
                                            <p:strVal val="#ppt_x"/>
                                          </p:val>
                                        </p:tav>
                                        <p:tav tm="100000">
                                          <p:val>
                                            <p:strVal val="#ppt_x"/>
                                          </p:val>
                                        </p:tav>
                                      </p:tavLst>
                                    </p:anim>
                                    <p:anim calcmode="lin" valueType="num">
                                      <p:cBhvr additive="base">
                                        <p:cTn id="34" dur="500" fill="hold"/>
                                        <p:tgtEl>
                                          <p:spTgt spid="28"/>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additive="base">
                                        <p:cTn id="37" dur="500" fill="hold"/>
                                        <p:tgtEl>
                                          <p:spTgt spid="33"/>
                                        </p:tgtEl>
                                        <p:attrNameLst>
                                          <p:attrName>ppt_x</p:attrName>
                                        </p:attrNameLst>
                                      </p:cBhvr>
                                      <p:tavLst>
                                        <p:tav tm="0">
                                          <p:val>
                                            <p:strVal val="#ppt_x"/>
                                          </p:val>
                                        </p:tav>
                                        <p:tav tm="100000">
                                          <p:val>
                                            <p:strVal val="#ppt_x"/>
                                          </p:val>
                                        </p:tav>
                                      </p:tavLst>
                                    </p:anim>
                                    <p:anim calcmode="lin" valueType="num">
                                      <p:cBhvr additive="base">
                                        <p:cTn id="38" dur="500" fill="hold"/>
                                        <p:tgtEl>
                                          <p:spTgt spid="33"/>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58"/>
                                        </p:tgtEl>
                                        <p:attrNameLst>
                                          <p:attrName>style.visibility</p:attrName>
                                        </p:attrNameLst>
                                      </p:cBhvr>
                                      <p:to>
                                        <p:strVal val="visible"/>
                                      </p:to>
                                    </p:set>
                                    <p:anim calcmode="lin" valueType="num">
                                      <p:cBhvr additive="base">
                                        <p:cTn id="41" dur="500" fill="hold"/>
                                        <p:tgtEl>
                                          <p:spTgt spid="58"/>
                                        </p:tgtEl>
                                        <p:attrNameLst>
                                          <p:attrName>ppt_x</p:attrName>
                                        </p:attrNameLst>
                                      </p:cBhvr>
                                      <p:tavLst>
                                        <p:tav tm="0">
                                          <p:val>
                                            <p:strVal val="#ppt_x"/>
                                          </p:val>
                                        </p:tav>
                                        <p:tav tm="100000">
                                          <p:val>
                                            <p:strVal val="#ppt_x"/>
                                          </p:val>
                                        </p:tav>
                                      </p:tavLst>
                                    </p:anim>
                                    <p:anim calcmode="lin" valueType="num">
                                      <p:cBhvr additive="base">
                                        <p:cTn id="42" dur="500" fill="hold"/>
                                        <p:tgtEl>
                                          <p:spTgt spid="58"/>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 calcmode="lin" valueType="num">
                                      <p:cBhvr additive="base">
                                        <p:cTn id="45" dur="500" fill="hold"/>
                                        <p:tgtEl>
                                          <p:spTgt spid="54"/>
                                        </p:tgtEl>
                                        <p:attrNameLst>
                                          <p:attrName>ppt_x</p:attrName>
                                        </p:attrNameLst>
                                      </p:cBhvr>
                                      <p:tavLst>
                                        <p:tav tm="0">
                                          <p:val>
                                            <p:strVal val="#ppt_x"/>
                                          </p:val>
                                        </p:tav>
                                        <p:tav tm="100000">
                                          <p:val>
                                            <p:strVal val="#ppt_x"/>
                                          </p:val>
                                        </p:tav>
                                      </p:tavLst>
                                    </p:anim>
                                    <p:anim calcmode="lin" valueType="num">
                                      <p:cBhvr additive="base">
                                        <p:cTn id="46" dur="500" fill="hold"/>
                                        <p:tgtEl>
                                          <p:spTgt spid="54"/>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25"/>
                                        </p:tgtEl>
                                        <p:attrNameLst>
                                          <p:attrName>style.visibility</p:attrName>
                                        </p:attrNameLst>
                                      </p:cBhvr>
                                      <p:to>
                                        <p:strVal val="visible"/>
                                      </p:to>
                                    </p:set>
                                    <p:anim calcmode="lin" valueType="num">
                                      <p:cBhvr additive="base">
                                        <p:cTn id="49" dur="500" fill="hold"/>
                                        <p:tgtEl>
                                          <p:spTgt spid="25"/>
                                        </p:tgtEl>
                                        <p:attrNameLst>
                                          <p:attrName>ppt_x</p:attrName>
                                        </p:attrNameLst>
                                      </p:cBhvr>
                                      <p:tavLst>
                                        <p:tav tm="0">
                                          <p:val>
                                            <p:strVal val="#ppt_x"/>
                                          </p:val>
                                        </p:tav>
                                        <p:tav tm="100000">
                                          <p:val>
                                            <p:strVal val="#ppt_x"/>
                                          </p:val>
                                        </p:tav>
                                      </p:tavLst>
                                    </p:anim>
                                    <p:anim calcmode="lin" valueType="num">
                                      <p:cBhvr additive="base">
                                        <p:cTn id="50"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ppt_x"/>
                                          </p:val>
                                        </p:tav>
                                        <p:tav tm="100000">
                                          <p:val>
                                            <p:strVal val="#ppt_x"/>
                                          </p:val>
                                        </p:tav>
                                      </p:tavLst>
                                    </p:anim>
                                    <p:anim calcmode="lin" valueType="num">
                                      <p:cBhvr additive="base">
                                        <p:cTn id="56" dur="500" fill="hold"/>
                                        <p:tgtEl>
                                          <p:spTgt spid="16"/>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anim calcmode="lin" valueType="num">
                                      <p:cBhvr additive="base">
                                        <p:cTn id="59" dur="500" fill="hold"/>
                                        <p:tgtEl>
                                          <p:spTgt spid="71"/>
                                        </p:tgtEl>
                                        <p:attrNameLst>
                                          <p:attrName>ppt_x</p:attrName>
                                        </p:attrNameLst>
                                      </p:cBhvr>
                                      <p:tavLst>
                                        <p:tav tm="0">
                                          <p:val>
                                            <p:strVal val="#ppt_x"/>
                                          </p:val>
                                        </p:tav>
                                        <p:tav tm="100000">
                                          <p:val>
                                            <p:strVal val="#ppt_x"/>
                                          </p:val>
                                        </p:tav>
                                      </p:tavLst>
                                    </p:anim>
                                    <p:anim calcmode="lin" valueType="num">
                                      <p:cBhvr additive="base">
                                        <p:cTn id="60" dur="500" fill="hold"/>
                                        <p:tgtEl>
                                          <p:spTgt spid="71"/>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41"/>
                                        </p:tgtEl>
                                        <p:attrNameLst>
                                          <p:attrName>style.visibility</p:attrName>
                                        </p:attrNameLst>
                                      </p:cBhvr>
                                      <p:to>
                                        <p:strVal val="visible"/>
                                      </p:to>
                                    </p:set>
                                    <p:anim calcmode="lin" valueType="num">
                                      <p:cBhvr additive="base">
                                        <p:cTn id="63" dur="500" fill="hold"/>
                                        <p:tgtEl>
                                          <p:spTgt spid="41"/>
                                        </p:tgtEl>
                                        <p:attrNameLst>
                                          <p:attrName>ppt_x</p:attrName>
                                        </p:attrNameLst>
                                      </p:cBhvr>
                                      <p:tavLst>
                                        <p:tav tm="0">
                                          <p:val>
                                            <p:strVal val="#ppt_x"/>
                                          </p:val>
                                        </p:tav>
                                        <p:tav tm="100000">
                                          <p:val>
                                            <p:strVal val="#ppt_x"/>
                                          </p:val>
                                        </p:tav>
                                      </p:tavLst>
                                    </p:anim>
                                    <p:anim calcmode="lin" valueType="num">
                                      <p:cBhvr additive="base">
                                        <p:cTn id="64" dur="500" fill="hold"/>
                                        <p:tgtEl>
                                          <p:spTgt spid="41"/>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59"/>
                                        </p:tgtEl>
                                        <p:attrNameLst>
                                          <p:attrName>style.visibility</p:attrName>
                                        </p:attrNameLst>
                                      </p:cBhvr>
                                      <p:to>
                                        <p:strVal val="visible"/>
                                      </p:to>
                                    </p:set>
                                    <p:anim calcmode="lin" valueType="num">
                                      <p:cBhvr additive="base">
                                        <p:cTn id="67" dur="500" fill="hold"/>
                                        <p:tgtEl>
                                          <p:spTgt spid="59"/>
                                        </p:tgtEl>
                                        <p:attrNameLst>
                                          <p:attrName>ppt_x</p:attrName>
                                        </p:attrNameLst>
                                      </p:cBhvr>
                                      <p:tavLst>
                                        <p:tav tm="0">
                                          <p:val>
                                            <p:strVal val="#ppt_x"/>
                                          </p:val>
                                        </p:tav>
                                        <p:tav tm="100000">
                                          <p:val>
                                            <p:strVal val="#ppt_x"/>
                                          </p:val>
                                        </p:tav>
                                      </p:tavLst>
                                    </p:anim>
                                    <p:anim calcmode="lin" valueType="num">
                                      <p:cBhvr additive="base">
                                        <p:cTn id="68" dur="500" fill="hold"/>
                                        <p:tgtEl>
                                          <p:spTgt spid="59"/>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50"/>
                                        </p:tgtEl>
                                        <p:attrNameLst>
                                          <p:attrName>style.visibility</p:attrName>
                                        </p:attrNameLst>
                                      </p:cBhvr>
                                      <p:to>
                                        <p:strVal val="visible"/>
                                      </p:to>
                                    </p:set>
                                    <p:anim calcmode="lin" valueType="num">
                                      <p:cBhvr additive="base">
                                        <p:cTn id="71" dur="500" fill="hold"/>
                                        <p:tgtEl>
                                          <p:spTgt spid="50"/>
                                        </p:tgtEl>
                                        <p:attrNameLst>
                                          <p:attrName>ppt_x</p:attrName>
                                        </p:attrNameLst>
                                      </p:cBhvr>
                                      <p:tavLst>
                                        <p:tav tm="0">
                                          <p:val>
                                            <p:strVal val="#ppt_x"/>
                                          </p:val>
                                        </p:tav>
                                        <p:tav tm="100000">
                                          <p:val>
                                            <p:strVal val="#ppt_x"/>
                                          </p:val>
                                        </p:tav>
                                      </p:tavLst>
                                    </p:anim>
                                    <p:anim calcmode="lin" valueType="num">
                                      <p:cBhvr additive="base">
                                        <p:cTn id="72" dur="500" fill="hold"/>
                                        <p:tgtEl>
                                          <p:spTgt spid="50"/>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61"/>
                                        </p:tgtEl>
                                        <p:attrNameLst>
                                          <p:attrName>style.visibility</p:attrName>
                                        </p:attrNameLst>
                                      </p:cBhvr>
                                      <p:to>
                                        <p:strVal val="visible"/>
                                      </p:to>
                                    </p:set>
                                    <p:anim calcmode="lin" valueType="num">
                                      <p:cBhvr additive="base">
                                        <p:cTn id="75" dur="500" fill="hold"/>
                                        <p:tgtEl>
                                          <p:spTgt spid="61"/>
                                        </p:tgtEl>
                                        <p:attrNameLst>
                                          <p:attrName>ppt_x</p:attrName>
                                        </p:attrNameLst>
                                      </p:cBhvr>
                                      <p:tavLst>
                                        <p:tav tm="0">
                                          <p:val>
                                            <p:strVal val="#ppt_x"/>
                                          </p:val>
                                        </p:tav>
                                        <p:tav tm="100000">
                                          <p:val>
                                            <p:strVal val="#ppt_x"/>
                                          </p:val>
                                        </p:tav>
                                      </p:tavLst>
                                    </p:anim>
                                    <p:anim calcmode="lin" valueType="num">
                                      <p:cBhvr additive="base">
                                        <p:cTn id="76" dur="500" fill="hold"/>
                                        <p:tgtEl>
                                          <p:spTgt spid="61"/>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29"/>
                                        </p:tgtEl>
                                        <p:attrNameLst>
                                          <p:attrName>style.visibility</p:attrName>
                                        </p:attrNameLst>
                                      </p:cBhvr>
                                      <p:to>
                                        <p:strVal val="visible"/>
                                      </p:to>
                                    </p:set>
                                    <p:anim calcmode="lin" valueType="num">
                                      <p:cBhvr additive="base">
                                        <p:cTn id="79" dur="500" fill="hold"/>
                                        <p:tgtEl>
                                          <p:spTgt spid="29"/>
                                        </p:tgtEl>
                                        <p:attrNameLst>
                                          <p:attrName>ppt_x</p:attrName>
                                        </p:attrNameLst>
                                      </p:cBhvr>
                                      <p:tavLst>
                                        <p:tav tm="0">
                                          <p:val>
                                            <p:strVal val="#ppt_x"/>
                                          </p:val>
                                        </p:tav>
                                        <p:tav tm="100000">
                                          <p:val>
                                            <p:strVal val="#ppt_x"/>
                                          </p:val>
                                        </p:tav>
                                      </p:tavLst>
                                    </p:anim>
                                    <p:anim calcmode="lin" valueType="num">
                                      <p:cBhvr additive="base">
                                        <p:cTn id="8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17"/>
                                        </p:tgtEl>
                                        <p:attrNameLst>
                                          <p:attrName>style.visibility</p:attrName>
                                        </p:attrNameLst>
                                      </p:cBhvr>
                                      <p:to>
                                        <p:strVal val="visible"/>
                                      </p:to>
                                    </p:set>
                                    <p:anim calcmode="lin" valueType="num">
                                      <p:cBhvr additive="base">
                                        <p:cTn id="85" dur="500" fill="hold"/>
                                        <p:tgtEl>
                                          <p:spTgt spid="17"/>
                                        </p:tgtEl>
                                        <p:attrNameLst>
                                          <p:attrName>ppt_x</p:attrName>
                                        </p:attrNameLst>
                                      </p:cBhvr>
                                      <p:tavLst>
                                        <p:tav tm="0">
                                          <p:val>
                                            <p:strVal val="#ppt_x"/>
                                          </p:val>
                                        </p:tav>
                                        <p:tav tm="100000">
                                          <p:val>
                                            <p:strVal val="#ppt_x"/>
                                          </p:val>
                                        </p:tav>
                                      </p:tavLst>
                                    </p:anim>
                                    <p:anim calcmode="lin" valueType="num">
                                      <p:cBhvr additive="base">
                                        <p:cTn id="86" dur="500" fill="hold"/>
                                        <p:tgtEl>
                                          <p:spTgt spid="17"/>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42"/>
                                        </p:tgtEl>
                                        <p:attrNameLst>
                                          <p:attrName>style.visibility</p:attrName>
                                        </p:attrNameLst>
                                      </p:cBhvr>
                                      <p:to>
                                        <p:strVal val="visible"/>
                                      </p:to>
                                    </p:set>
                                    <p:anim calcmode="lin" valueType="num">
                                      <p:cBhvr additive="base">
                                        <p:cTn id="91" dur="500" fill="hold"/>
                                        <p:tgtEl>
                                          <p:spTgt spid="42"/>
                                        </p:tgtEl>
                                        <p:attrNameLst>
                                          <p:attrName>ppt_x</p:attrName>
                                        </p:attrNameLst>
                                      </p:cBhvr>
                                      <p:tavLst>
                                        <p:tav tm="0">
                                          <p:val>
                                            <p:strVal val="#ppt_x"/>
                                          </p:val>
                                        </p:tav>
                                        <p:tav tm="100000">
                                          <p:val>
                                            <p:strVal val="#ppt_x"/>
                                          </p:val>
                                        </p:tav>
                                      </p:tavLst>
                                    </p:anim>
                                    <p:anim calcmode="lin" valueType="num">
                                      <p:cBhvr additive="base">
                                        <p:cTn id="92" dur="500" fill="hold"/>
                                        <p:tgtEl>
                                          <p:spTgt spid="42"/>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68"/>
                                        </p:tgtEl>
                                        <p:attrNameLst>
                                          <p:attrName>style.visibility</p:attrName>
                                        </p:attrNameLst>
                                      </p:cBhvr>
                                      <p:to>
                                        <p:strVal val="visible"/>
                                      </p:to>
                                    </p:set>
                                    <p:anim calcmode="lin" valueType="num">
                                      <p:cBhvr additive="base">
                                        <p:cTn id="95" dur="500" fill="hold"/>
                                        <p:tgtEl>
                                          <p:spTgt spid="68"/>
                                        </p:tgtEl>
                                        <p:attrNameLst>
                                          <p:attrName>ppt_x</p:attrName>
                                        </p:attrNameLst>
                                      </p:cBhvr>
                                      <p:tavLst>
                                        <p:tav tm="0">
                                          <p:val>
                                            <p:strVal val="#ppt_x"/>
                                          </p:val>
                                        </p:tav>
                                        <p:tav tm="100000">
                                          <p:val>
                                            <p:strVal val="#ppt_x"/>
                                          </p:val>
                                        </p:tav>
                                      </p:tavLst>
                                    </p:anim>
                                    <p:anim calcmode="lin" valueType="num">
                                      <p:cBhvr additive="base">
                                        <p:cTn id="96" dur="500" fill="hold"/>
                                        <p:tgtEl>
                                          <p:spTgt spid="68"/>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45"/>
                                        </p:tgtEl>
                                        <p:attrNameLst>
                                          <p:attrName>style.visibility</p:attrName>
                                        </p:attrNameLst>
                                      </p:cBhvr>
                                      <p:to>
                                        <p:strVal val="visible"/>
                                      </p:to>
                                    </p:set>
                                    <p:anim calcmode="lin" valueType="num">
                                      <p:cBhvr additive="base">
                                        <p:cTn id="99" dur="500" fill="hold"/>
                                        <p:tgtEl>
                                          <p:spTgt spid="45"/>
                                        </p:tgtEl>
                                        <p:attrNameLst>
                                          <p:attrName>ppt_x</p:attrName>
                                        </p:attrNameLst>
                                      </p:cBhvr>
                                      <p:tavLst>
                                        <p:tav tm="0">
                                          <p:val>
                                            <p:strVal val="#ppt_x"/>
                                          </p:val>
                                        </p:tav>
                                        <p:tav tm="100000">
                                          <p:val>
                                            <p:strVal val="#ppt_x"/>
                                          </p:val>
                                        </p:tav>
                                      </p:tavLst>
                                    </p:anim>
                                    <p:anim calcmode="lin" valueType="num">
                                      <p:cBhvr additive="base">
                                        <p:cTn id="100" dur="500" fill="hold"/>
                                        <p:tgtEl>
                                          <p:spTgt spid="45"/>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8"/>
                                        </p:tgtEl>
                                        <p:attrNameLst>
                                          <p:attrName>style.visibility</p:attrName>
                                        </p:attrNameLst>
                                      </p:cBhvr>
                                      <p:to>
                                        <p:strVal val="visible"/>
                                      </p:to>
                                    </p:set>
                                    <p:anim calcmode="lin" valueType="num">
                                      <p:cBhvr additive="base">
                                        <p:cTn id="103" dur="500" fill="hold"/>
                                        <p:tgtEl>
                                          <p:spTgt spid="8"/>
                                        </p:tgtEl>
                                        <p:attrNameLst>
                                          <p:attrName>ppt_x</p:attrName>
                                        </p:attrNameLst>
                                      </p:cBhvr>
                                      <p:tavLst>
                                        <p:tav tm="0">
                                          <p:val>
                                            <p:strVal val="#ppt_x"/>
                                          </p:val>
                                        </p:tav>
                                        <p:tav tm="100000">
                                          <p:val>
                                            <p:strVal val="#ppt_x"/>
                                          </p:val>
                                        </p:tav>
                                      </p:tavLst>
                                    </p:anim>
                                    <p:anim calcmode="lin" valueType="num">
                                      <p:cBhvr additive="base">
                                        <p:cTn id="104" dur="500" fill="hold"/>
                                        <p:tgtEl>
                                          <p:spTgt spid="8"/>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47"/>
                                        </p:tgtEl>
                                        <p:attrNameLst>
                                          <p:attrName>style.visibility</p:attrName>
                                        </p:attrNameLst>
                                      </p:cBhvr>
                                      <p:to>
                                        <p:strVal val="visible"/>
                                      </p:to>
                                    </p:set>
                                    <p:anim calcmode="lin" valueType="num">
                                      <p:cBhvr additive="base">
                                        <p:cTn id="107" dur="500" fill="hold"/>
                                        <p:tgtEl>
                                          <p:spTgt spid="47"/>
                                        </p:tgtEl>
                                        <p:attrNameLst>
                                          <p:attrName>ppt_x</p:attrName>
                                        </p:attrNameLst>
                                      </p:cBhvr>
                                      <p:tavLst>
                                        <p:tav tm="0">
                                          <p:val>
                                            <p:strVal val="#ppt_x"/>
                                          </p:val>
                                        </p:tav>
                                        <p:tav tm="100000">
                                          <p:val>
                                            <p:strVal val="#ppt_x"/>
                                          </p:val>
                                        </p:tav>
                                      </p:tavLst>
                                    </p:anim>
                                    <p:anim calcmode="lin" valueType="num">
                                      <p:cBhvr additive="base">
                                        <p:cTn id="108" dur="500" fill="hold"/>
                                        <p:tgtEl>
                                          <p:spTgt spid="47"/>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62"/>
                                        </p:tgtEl>
                                        <p:attrNameLst>
                                          <p:attrName>style.visibility</p:attrName>
                                        </p:attrNameLst>
                                      </p:cBhvr>
                                      <p:to>
                                        <p:strVal val="visible"/>
                                      </p:to>
                                    </p:set>
                                    <p:anim calcmode="lin" valueType="num">
                                      <p:cBhvr additive="base">
                                        <p:cTn id="111" dur="500" fill="hold"/>
                                        <p:tgtEl>
                                          <p:spTgt spid="62"/>
                                        </p:tgtEl>
                                        <p:attrNameLst>
                                          <p:attrName>ppt_x</p:attrName>
                                        </p:attrNameLst>
                                      </p:cBhvr>
                                      <p:tavLst>
                                        <p:tav tm="0">
                                          <p:val>
                                            <p:strVal val="#ppt_x"/>
                                          </p:val>
                                        </p:tav>
                                        <p:tav tm="100000">
                                          <p:val>
                                            <p:strVal val="#ppt_x"/>
                                          </p:val>
                                        </p:tav>
                                      </p:tavLst>
                                    </p:anim>
                                    <p:anim calcmode="lin" valueType="num">
                                      <p:cBhvr additive="base">
                                        <p:cTn id="112" dur="500" fill="hold"/>
                                        <p:tgtEl>
                                          <p:spTgt spid="62"/>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40"/>
                                        </p:tgtEl>
                                        <p:attrNameLst>
                                          <p:attrName>style.visibility</p:attrName>
                                        </p:attrNameLst>
                                      </p:cBhvr>
                                      <p:to>
                                        <p:strVal val="visible"/>
                                      </p:to>
                                    </p:set>
                                    <p:anim calcmode="lin" valueType="num">
                                      <p:cBhvr additive="base">
                                        <p:cTn id="115" dur="500" fill="hold"/>
                                        <p:tgtEl>
                                          <p:spTgt spid="40"/>
                                        </p:tgtEl>
                                        <p:attrNameLst>
                                          <p:attrName>ppt_x</p:attrName>
                                        </p:attrNameLst>
                                      </p:cBhvr>
                                      <p:tavLst>
                                        <p:tav tm="0">
                                          <p:val>
                                            <p:strVal val="#ppt_x"/>
                                          </p:val>
                                        </p:tav>
                                        <p:tav tm="100000">
                                          <p:val>
                                            <p:strVal val="#ppt_x"/>
                                          </p:val>
                                        </p:tav>
                                      </p:tavLst>
                                    </p:anim>
                                    <p:anim calcmode="lin" valueType="num">
                                      <p:cBhvr additive="base">
                                        <p:cTn id="116" dur="500" fill="hold"/>
                                        <p:tgtEl>
                                          <p:spTgt spid="40"/>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36"/>
                                        </p:tgtEl>
                                        <p:attrNameLst>
                                          <p:attrName>style.visibility</p:attrName>
                                        </p:attrNameLst>
                                      </p:cBhvr>
                                      <p:to>
                                        <p:strVal val="visible"/>
                                      </p:to>
                                    </p:set>
                                    <p:anim calcmode="lin" valueType="num">
                                      <p:cBhvr additive="base">
                                        <p:cTn id="119" dur="500" fill="hold"/>
                                        <p:tgtEl>
                                          <p:spTgt spid="36"/>
                                        </p:tgtEl>
                                        <p:attrNameLst>
                                          <p:attrName>ppt_x</p:attrName>
                                        </p:attrNameLst>
                                      </p:cBhvr>
                                      <p:tavLst>
                                        <p:tav tm="0">
                                          <p:val>
                                            <p:strVal val="#ppt_x"/>
                                          </p:val>
                                        </p:tav>
                                        <p:tav tm="100000">
                                          <p:val>
                                            <p:strVal val="#ppt_x"/>
                                          </p:val>
                                        </p:tav>
                                      </p:tavLst>
                                    </p:anim>
                                    <p:anim calcmode="lin" valueType="num">
                                      <p:cBhvr additive="base">
                                        <p:cTn id="120"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2" grpId="0" animBg="1"/>
      <p:bldP spid="33" grpId="0" animBg="1"/>
      <p:bldP spid="36" grpId="0" animBg="1"/>
      <p:bldP spid="40" grpId="0" animBg="1"/>
      <p:bldP spid="47" grpId="0" animBg="1"/>
      <p:bldP spid="51" grpId="0" animBg="1"/>
      <p:bldP spid="54" grpId="0" animBg="1"/>
      <p:bldP spid="57" grpId="0" animBg="1"/>
      <p:bldP spid="58" grpId="0" animBg="1"/>
      <p:bldP spid="59" grpId="0" animBg="1"/>
      <p:bldP spid="61" grpId="0" animBg="1"/>
      <p:bldP spid="62" grpId="0" animBg="1"/>
      <p:bldP spid="41" grpId="0" animBg="1"/>
      <p:bldP spid="45" grpId="0" animBg="1"/>
      <p:bldP spid="52" grpId="0" animBg="1"/>
      <p:bldP spid="68" grpId="0" animBg="1"/>
      <p:bldP spid="7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1">
            <a:extLst>
              <a:ext uri="{FF2B5EF4-FFF2-40B4-BE49-F238E27FC236}">
                <a16:creationId xmlns:a16="http://schemas.microsoft.com/office/drawing/2014/main" id="{D855FD6F-A527-49A7-90DD-86B69E0630F7}"/>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04" name="Rectangle 103">
            <a:extLst>
              <a:ext uri="{FF2B5EF4-FFF2-40B4-BE49-F238E27FC236}">
                <a16:creationId xmlns:a16="http://schemas.microsoft.com/office/drawing/2014/main" id="{2D101FF1-7559-4F85-B7F1-2DC4EF0E23AD}"/>
              </a:ext>
            </a:extLst>
          </p:cNvPr>
          <p:cNvSpPr/>
          <p:nvPr/>
        </p:nvSpPr>
        <p:spPr>
          <a:xfrm>
            <a:off x="4318314" y="2072322"/>
            <a:ext cx="7659467" cy="417646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05" name="Rectangle 104">
            <a:extLst>
              <a:ext uri="{FF2B5EF4-FFF2-40B4-BE49-F238E27FC236}">
                <a16:creationId xmlns:a16="http://schemas.microsoft.com/office/drawing/2014/main" id="{4D4BDE28-0A7B-46EE-8612-B2B9151FE2E4}"/>
              </a:ext>
            </a:extLst>
          </p:cNvPr>
          <p:cNvSpPr/>
          <p:nvPr/>
        </p:nvSpPr>
        <p:spPr>
          <a:xfrm>
            <a:off x="4557783" y="2557601"/>
            <a:ext cx="1548069" cy="3380139"/>
          </a:xfrm>
          <a:prstGeom prst="rect">
            <a:avLst/>
          </a:prstGeom>
          <a:noFill/>
          <a:ln w="19050"/>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06" name="Rectangle 105">
            <a:extLst>
              <a:ext uri="{FF2B5EF4-FFF2-40B4-BE49-F238E27FC236}">
                <a16:creationId xmlns:a16="http://schemas.microsoft.com/office/drawing/2014/main" id="{432C1E8D-4F25-4FC0-A35A-8F7C91A3291A}"/>
              </a:ext>
            </a:extLst>
          </p:cNvPr>
          <p:cNvSpPr/>
          <p:nvPr/>
        </p:nvSpPr>
        <p:spPr>
          <a:xfrm>
            <a:off x="6413698" y="2557601"/>
            <a:ext cx="2578584" cy="3380139"/>
          </a:xfrm>
          <a:prstGeom prst="rect">
            <a:avLst/>
          </a:prstGeom>
          <a:noFill/>
          <a:ln w="19050"/>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07" name="Rectangle 106">
            <a:extLst>
              <a:ext uri="{FF2B5EF4-FFF2-40B4-BE49-F238E27FC236}">
                <a16:creationId xmlns:a16="http://schemas.microsoft.com/office/drawing/2014/main" id="{6689BF77-F672-45F6-92B8-FBBE751CAB4F}"/>
              </a:ext>
            </a:extLst>
          </p:cNvPr>
          <p:cNvSpPr/>
          <p:nvPr/>
        </p:nvSpPr>
        <p:spPr>
          <a:xfrm>
            <a:off x="9137849" y="2574112"/>
            <a:ext cx="2694835" cy="3343904"/>
          </a:xfrm>
          <a:prstGeom prst="rect">
            <a:avLst/>
          </a:prstGeom>
          <a:noFill/>
          <a:ln/>
        </p:spPr>
        <p:style>
          <a:lnRef idx="2">
            <a:schemeClr val="accent2"/>
          </a:lnRef>
          <a:fillRef idx="1">
            <a:schemeClr val="lt1"/>
          </a:fillRef>
          <a:effectRef idx="0">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08" name="Rectangle 107">
            <a:extLst>
              <a:ext uri="{FF2B5EF4-FFF2-40B4-BE49-F238E27FC236}">
                <a16:creationId xmlns:a16="http://schemas.microsoft.com/office/drawing/2014/main" id="{06CD4586-8B75-477B-81F7-6A6AA1E3F28D}"/>
              </a:ext>
            </a:extLst>
          </p:cNvPr>
          <p:cNvSpPr/>
          <p:nvPr/>
        </p:nvSpPr>
        <p:spPr>
          <a:xfrm rot="5400000" flipV="1">
            <a:off x="4056887" y="4143774"/>
            <a:ext cx="1932300" cy="340176"/>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Web scrapper</a:t>
            </a:r>
            <a:endParaRPr lang="de-DE" sz="1100">
              <a:effectLst/>
              <a:ea typeface="Calibri" panose="020F0502020204030204" pitchFamily="34" charset="0"/>
              <a:cs typeface="Times New Roman" panose="02020603050405020304" pitchFamily="18" charset="0"/>
            </a:endParaRPr>
          </a:p>
        </p:txBody>
      </p:sp>
      <p:sp>
        <p:nvSpPr>
          <p:cNvPr id="109" name="Rectangle 108">
            <a:extLst>
              <a:ext uri="{FF2B5EF4-FFF2-40B4-BE49-F238E27FC236}">
                <a16:creationId xmlns:a16="http://schemas.microsoft.com/office/drawing/2014/main" id="{7B548BB7-98A4-40BA-ACFB-77374648A0BB}"/>
              </a:ext>
            </a:extLst>
          </p:cNvPr>
          <p:cNvSpPr/>
          <p:nvPr/>
        </p:nvSpPr>
        <p:spPr>
          <a:xfrm rot="5400000" flipV="1">
            <a:off x="4509232" y="4144819"/>
            <a:ext cx="1934389" cy="340176"/>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Unstructured data</a:t>
            </a:r>
            <a:endParaRPr lang="de-DE" sz="1100">
              <a:effectLst/>
              <a:ea typeface="Calibri" panose="020F0502020204030204" pitchFamily="34" charset="0"/>
              <a:cs typeface="Times New Roman" panose="02020603050405020304" pitchFamily="18" charset="0"/>
            </a:endParaRPr>
          </a:p>
        </p:txBody>
      </p:sp>
      <p:sp>
        <p:nvSpPr>
          <p:cNvPr id="110" name="Rectangle 109">
            <a:extLst>
              <a:ext uri="{FF2B5EF4-FFF2-40B4-BE49-F238E27FC236}">
                <a16:creationId xmlns:a16="http://schemas.microsoft.com/office/drawing/2014/main" id="{08E39A78-1659-4D89-9E05-2EC18158BEDC}"/>
              </a:ext>
            </a:extLst>
          </p:cNvPr>
          <p:cNvSpPr/>
          <p:nvPr/>
        </p:nvSpPr>
        <p:spPr>
          <a:xfrm rot="5400000" flipV="1">
            <a:off x="4957840" y="4157221"/>
            <a:ext cx="1891884" cy="340176"/>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Data Cleaning</a:t>
            </a:r>
            <a:endParaRPr lang="de-DE" sz="1100">
              <a:effectLst/>
              <a:ea typeface="Calibri" panose="020F0502020204030204" pitchFamily="34" charset="0"/>
              <a:cs typeface="Times New Roman" panose="02020603050405020304" pitchFamily="18" charset="0"/>
            </a:endParaRPr>
          </a:p>
        </p:txBody>
      </p:sp>
      <p:sp>
        <p:nvSpPr>
          <p:cNvPr id="111" name="Rectangle 110">
            <a:extLst>
              <a:ext uri="{FF2B5EF4-FFF2-40B4-BE49-F238E27FC236}">
                <a16:creationId xmlns:a16="http://schemas.microsoft.com/office/drawing/2014/main" id="{5F54C9A0-FD6C-4ACD-BA9A-C90F17904E1E}"/>
              </a:ext>
            </a:extLst>
          </p:cNvPr>
          <p:cNvSpPr/>
          <p:nvPr/>
        </p:nvSpPr>
        <p:spPr>
          <a:xfrm>
            <a:off x="6488138" y="2998503"/>
            <a:ext cx="1694238" cy="29963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dirty="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Word Tokenization</a:t>
            </a:r>
            <a:endParaRPr lang="de-DE" sz="1100" dirty="0">
              <a:effectLst/>
              <a:ea typeface="Calibri" panose="020F0502020204030204" pitchFamily="34" charset="0"/>
              <a:cs typeface="Times New Roman" panose="02020603050405020304" pitchFamily="18" charset="0"/>
            </a:endParaRPr>
          </a:p>
        </p:txBody>
      </p:sp>
      <p:sp>
        <p:nvSpPr>
          <p:cNvPr id="112" name="Rectangle 111">
            <a:extLst>
              <a:ext uri="{FF2B5EF4-FFF2-40B4-BE49-F238E27FC236}">
                <a16:creationId xmlns:a16="http://schemas.microsoft.com/office/drawing/2014/main" id="{F3937BD3-6B3B-4B38-9DE9-69D67DE3415F}"/>
              </a:ext>
            </a:extLst>
          </p:cNvPr>
          <p:cNvSpPr/>
          <p:nvPr/>
        </p:nvSpPr>
        <p:spPr>
          <a:xfrm>
            <a:off x="6494488" y="3354103"/>
            <a:ext cx="1694238" cy="29963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dirty="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Sentence Splitting</a:t>
            </a:r>
            <a:endParaRPr lang="de-DE" sz="1100" dirty="0">
              <a:effectLst/>
              <a:ea typeface="Calibri" panose="020F0502020204030204" pitchFamily="34" charset="0"/>
              <a:cs typeface="Times New Roman" panose="02020603050405020304" pitchFamily="18" charset="0"/>
            </a:endParaRPr>
          </a:p>
        </p:txBody>
      </p:sp>
      <p:sp>
        <p:nvSpPr>
          <p:cNvPr id="113" name="Rectangle 112">
            <a:extLst>
              <a:ext uri="{FF2B5EF4-FFF2-40B4-BE49-F238E27FC236}">
                <a16:creationId xmlns:a16="http://schemas.microsoft.com/office/drawing/2014/main" id="{A5AFE464-12C5-4BEA-A1B8-0EC25AC80215}"/>
              </a:ext>
            </a:extLst>
          </p:cNvPr>
          <p:cNvSpPr/>
          <p:nvPr/>
        </p:nvSpPr>
        <p:spPr>
          <a:xfrm>
            <a:off x="6494488" y="3761454"/>
            <a:ext cx="1694238" cy="29963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dirty="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Part of Speech</a:t>
            </a:r>
            <a:endParaRPr lang="de-DE" sz="1100" dirty="0">
              <a:effectLst/>
              <a:ea typeface="Calibri" panose="020F0502020204030204" pitchFamily="34" charset="0"/>
              <a:cs typeface="Times New Roman" panose="02020603050405020304" pitchFamily="18" charset="0"/>
            </a:endParaRPr>
          </a:p>
        </p:txBody>
      </p:sp>
      <p:sp>
        <p:nvSpPr>
          <p:cNvPr id="114" name="Rectangle 113">
            <a:extLst>
              <a:ext uri="{FF2B5EF4-FFF2-40B4-BE49-F238E27FC236}">
                <a16:creationId xmlns:a16="http://schemas.microsoft.com/office/drawing/2014/main" id="{194D0829-5E09-4FCE-91F6-DA08273D5FA6}"/>
              </a:ext>
            </a:extLst>
          </p:cNvPr>
          <p:cNvSpPr/>
          <p:nvPr/>
        </p:nvSpPr>
        <p:spPr>
          <a:xfrm>
            <a:off x="6490748" y="4133083"/>
            <a:ext cx="1674306" cy="29963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dirty="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Name Entity Recognition</a:t>
            </a:r>
            <a:endParaRPr lang="de-DE" sz="1100" dirty="0">
              <a:effectLst/>
              <a:ea typeface="Calibri" panose="020F0502020204030204" pitchFamily="34" charset="0"/>
              <a:cs typeface="Times New Roman" panose="02020603050405020304" pitchFamily="18" charset="0"/>
            </a:endParaRPr>
          </a:p>
        </p:txBody>
      </p:sp>
      <p:sp>
        <p:nvSpPr>
          <p:cNvPr id="115" name="Rectangle 114">
            <a:extLst>
              <a:ext uri="{FF2B5EF4-FFF2-40B4-BE49-F238E27FC236}">
                <a16:creationId xmlns:a16="http://schemas.microsoft.com/office/drawing/2014/main" id="{C32D1CE7-29DE-4EA0-97A0-9712ECD37648}"/>
              </a:ext>
            </a:extLst>
          </p:cNvPr>
          <p:cNvSpPr/>
          <p:nvPr/>
        </p:nvSpPr>
        <p:spPr>
          <a:xfrm>
            <a:off x="6494070" y="4527381"/>
            <a:ext cx="1667662" cy="29963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dirty="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Shallow Parsing</a:t>
            </a:r>
            <a:endParaRPr lang="de-DE" sz="1100" dirty="0">
              <a:effectLst/>
              <a:ea typeface="Calibri" panose="020F0502020204030204" pitchFamily="34" charset="0"/>
              <a:cs typeface="Times New Roman" panose="02020603050405020304" pitchFamily="18" charset="0"/>
            </a:endParaRPr>
          </a:p>
        </p:txBody>
      </p:sp>
      <p:sp>
        <p:nvSpPr>
          <p:cNvPr id="116" name="Rectangle 115">
            <a:extLst>
              <a:ext uri="{FF2B5EF4-FFF2-40B4-BE49-F238E27FC236}">
                <a16:creationId xmlns:a16="http://schemas.microsoft.com/office/drawing/2014/main" id="{B4CA016F-9554-4233-B880-257D3AAD1900}"/>
              </a:ext>
            </a:extLst>
          </p:cNvPr>
          <p:cNvSpPr/>
          <p:nvPr/>
        </p:nvSpPr>
        <p:spPr>
          <a:xfrm rot="10800000" flipV="1">
            <a:off x="6500163" y="4934057"/>
            <a:ext cx="1651549" cy="299636"/>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dirty="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Bi)Relation Extraction</a:t>
            </a:r>
            <a:endParaRPr lang="de-DE" sz="1100" dirty="0">
              <a:effectLst/>
              <a:ea typeface="Calibri" panose="020F0502020204030204" pitchFamily="34" charset="0"/>
              <a:cs typeface="Times New Roman" panose="02020603050405020304" pitchFamily="18" charset="0"/>
            </a:endParaRPr>
          </a:p>
        </p:txBody>
      </p:sp>
      <p:sp>
        <p:nvSpPr>
          <p:cNvPr id="117" name="Rectangle 116">
            <a:extLst>
              <a:ext uri="{FF2B5EF4-FFF2-40B4-BE49-F238E27FC236}">
                <a16:creationId xmlns:a16="http://schemas.microsoft.com/office/drawing/2014/main" id="{6B0F2992-49D3-4EFB-8440-127596EBBC91}"/>
              </a:ext>
            </a:extLst>
          </p:cNvPr>
          <p:cNvSpPr/>
          <p:nvPr/>
        </p:nvSpPr>
        <p:spPr>
          <a:xfrm rot="5400000" flipV="1">
            <a:off x="7577589" y="3963313"/>
            <a:ext cx="2292559" cy="340839"/>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Annotation Object</a:t>
            </a:r>
            <a:endParaRPr lang="de-DE" sz="1100">
              <a:effectLst/>
              <a:ea typeface="Calibri" panose="020F0502020204030204" pitchFamily="34" charset="0"/>
              <a:cs typeface="Times New Roman" panose="02020603050405020304" pitchFamily="18" charset="0"/>
            </a:endParaRPr>
          </a:p>
        </p:txBody>
      </p:sp>
      <p:sp>
        <p:nvSpPr>
          <p:cNvPr id="118" name="Rectangle 117">
            <a:extLst>
              <a:ext uri="{FF2B5EF4-FFF2-40B4-BE49-F238E27FC236}">
                <a16:creationId xmlns:a16="http://schemas.microsoft.com/office/drawing/2014/main" id="{5ABE3D24-7618-4DA7-B872-A71A1C42C003}"/>
              </a:ext>
            </a:extLst>
          </p:cNvPr>
          <p:cNvSpPr/>
          <p:nvPr/>
        </p:nvSpPr>
        <p:spPr>
          <a:xfrm rot="5400000" flipV="1">
            <a:off x="8964359" y="3941622"/>
            <a:ext cx="1891882" cy="340841"/>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900" dirty="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Human Annotation</a:t>
            </a:r>
            <a:endParaRPr lang="de-DE" sz="1100" dirty="0">
              <a:effectLst/>
              <a:ea typeface="Calibri" panose="020F0502020204030204" pitchFamily="34" charset="0"/>
              <a:cs typeface="Times New Roman" panose="02020603050405020304" pitchFamily="18" charset="0"/>
            </a:endParaRPr>
          </a:p>
        </p:txBody>
      </p:sp>
      <p:sp>
        <p:nvSpPr>
          <p:cNvPr id="119" name="Rectangle 118">
            <a:extLst>
              <a:ext uri="{FF2B5EF4-FFF2-40B4-BE49-F238E27FC236}">
                <a16:creationId xmlns:a16="http://schemas.microsoft.com/office/drawing/2014/main" id="{414FDD54-843E-4355-AB74-B01399AB3B84}"/>
              </a:ext>
            </a:extLst>
          </p:cNvPr>
          <p:cNvSpPr/>
          <p:nvPr/>
        </p:nvSpPr>
        <p:spPr>
          <a:xfrm rot="5400000" flipV="1">
            <a:off x="9735664" y="3510875"/>
            <a:ext cx="1891884" cy="1197262"/>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endParaRPr lang="de-DE" sz="1100" dirty="0">
              <a:effectLst/>
              <a:ea typeface="Calibri" panose="020F0502020204030204" pitchFamily="34" charset="0"/>
              <a:cs typeface="Times New Roman" panose="02020603050405020304" pitchFamily="18" charset="0"/>
            </a:endParaRPr>
          </a:p>
        </p:txBody>
      </p:sp>
      <p:sp>
        <p:nvSpPr>
          <p:cNvPr id="120" name="Rectangle 119">
            <a:extLst>
              <a:ext uri="{FF2B5EF4-FFF2-40B4-BE49-F238E27FC236}">
                <a16:creationId xmlns:a16="http://schemas.microsoft.com/office/drawing/2014/main" id="{A15E777A-66EB-408D-972E-E2A108ADA16F}"/>
              </a:ext>
            </a:extLst>
          </p:cNvPr>
          <p:cNvSpPr/>
          <p:nvPr/>
        </p:nvSpPr>
        <p:spPr>
          <a:xfrm rot="5400000" flipV="1">
            <a:off x="10650284" y="3926382"/>
            <a:ext cx="1891882" cy="340841"/>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Human Ontology Formalization</a:t>
            </a:r>
            <a:endParaRPr lang="de-DE" sz="1100">
              <a:effectLst/>
              <a:ea typeface="Calibri" panose="020F0502020204030204" pitchFamily="34" charset="0"/>
              <a:cs typeface="Times New Roman" panose="02020603050405020304" pitchFamily="18" charset="0"/>
            </a:endParaRPr>
          </a:p>
        </p:txBody>
      </p:sp>
      <p:sp>
        <p:nvSpPr>
          <p:cNvPr id="121" name="Rectangle 120">
            <a:extLst>
              <a:ext uri="{FF2B5EF4-FFF2-40B4-BE49-F238E27FC236}">
                <a16:creationId xmlns:a16="http://schemas.microsoft.com/office/drawing/2014/main" id="{0A87AE09-9106-46D7-BDA5-48191C1A38EC}"/>
              </a:ext>
            </a:extLst>
          </p:cNvPr>
          <p:cNvSpPr/>
          <p:nvPr/>
        </p:nvSpPr>
        <p:spPr>
          <a:xfrm rot="5400000" flipV="1">
            <a:off x="8578914" y="3923842"/>
            <a:ext cx="1891882" cy="340841"/>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Triples Generation</a:t>
            </a:r>
            <a:endParaRPr lang="de-DE" sz="1100">
              <a:effectLst/>
              <a:ea typeface="Calibri" panose="020F0502020204030204" pitchFamily="34" charset="0"/>
              <a:cs typeface="Times New Roman" panose="02020603050405020304" pitchFamily="18" charset="0"/>
            </a:endParaRPr>
          </a:p>
        </p:txBody>
      </p:sp>
      <p:sp>
        <p:nvSpPr>
          <p:cNvPr id="122" name="Rectangle 121">
            <a:extLst>
              <a:ext uri="{FF2B5EF4-FFF2-40B4-BE49-F238E27FC236}">
                <a16:creationId xmlns:a16="http://schemas.microsoft.com/office/drawing/2014/main" id="{B9FD6643-BB55-4D53-A548-9F018E912A5A}"/>
              </a:ext>
            </a:extLst>
          </p:cNvPr>
          <p:cNvSpPr/>
          <p:nvPr/>
        </p:nvSpPr>
        <p:spPr>
          <a:xfrm rot="16200000">
            <a:off x="9852865" y="3919002"/>
            <a:ext cx="1449398" cy="46840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Named Entity Recognition</a:t>
            </a:r>
            <a:endParaRPr lang="de-DE" sz="1100">
              <a:effectLst/>
              <a:ea typeface="Calibri" panose="020F0502020204030204" pitchFamily="34" charset="0"/>
              <a:cs typeface="Times New Roman" panose="02020603050405020304" pitchFamily="18" charset="0"/>
            </a:endParaRPr>
          </a:p>
        </p:txBody>
      </p:sp>
      <p:sp>
        <p:nvSpPr>
          <p:cNvPr id="123" name="Rectangle 122">
            <a:extLst>
              <a:ext uri="{FF2B5EF4-FFF2-40B4-BE49-F238E27FC236}">
                <a16:creationId xmlns:a16="http://schemas.microsoft.com/office/drawing/2014/main" id="{80AC4BCD-E269-476C-A625-D71A4BA93304}"/>
              </a:ext>
            </a:extLst>
          </p:cNvPr>
          <p:cNvSpPr/>
          <p:nvPr/>
        </p:nvSpPr>
        <p:spPr>
          <a:xfrm rot="16200000">
            <a:off x="10285645" y="4008216"/>
            <a:ext cx="1457063" cy="308283"/>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900">
                <a:ln>
                  <a:noFill/>
                </a:ln>
                <a:solidFill>
                  <a:srgbClr val="000000"/>
                </a:solidFill>
                <a:effectLst>
                  <a:outerShdw blurRad="38100" dist="19050" dir="2700000" algn="tl">
                    <a:schemeClr val="dk1">
                      <a:alpha val="40000"/>
                    </a:schemeClr>
                  </a:outerShdw>
                </a:effectLst>
                <a:ea typeface="Calibri" panose="020F0502020204030204" pitchFamily="34" charset="0"/>
                <a:cs typeface="Times New Roman" panose="02020603050405020304" pitchFamily="18" charset="0"/>
              </a:rPr>
              <a:t>Word Embedding</a:t>
            </a:r>
            <a:endParaRPr lang="de-DE" sz="1100">
              <a:effectLst/>
              <a:ea typeface="Calibri" panose="020F0502020204030204" pitchFamily="34" charset="0"/>
              <a:cs typeface="Times New Roman" panose="02020603050405020304" pitchFamily="18" charset="0"/>
            </a:endParaRPr>
          </a:p>
        </p:txBody>
      </p:sp>
      <p:sp>
        <p:nvSpPr>
          <p:cNvPr id="124" name="Left-Right Arrow 26">
            <a:extLst>
              <a:ext uri="{FF2B5EF4-FFF2-40B4-BE49-F238E27FC236}">
                <a16:creationId xmlns:a16="http://schemas.microsoft.com/office/drawing/2014/main" id="{6D68BB7E-3927-408B-B309-1D36C743EDF1}"/>
              </a:ext>
            </a:extLst>
          </p:cNvPr>
          <p:cNvSpPr/>
          <p:nvPr/>
        </p:nvSpPr>
        <p:spPr>
          <a:xfrm>
            <a:off x="8240402" y="3450622"/>
            <a:ext cx="252475" cy="1672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25" name="Left-Right Arrow 27">
            <a:extLst>
              <a:ext uri="{FF2B5EF4-FFF2-40B4-BE49-F238E27FC236}">
                <a16:creationId xmlns:a16="http://schemas.microsoft.com/office/drawing/2014/main" id="{9AEC5D04-4E7E-40E0-A750-FCE00BA387D3}"/>
              </a:ext>
            </a:extLst>
          </p:cNvPr>
          <p:cNvSpPr/>
          <p:nvPr/>
        </p:nvSpPr>
        <p:spPr>
          <a:xfrm>
            <a:off x="8260066" y="3796630"/>
            <a:ext cx="252475" cy="1672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26" name="Left-Right Arrow 29">
            <a:extLst>
              <a:ext uri="{FF2B5EF4-FFF2-40B4-BE49-F238E27FC236}">
                <a16:creationId xmlns:a16="http://schemas.microsoft.com/office/drawing/2014/main" id="{9790A1F6-301E-4B43-8C68-4264D7A32798}"/>
              </a:ext>
            </a:extLst>
          </p:cNvPr>
          <p:cNvSpPr/>
          <p:nvPr/>
        </p:nvSpPr>
        <p:spPr>
          <a:xfrm>
            <a:off x="8244587" y="4196337"/>
            <a:ext cx="252475" cy="1672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27" name="Left-Right Arrow 30">
            <a:extLst>
              <a:ext uri="{FF2B5EF4-FFF2-40B4-BE49-F238E27FC236}">
                <a16:creationId xmlns:a16="http://schemas.microsoft.com/office/drawing/2014/main" id="{F538DD10-6436-42DD-8138-539FF28E53BA}"/>
              </a:ext>
            </a:extLst>
          </p:cNvPr>
          <p:cNvSpPr/>
          <p:nvPr/>
        </p:nvSpPr>
        <p:spPr>
          <a:xfrm>
            <a:off x="8232006" y="4986529"/>
            <a:ext cx="252475" cy="1672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28" name="Left-Right Arrow 31">
            <a:extLst>
              <a:ext uri="{FF2B5EF4-FFF2-40B4-BE49-F238E27FC236}">
                <a16:creationId xmlns:a16="http://schemas.microsoft.com/office/drawing/2014/main" id="{6254851A-0E31-4838-9D9D-BBD828EF9106}"/>
              </a:ext>
            </a:extLst>
          </p:cNvPr>
          <p:cNvSpPr/>
          <p:nvPr/>
        </p:nvSpPr>
        <p:spPr>
          <a:xfrm>
            <a:off x="8239111" y="3070825"/>
            <a:ext cx="252475" cy="1672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29" name="Right Arrow 22">
            <a:extLst>
              <a:ext uri="{FF2B5EF4-FFF2-40B4-BE49-F238E27FC236}">
                <a16:creationId xmlns:a16="http://schemas.microsoft.com/office/drawing/2014/main" id="{7FF9CB3A-6BE2-492B-969D-527FFD5BEB12}"/>
              </a:ext>
            </a:extLst>
          </p:cNvPr>
          <p:cNvSpPr/>
          <p:nvPr/>
        </p:nvSpPr>
        <p:spPr>
          <a:xfrm>
            <a:off x="6181147" y="4026888"/>
            <a:ext cx="191349" cy="2160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30" name="Text Box 2">
            <a:extLst>
              <a:ext uri="{FF2B5EF4-FFF2-40B4-BE49-F238E27FC236}">
                <a16:creationId xmlns:a16="http://schemas.microsoft.com/office/drawing/2014/main" id="{DC83C341-9E77-493A-BC37-6F34B73D3F19}"/>
              </a:ext>
            </a:extLst>
          </p:cNvPr>
          <p:cNvSpPr txBox="1">
            <a:spLocks noChangeArrowheads="1"/>
          </p:cNvSpPr>
          <p:nvPr/>
        </p:nvSpPr>
        <p:spPr bwMode="auto">
          <a:xfrm>
            <a:off x="6494487" y="2621376"/>
            <a:ext cx="2427089" cy="334476"/>
          </a:xfrm>
          <a:prstGeom prst="rect">
            <a:avLst/>
          </a:prstGeom>
          <a:solidFill>
            <a:srgbClr val="FFFFFF"/>
          </a:solidFill>
          <a:ln w="9525">
            <a:solidFill>
              <a:schemeClr val="bg1"/>
            </a:solidFill>
            <a:miter lim="800000"/>
            <a:headEnd/>
            <a:tailEnd/>
          </a:ln>
        </p:spPr>
        <p:txBody>
          <a:bodyPr rot="0" vert="horz" wrap="square" lIns="91440" tIns="45720" rIns="91440" bIns="45720" anchor="t" anchorCtr="0">
            <a:noAutofit/>
          </a:bodyPr>
          <a:lstStyle/>
          <a:p>
            <a:pPr>
              <a:lnSpc>
                <a:spcPct val="107000"/>
              </a:lnSpc>
              <a:spcAft>
                <a:spcPts val="800"/>
              </a:spcAft>
            </a:pPr>
            <a:r>
              <a:rPr lang="de-DE" sz="1100" dirty="0">
                <a:ln>
                  <a:noFill/>
                </a:ln>
                <a:solidFill>
                  <a:srgbClr val="5B9BD5"/>
                </a:solidFill>
                <a:effectLst>
                  <a:outerShdw blurRad="38100" dist="25400" dir="5400000" algn="ctr">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Semantic Annotation</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1" name="Text Box 2">
            <a:extLst>
              <a:ext uri="{FF2B5EF4-FFF2-40B4-BE49-F238E27FC236}">
                <a16:creationId xmlns:a16="http://schemas.microsoft.com/office/drawing/2014/main" id="{A39A6F2B-C9EE-45A5-A2F2-49795B04721E}"/>
              </a:ext>
            </a:extLst>
          </p:cNvPr>
          <p:cNvSpPr txBox="1">
            <a:spLocks noChangeArrowheads="1"/>
          </p:cNvSpPr>
          <p:nvPr/>
        </p:nvSpPr>
        <p:spPr bwMode="auto">
          <a:xfrm>
            <a:off x="4796789" y="2788614"/>
            <a:ext cx="1242948" cy="334476"/>
          </a:xfrm>
          <a:prstGeom prst="rect">
            <a:avLst/>
          </a:prstGeom>
          <a:solidFill>
            <a:srgbClr val="FFFFFF"/>
          </a:solidFill>
          <a:ln w="9525">
            <a:solidFill>
              <a:schemeClr val="bg1"/>
            </a:solidFill>
            <a:miter lim="800000"/>
            <a:headEnd/>
            <a:tailEnd/>
          </a:ln>
        </p:spPr>
        <p:txBody>
          <a:bodyPr rot="0" vert="horz" wrap="square" lIns="91440" tIns="45720" rIns="91440" bIns="45720" anchor="t" anchorCtr="0">
            <a:noAutofit/>
          </a:bodyPr>
          <a:lstStyle/>
          <a:p>
            <a:pPr algn="ctr">
              <a:lnSpc>
                <a:spcPct val="107000"/>
              </a:lnSpc>
              <a:spcAft>
                <a:spcPts val="800"/>
              </a:spcAft>
            </a:pPr>
            <a:r>
              <a:rPr lang="en-US" sz="1100" dirty="0">
                <a:ln>
                  <a:noFill/>
                </a:ln>
                <a:solidFill>
                  <a:srgbClr val="5B9BD5"/>
                </a:solidFill>
                <a:effectLst>
                  <a:outerShdw blurRad="38100" dist="25400" dir="5400000" algn="ctr">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Data Preparation</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2" name="Text Box 2">
            <a:extLst>
              <a:ext uri="{FF2B5EF4-FFF2-40B4-BE49-F238E27FC236}">
                <a16:creationId xmlns:a16="http://schemas.microsoft.com/office/drawing/2014/main" id="{44670F20-61AC-4EFA-82BA-B386D9F9E7E1}"/>
              </a:ext>
            </a:extLst>
          </p:cNvPr>
          <p:cNvSpPr txBox="1">
            <a:spLocks noChangeArrowheads="1"/>
          </p:cNvSpPr>
          <p:nvPr/>
        </p:nvSpPr>
        <p:spPr bwMode="auto">
          <a:xfrm>
            <a:off x="9890278" y="2715168"/>
            <a:ext cx="1322170" cy="334476"/>
          </a:xfrm>
          <a:prstGeom prst="rect">
            <a:avLst/>
          </a:prstGeom>
          <a:solidFill>
            <a:srgbClr val="FFFFFF"/>
          </a:solidFill>
          <a:ln w="9525">
            <a:solidFill>
              <a:schemeClr val="bg1"/>
            </a:solidFill>
            <a:miter lim="800000"/>
            <a:headEnd/>
            <a:tailEnd/>
          </a:ln>
        </p:spPr>
        <p:txBody>
          <a:bodyPr rot="0" vert="horz" wrap="square" lIns="91440" tIns="45720" rIns="91440" bIns="45720" anchor="t" anchorCtr="0">
            <a:noAutofit/>
          </a:bodyPr>
          <a:lstStyle/>
          <a:p>
            <a:pPr>
              <a:lnSpc>
                <a:spcPct val="107000"/>
              </a:lnSpc>
              <a:spcAft>
                <a:spcPts val="800"/>
              </a:spcAft>
            </a:pPr>
            <a:r>
              <a:rPr lang="de-DE" sz="1100" dirty="0">
                <a:ln>
                  <a:noFill/>
                </a:ln>
                <a:solidFill>
                  <a:srgbClr val="5B9BD5"/>
                </a:solidFill>
                <a:effectLst>
                  <a:outerShdw blurRad="38100" dist="25400" dir="5400000" algn="ctr">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Ontology Creation</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3" name="Right Arrow 23">
            <a:extLst>
              <a:ext uri="{FF2B5EF4-FFF2-40B4-BE49-F238E27FC236}">
                <a16:creationId xmlns:a16="http://schemas.microsoft.com/office/drawing/2014/main" id="{AF5BCDE0-5FB2-4188-A1DF-E06965FD9378}"/>
              </a:ext>
            </a:extLst>
          </p:cNvPr>
          <p:cNvSpPr/>
          <p:nvPr/>
        </p:nvSpPr>
        <p:spPr>
          <a:xfrm>
            <a:off x="9031552" y="4034983"/>
            <a:ext cx="205966" cy="18814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134" name="TextBox 133">
            <a:extLst>
              <a:ext uri="{FF2B5EF4-FFF2-40B4-BE49-F238E27FC236}">
                <a16:creationId xmlns:a16="http://schemas.microsoft.com/office/drawing/2014/main" id="{E8B68A98-DF88-407E-AC95-F07D934A8B29}"/>
              </a:ext>
            </a:extLst>
          </p:cNvPr>
          <p:cNvSpPr txBox="1"/>
          <p:nvPr/>
        </p:nvSpPr>
        <p:spPr>
          <a:xfrm rot="16200000">
            <a:off x="9420642" y="3922536"/>
            <a:ext cx="1637368" cy="246221"/>
          </a:xfrm>
          <a:prstGeom prst="rect">
            <a:avLst/>
          </a:prstGeom>
          <a:noFill/>
        </p:spPr>
        <p:txBody>
          <a:bodyPr wrap="square" rtlCol="0">
            <a:spAutoFit/>
          </a:bodyPr>
          <a:lstStyle/>
          <a:p>
            <a:r>
              <a:rPr lang="de-DE" sz="1000" dirty="0">
                <a:ln w="0"/>
                <a:effectLst>
                  <a:outerShdw blurRad="38100" dist="19050" dir="2700000" algn="tl" rotWithShape="0">
                    <a:schemeClr val="dk1">
                      <a:alpha val="40000"/>
                    </a:schemeClr>
                  </a:outerShdw>
                </a:effectLst>
              </a:rPr>
              <a:t>Meta Data Creation</a:t>
            </a:r>
          </a:p>
        </p:txBody>
      </p:sp>
      <p:sp>
        <p:nvSpPr>
          <p:cNvPr id="35" name="Title 4">
            <a:extLst>
              <a:ext uri="{FF2B5EF4-FFF2-40B4-BE49-F238E27FC236}">
                <a16:creationId xmlns:a16="http://schemas.microsoft.com/office/drawing/2014/main" id="{28397182-7F4B-45C4-AB09-18CC0E2C0211}"/>
              </a:ext>
            </a:extLst>
          </p:cNvPr>
          <p:cNvSpPr txBox="1">
            <a:spLocks/>
          </p:cNvSpPr>
          <p:nvPr/>
        </p:nvSpPr>
        <p:spPr>
          <a:xfrm>
            <a:off x="195708" y="446914"/>
            <a:ext cx="11016604" cy="8636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t>Architecture &amp; Examples</a:t>
            </a:r>
          </a:p>
        </p:txBody>
      </p:sp>
      <p:sp>
        <p:nvSpPr>
          <p:cNvPr id="38" name="Left-Right Arrow 30">
            <a:extLst>
              <a:ext uri="{FF2B5EF4-FFF2-40B4-BE49-F238E27FC236}">
                <a16:creationId xmlns:a16="http://schemas.microsoft.com/office/drawing/2014/main" id="{B05DD80D-B278-4827-A5B3-1821600B51E3}"/>
              </a:ext>
            </a:extLst>
          </p:cNvPr>
          <p:cNvSpPr/>
          <p:nvPr/>
        </p:nvSpPr>
        <p:spPr>
          <a:xfrm>
            <a:off x="8256134" y="4586822"/>
            <a:ext cx="252475" cy="1672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sp>
        <p:nvSpPr>
          <p:cNvPr id="5" name="Rectangle 4">
            <a:extLst>
              <a:ext uri="{FF2B5EF4-FFF2-40B4-BE49-F238E27FC236}">
                <a16:creationId xmlns:a16="http://schemas.microsoft.com/office/drawing/2014/main" id="{B42BB14D-A7B3-41F7-A294-9D47C7B6BBD8}"/>
              </a:ext>
            </a:extLst>
          </p:cNvPr>
          <p:cNvSpPr/>
          <p:nvPr/>
        </p:nvSpPr>
        <p:spPr>
          <a:xfrm>
            <a:off x="6335442" y="2964742"/>
            <a:ext cx="1943673" cy="751100"/>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sz="1400" dirty="0">
              <a:solidFill>
                <a:schemeClr val="tx1"/>
              </a:solidFill>
            </a:endParaRPr>
          </a:p>
        </p:txBody>
      </p:sp>
      <p:pic>
        <p:nvPicPr>
          <p:cNvPr id="43" name="Picture 2" descr="https://miro.medium.com/max/942/1*aGHlRwFfrKd2SjVoy_7lcg.png">
            <a:extLst>
              <a:ext uri="{FF2B5EF4-FFF2-40B4-BE49-F238E27FC236}">
                <a16:creationId xmlns:a16="http://schemas.microsoft.com/office/drawing/2014/main" id="{1C174C3A-739A-46DD-8D09-C7EDCC1E9A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9115" y="645512"/>
            <a:ext cx="2755282" cy="124163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3AD1AE2-585B-4CE3-BDF0-323E13950457}"/>
              </a:ext>
            </a:extLst>
          </p:cNvPr>
          <p:cNvSpPr/>
          <p:nvPr/>
        </p:nvSpPr>
        <p:spPr>
          <a:xfrm>
            <a:off x="6405736" y="3716992"/>
            <a:ext cx="1848457" cy="416091"/>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sz="1400" dirty="0">
              <a:solidFill>
                <a:schemeClr val="tx1"/>
              </a:solidFill>
            </a:endParaRPr>
          </a:p>
        </p:txBody>
      </p:sp>
      <p:sp>
        <p:nvSpPr>
          <p:cNvPr id="10" name="Rectangle 9">
            <a:extLst>
              <a:ext uri="{FF2B5EF4-FFF2-40B4-BE49-F238E27FC236}">
                <a16:creationId xmlns:a16="http://schemas.microsoft.com/office/drawing/2014/main" id="{D142B499-D4B3-4816-8AF1-58309B6D9348}"/>
              </a:ext>
            </a:extLst>
          </p:cNvPr>
          <p:cNvSpPr/>
          <p:nvPr/>
        </p:nvSpPr>
        <p:spPr>
          <a:xfrm>
            <a:off x="6401018" y="4896577"/>
            <a:ext cx="1951562" cy="468626"/>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sz="1400" dirty="0">
              <a:solidFill>
                <a:schemeClr val="tx1"/>
              </a:solidFill>
            </a:endParaRPr>
          </a:p>
        </p:txBody>
      </p:sp>
      <p:sp>
        <p:nvSpPr>
          <p:cNvPr id="50" name="Rectangle 49">
            <a:extLst>
              <a:ext uri="{FF2B5EF4-FFF2-40B4-BE49-F238E27FC236}">
                <a16:creationId xmlns:a16="http://schemas.microsoft.com/office/drawing/2014/main" id="{81879F91-05E8-4EFB-8ACF-FBF8C4276BAF}"/>
              </a:ext>
            </a:extLst>
          </p:cNvPr>
          <p:cNvSpPr/>
          <p:nvPr/>
        </p:nvSpPr>
        <p:spPr>
          <a:xfrm>
            <a:off x="6371793" y="4491986"/>
            <a:ext cx="1980787" cy="372345"/>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sz="1400" dirty="0">
              <a:solidFill>
                <a:schemeClr val="tx1"/>
              </a:solidFill>
            </a:endParaRPr>
          </a:p>
        </p:txBody>
      </p:sp>
      <p:sp>
        <p:nvSpPr>
          <p:cNvPr id="51" name="Rectangle 50">
            <a:extLst>
              <a:ext uri="{FF2B5EF4-FFF2-40B4-BE49-F238E27FC236}">
                <a16:creationId xmlns:a16="http://schemas.microsoft.com/office/drawing/2014/main" id="{666A6AF5-31F1-4F0D-99D1-DACE4A41B829}"/>
              </a:ext>
            </a:extLst>
          </p:cNvPr>
          <p:cNvSpPr/>
          <p:nvPr/>
        </p:nvSpPr>
        <p:spPr>
          <a:xfrm>
            <a:off x="6352418" y="4091509"/>
            <a:ext cx="1980787" cy="352620"/>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sz="1400" dirty="0">
              <a:solidFill>
                <a:schemeClr val="tx1"/>
              </a:solidFill>
            </a:endParaRPr>
          </a:p>
        </p:txBody>
      </p:sp>
      <p:sp>
        <p:nvSpPr>
          <p:cNvPr id="4" name="Rectangle 3">
            <a:extLst>
              <a:ext uri="{FF2B5EF4-FFF2-40B4-BE49-F238E27FC236}">
                <a16:creationId xmlns:a16="http://schemas.microsoft.com/office/drawing/2014/main" id="{54214723-E1B6-4AB1-90C4-E14C919EB220}"/>
              </a:ext>
            </a:extLst>
          </p:cNvPr>
          <p:cNvSpPr/>
          <p:nvPr/>
        </p:nvSpPr>
        <p:spPr>
          <a:xfrm>
            <a:off x="9093246" y="2397728"/>
            <a:ext cx="2844368" cy="3767576"/>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sz="1400" dirty="0">
              <a:solidFill>
                <a:schemeClr val="tx1"/>
              </a:solidFill>
            </a:endParaRPr>
          </a:p>
        </p:txBody>
      </p:sp>
      <p:sp>
        <p:nvSpPr>
          <p:cNvPr id="25" name="Rectangle 24">
            <a:extLst>
              <a:ext uri="{FF2B5EF4-FFF2-40B4-BE49-F238E27FC236}">
                <a16:creationId xmlns:a16="http://schemas.microsoft.com/office/drawing/2014/main" id="{EC594A76-87E2-44B4-B7ED-51FA1CBA8CC3}"/>
              </a:ext>
            </a:extLst>
          </p:cNvPr>
          <p:cNvSpPr/>
          <p:nvPr/>
        </p:nvSpPr>
        <p:spPr>
          <a:xfrm>
            <a:off x="10080721" y="3234821"/>
            <a:ext cx="1350102" cy="1953422"/>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DE" sz="1400" dirty="0">
              <a:solidFill>
                <a:schemeClr val="tx1"/>
              </a:solidFill>
            </a:endParaRPr>
          </a:p>
        </p:txBody>
      </p:sp>
      <p:pic>
        <p:nvPicPr>
          <p:cNvPr id="72" name="Picture 71">
            <a:extLst>
              <a:ext uri="{FF2B5EF4-FFF2-40B4-BE49-F238E27FC236}">
                <a16:creationId xmlns:a16="http://schemas.microsoft.com/office/drawing/2014/main" id="{B69F7F40-EDBA-462C-95A2-EE35BFB593A1}"/>
              </a:ext>
            </a:extLst>
          </p:cNvPr>
          <p:cNvPicPr>
            <a:picLocks noChangeAspect="1"/>
          </p:cNvPicPr>
          <p:nvPr/>
        </p:nvPicPr>
        <p:blipFill>
          <a:blip r:embed="rId4"/>
          <a:stretch>
            <a:fillRect/>
          </a:stretch>
        </p:blipFill>
        <p:spPr>
          <a:xfrm>
            <a:off x="957171" y="2848793"/>
            <a:ext cx="10548760" cy="1093344"/>
          </a:xfrm>
          <a:prstGeom prst="rect">
            <a:avLst/>
          </a:prstGeom>
          <a:ln>
            <a:noFill/>
          </a:ln>
          <a:effectLst>
            <a:outerShdw blurRad="292100" dist="139700" dir="2700000" algn="tl" rotWithShape="0">
              <a:srgbClr val="333333">
                <a:alpha val="65000"/>
              </a:srgbClr>
            </a:outerShdw>
          </a:effectLst>
        </p:spPr>
      </p:pic>
      <p:pic>
        <p:nvPicPr>
          <p:cNvPr id="73" name="Picture 72">
            <a:extLst>
              <a:ext uri="{FF2B5EF4-FFF2-40B4-BE49-F238E27FC236}">
                <a16:creationId xmlns:a16="http://schemas.microsoft.com/office/drawing/2014/main" id="{2115A534-3B7F-4582-9E21-AD10162D619F}"/>
              </a:ext>
            </a:extLst>
          </p:cNvPr>
          <p:cNvPicPr>
            <a:picLocks noChangeAspect="1"/>
          </p:cNvPicPr>
          <p:nvPr/>
        </p:nvPicPr>
        <p:blipFill>
          <a:blip r:embed="rId5"/>
          <a:stretch>
            <a:fillRect/>
          </a:stretch>
        </p:blipFill>
        <p:spPr>
          <a:xfrm>
            <a:off x="867625" y="3170363"/>
            <a:ext cx="10453249" cy="613179"/>
          </a:xfrm>
          <a:prstGeom prst="rect">
            <a:avLst/>
          </a:prstGeom>
          <a:ln>
            <a:noFill/>
          </a:ln>
          <a:effectLst>
            <a:outerShdw blurRad="292100" dist="139700" dir="2700000" algn="tl" rotWithShape="0">
              <a:srgbClr val="333333">
                <a:alpha val="65000"/>
              </a:srgbClr>
            </a:outerShdw>
          </a:effectLst>
        </p:spPr>
      </p:pic>
      <p:pic>
        <p:nvPicPr>
          <p:cNvPr id="74" name="Picture 73">
            <a:extLst>
              <a:ext uri="{FF2B5EF4-FFF2-40B4-BE49-F238E27FC236}">
                <a16:creationId xmlns:a16="http://schemas.microsoft.com/office/drawing/2014/main" id="{D85947EF-7F5C-49A9-9BAA-2883189516C0}"/>
              </a:ext>
            </a:extLst>
          </p:cNvPr>
          <p:cNvPicPr>
            <a:picLocks noChangeAspect="1"/>
          </p:cNvPicPr>
          <p:nvPr/>
        </p:nvPicPr>
        <p:blipFill>
          <a:blip r:embed="rId6"/>
          <a:stretch>
            <a:fillRect/>
          </a:stretch>
        </p:blipFill>
        <p:spPr>
          <a:xfrm>
            <a:off x="201928" y="2726275"/>
            <a:ext cx="11646670" cy="765808"/>
          </a:xfrm>
          <a:prstGeom prst="rect">
            <a:avLst/>
          </a:prstGeom>
          <a:ln>
            <a:noFill/>
          </a:ln>
          <a:effectLst>
            <a:outerShdw blurRad="292100" dist="139700" dir="2700000" algn="tl" rotWithShape="0">
              <a:srgbClr val="333333">
                <a:alpha val="65000"/>
              </a:srgbClr>
            </a:outerShdw>
          </a:effectLst>
        </p:spPr>
      </p:pic>
      <p:pic>
        <p:nvPicPr>
          <p:cNvPr id="75" name="Picture 74">
            <a:extLst>
              <a:ext uri="{FF2B5EF4-FFF2-40B4-BE49-F238E27FC236}">
                <a16:creationId xmlns:a16="http://schemas.microsoft.com/office/drawing/2014/main" id="{21FD7762-9B16-4C80-8B8F-16C35A80BD59}"/>
              </a:ext>
            </a:extLst>
          </p:cNvPr>
          <p:cNvPicPr>
            <a:picLocks noChangeAspect="1"/>
          </p:cNvPicPr>
          <p:nvPr/>
        </p:nvPicPr>
        <p:blipFill>
          <a:blip r:embed="rId7"/>
          <a:stretch>
            <a:fillRect/>
          </a:stretch>
        </p:blipFill>
        <p:spPr>
          <a:xfrm>
            <a:off x="854243" y="2737803"/>
            <a:ext cx="10180154" cy="1060789"/>
          </a:xfrm>
          <a:prstGeom prst="rect">
            <a:avLst/>
          </a:prstGeom>
          <a:ln>
            <a:noFill/>
          </a:ln>
          <a:effectLst>
            <a:outerShdw blurRad="292100" dist="139700" dir="2700000" algn="tl" rotWithShape="0">
              <a:srgbClr val="333333">
                <a:alpha val="65000"/>
              </a:srgbClr>
            </a:outerShdw>
          </a:effectLst>
        </p:spPr>
      </p:pic>
      <p:pic>
        <p:nvPicPr>
          <p:cNvPr id="76" name="Picture 75">
            <a:extLst>
              <a:ext uri="{FF2B5EF4-FFF2-40B4-BE49-F238E27FC236}">
                <a16:creationId xmlns:a16="http://schemas.microsoft.com/office/drawing/2014/main" id="{D309B0F1-309A-4A9C-9231-CCD47BB012AF}"/>
              </a:ext>
            </a:extLst>
          </p:cNvPr>
          <p:cNvPicPr>
            <a:picLocks noChangeAspect="1"/>
          </p:cNvPicPr>
          <p:nvPr/>
        </p:nvPicPr>
        <p:blipFill>
          <a:blip r:embed="rId8"/>
          <a:stretch>
            <a:fillRect/>
          </a:stretch>
        </p:blipFill>
        <p:spPr>
          <a:xfrm>
            <a:off x="165357" y="3009713"/>
            <a:ext cx="11694309" cy="772566"/>
          </a:xfrm>
          <a:prstGeom prst="rect">
            <a:avLst/>
          </a:prstGeom>
        </p:spPr>
      </p:pic>
      <p:pic>
        <p:nvPicPr>
          <p:cNvPr id="77" name="Picture 76">
            <a:extLst>
              <a:ext uri="{FF2B5EF4-FFF2-40B4-BE49-F238E27FC236}">
                <a16:creationId xmlns:a16="http://schemas.microsoft.com/office/drawing/2014/main" id="{096E2DBB-5B20-4A65-A080-6E3CB01AF246}"/>
              </a:ext>
            </a:extLst>
          </p:cNvPr>
          <p:cNvPicPr>
            <a:picLocks noChangeAspect="1"/>
          </p:cNvPicPr>
          <p:nvPr/>
        </p:nvPicPr>
        <p:blipFill>
          <a:blip r:embed="rId9"/>
          <a:stretch>
            <a:fillRect/>
          </a:stretch>
        </p:blipFill>
        <p:spPr>
          <a:xfrm>
            <a:off x="1897499" y="255670"/>
            <a:ext cx="7513516" cy="6239519"/>
          </a:xfrm>
          <a:prstGeom prst="rect">
            <a:avLst/>
          </a:prstGeom>
        </p:spPr>
      </p:pic>
      <p:sp>
        <p:nvSpPr>
          <p:cNvPr id="78" name="TextBox 77">
            <a:extLst>
              <a:ext uri="{FF2B5EF4-FFF2-40B4-BE49-F238E27FC236}">
                <a16:creationId xmlns:a16="http://schemas.microsoft.com/office/drawing/2014/main" id="{40DCA218-583B-4AC7-A28A-63DBBEE9D4E7}"/>
              </a:ext>
            </a:extLst>
          </p:cNvPr>
          <p:cNvSpPr txBox="1"/>
          <p:nvPr/>
        </p:nvSpPr>
        <p:spPr>
          <a:xfrm>
            <a:off x="288968" y="1624741"/>
            <a:ext cx="2870879" cy="93871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100" dirty="0"/>
              <a:t>Sarah </a:t>
            </a:r>
            <a:r>
              <a:rPr lang="en-US" sz="1100" dirty="0">
                <a:highlight>
                  <a:srgbClr val="FFFF00"/>
                </a:highlight>
              </a:rPr>
              <a:t>travels to </a:t>
            </a:r>
            <a:r>
              <a:rPr lang="en-US" sz="1100" dirty="0"/>
              <a:t>the UK.</a:t>
            </a:r>
          </a:p>
          <a:p>
            <a:r>
              <a:rPr lang="en-US" sz="1100" dirty="0"/>
              <a:t>Sarah is </a:t>
            </a:r>
            <a:r>
              <a:rPr lang="en-US" sz="1100" dirty="0">
                <a:highlight>
                  <a:srgbClr val="FFFF00"/>
                </a:highlight>
              </a:rPr>
              <a:t>going</a:t>
            </a:r>
            <a:r>
              <a:rPr lang="en-US" sz="1100" dirty="0"/>
              <a:t> to the UK.</a:t>
            </a:r>
          </a:p>
          <a:p>
            <a:r>
              <a:rPr lang="en-US" sz="1100" dirty="0"/>
              <a:t>Sarah </a:t>
            </a:r>
            <a:r>
              <a:rPr lang="en-US" sz="1100" dirty="0">
                <a:highlight>
                  <a:srgbClr val="FFFF00"/>
                </a:highlight>
              </a:rPr>
              <a:t>went</a:t>
            </a:r>
            <a:r>
              <a:rPr lang="en-US" sz="1100" dirty="0"/>
              <a:t> to the UK.</a:t>
            </a:r>
          </a:p>
          <a:p>
            <a:r>
              <a:rPr lang="en-US" sz="1100" dirty="0"/>
              <a:t>Sarah </a:t>
            </a:r>
            <a:r>
              <a:rPr lang="en-US" sz="1100" dirty="0">
                <a:highlight>
                  <a:srgbClr val="FFFF00"/>
                </a:highlight>
              </a:rPr>
              <a:t>travelled </a:t>
            </a:r>
            <a:r>
              <a:rPr lang="en-US" sz="1100" dirty="0"/>
              <a:t>to the UK.</a:t>
            </a:r>
          </a:p>
          <a:p>
            <a:r>
              <a:rPr lang="en-US" sz="1100" dirty="0"/>
              <a:t>I am </a:t>
            </a:r>
            <a:r>
              <a:rPr lang="en-US" sz="1100" dirty="0">
                <a:highlight>
                  <a:srgbClr val="FFFF00"/>
                </a:highlight>
              </a:rPr>
              <a:t>travelling</a:t>
            </a:r>
            <a:r>
              <a:rPr lang="en-US" sz="1100" dirty="0"/>
              <a:t> to Germany</a:t>
            </a:r>
            <a:endParaRPr lang="de-DE" sz="1100" dirty="0"/>
          </a:p>
        </p:txBody>
      </p:sp>
      <p:sp>
        <p:nvSpPr>
          <p:cNvPr id="79" name="Rectangle 78">
            <a:extLst>
              <a:ext uri="{FF2B5EF4-FFF2-40B4-BE49-F238E27FC236}">
                <a16:creationId xmlns:a16="http://schemas.microsoft.com/office/drawing/2014/main" id="{749554BE-FAE7-4F1F-97A2-FAD569F03AB4}"/>
              </a:ext>
            </a:extLst>
          </p:cNvPr>
          <p:cNvSpPr/>
          <p:nvPr/>
        </p:nvSpPr>
        <p:spPr>
          <a:xfrm>
            <a:off x="2744650" y="2210371"/>
            <a:ext cx="2216124" cy="14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travel </a:t>
            </a:r>
            <a:r>
              <a:rPr lang="en-US" sz="1000" dirty="0" err="1">
                <a:solidFill>
                  <a:schemeClr val="tx1"/>
                </a:solidFill>
              </a:rPr>
              <a:t>travel</a:t>
            </a:r>
            <a:r>
              <a:rPr lang="en-US" sz="1000" dirty="0">
                <a:solidFill>
                  <a:schemeClr val="tx1"/>
                </a:solidFill>
              </a:rPr>
              <a:t> 1.0 </a:t>
            </a:r>
          </a:p>
          <a:p>
            <a:r>
              <a:rPr lang="en-US" sz="1000" dirty="0">
                <a:solidFill>
                  <a:schemeClr val="tx1"/>
                </a:solidFill>
              </a:rPr>
              <a:t>travel going 0.17055118 </a:t>
            </a:r>
          </a:p>
          <a:p>
            <a:r>
              <a:rPr lang="en-US" sz="1000" dirty="0">
                <a:solidFill>
                  <a:schemeClr val="tx1"/>
                </a:solidFill>
              </a:rPr>
              <a:t>travel went 0.044150226 </a:t>
            </a:r>
          </a:p>
          <a:p>
            <a:r>
              <a:rPr lang="en-US" sz="1000" dirty="0">
                <a:solidFill>
                  <a:schemeClr val="tx1"/>
                </a:solidFill>
              </a:rPr>
              <a:t>going travel 0.17055118 </a:t>
            </a:r>
          </a:p>
          <a:p>
            <a:r>
              <a:rPr lang="en-US" sz="1000" dirty="0">
                <a:solidFill>
                  <a:schemeClr val="tx1"/>
                </a:solidFill>
              </a:rPr>
              <a:t>going travelling 0.69 </a:t>
            </a:r>
            <a:endParaRPr lang="de-DE" sz="1000" dirty="0">
              <a:solidFill>
                <a:schemeClr val="tx1"/>
              </a:solidFill>
            </a:endParaRPr>
          </a:p>
        </p:txBody>
      </p:sp>
      <p:sp>
        <p:nvSpPr>
          <p:cNvPr id="80" name="Oval 79">
            <a:extLst>
              <a:ext uri="{FF2B5EF4-FFF2-40B4-BE49-F238E27FC236}">
                <a16:creationId xmlns:a16="http://schemas.microsoft.com/office/drawing/2014/main" id="{808F00FD-B281-4E49-9407-87D5A7078F10}"/>
              </a:ext>
            </a:extLst>
          </p:cNvPr>
          <p:cNvSpPr/>
          <p:nvPr/>
        </p:nvSpPr>
        <p:spPr>
          <a:xfrm>
            <a:off x="3897583" y="3238379"/>
            <a:ext cx="1639398" cy="563873"/>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de-DE" sz="1400" dirty="0">
                <a:solidFill>
                  <a:schemeClr val="tx1"/>
                </a:solidFill>
              </a:rPr>
              <a:t>Similarity</a:t>
            </a:r>
          </a:p>
        </p:txBody>
      </p:sp>
      <p:pic>
        <p:nvPicPr>
          <p:cNvPr id="81" name="Picture 80">
            <a:extLst>
              <a:ext uri="{FF2B5EF4-FFF2-40B4-BE49-F238E27FC236}">
                <a16:creationId xmlns:a16="http://schemas.microsoft.com/office/drawing/2014/main" id="{710BF75D-7E20-4450-9B40-3288D2D56F5F}"/>
              </a:ext>
            </a:extLst>
          </p:cNvPr>
          <p:cNvPicPr>
            <a:picLocks noChangeAspect="1"/>
          </p:cNvPicPr>
          <p:nvPr/>
        </p:nvPicPr>
        <p:blipFill>
          <a:blip r:embed="rId10"/>
          <a:stretch>
            <a:fillRect/>
          </a:stretch>
        </p:blipFill>
        <p:spPr>
          <a:xfrm>
            <a:off x="714309" y="3434097"/>
            <a:ext cx="2200275" cy="1857375"/>
          </a:xfrm>
          <a:prstGeom prst="rect">
            <a:avLst/>
          </a:prstGeom>
        </p:spPr>
      </p:pic>
      <p:sp>
        <p:nvSpPr>
          <p:cNvPr id="82" name="Rectangle 81">
            <a:extLst>
              <a:ext uri="{FF2B5EF4-FFF2-40B4-BE49-F238E27FC236}">
                <a16:creationId xmlns:a16="http://schemas.microsoft.com/office/drawing/2014/main" id="{BA9907DF-A684-4ABE-BD92-59F0692EAC69}"/>
              </a:ext>
            </a:extLst>
          </p:cNvPr>
          <p:cNvSpPr/>
          <p:nvPr/>
        </p:nvSpPr>
        <p:spPr>
          <a:xfrm>
            <a:off x="679192" y="2776098"/>
            <a:ext cx="1895037" cy="924562"/>
          </a:xfrm>
          <a:prstGeom prst="rect">
            <a:avLst/>
          </a:prstGeom>
          <a:solidFill>
            <a:srgbClr val="F2B796"/>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de-DE" sz="1100" dirty="0">
                <a:solidFill>
                  <a:schemeClr val="tx1"/>
                </a:solidFill>
              </a:rPr>
              <a:t>Location(Meta Data)</a:t>
            </a:r>
          </a:p>
        </p:txBody>
      </p:sp>
      <p:pic>
        <p:nvPicPr>
          <p:cNvPr id="6" name="Picture 5">
            <a:extLst>
              <a:ext uri="{FF2B5EF4-FFF2-40B4-BE49-F238E27FC236}">
                <a16:creationId xmlns:a16="http://schemas.microsoft.com/office/drawing/2014/main" id="{06619948-3F15-4E11-8201-AF7740D51E2D}"/>
              </a:ext>
            </a:extLst>
          </p:cNvPr>
          <p:cNvPicPr>
            <a:picLocks noChangeAspect="1"/>
          </p:cNvPicPr>
          <p:nvPr/>
        </p:nvPicPr>
        <p:blipFill>
          <a:blip r:embed="rId11"/>
          <a:stretch>
            <a:fillRect/>
          </a:stretch>
        </p:blipFill>
        <p:spPr>
          <a:xfrm>
            <a:off x="505639" y="2354462"/>
            <a:ext cx="5593969" cy="2472554"/>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37392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2"/>
                                        </p:tgtEl>
                                        <p:attrNameLst>
                                          <p:attrName>style.visibility</p:attrName>
                                        </p:attrNameLst>
                                      </p:cBhvr>
                                      <p:to>
                                        <p:strVal val="visible"/>
                                      </p:to>
                                    </p:set>
                                    <p:anim calcmode="lin" valueType="num">
                                      <p:cBhvr additive="base">
                                        <p:cTn id="13" dur="500" fill="hold"/>
                                        <p:tgtEl>
                                          <p:spTgt spid="72"/>
                                        </p:tgtEl>
                                        <p:attrNameLst>
                                          <p:attrName>ppt_x</p:attrName>
                                        </p:attrNameLst>
                                      </p:cBhvr>
                                      <p:tavLst>
                                        <p:tav tm="0">
                                          <p:val>
                                            <p:strVal val="#ppt_x"/>
                                          </p:val>
                                        </p:tav>
                                        <p:tav tm="100000">
                                          <p:val>
                                            <p:strVal val="#ppt_x"/>
                                          </p:val>
                                        </p:tav>
                                      </p:tavLst>
                                    </p:anim>
                                    <p:anim calcmode="lin" valueType="num">
                                      <p:cBhvr additive="base">
                                        <p:cTn id="14" dur="500" fill="hold"/>
                                        <p:tgtEl>
                                          <p:spTgt spid="72"/>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72"/>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3"/>
                                        </p:tgtEl>
                                        <p:attrNameLst>
                                          <p:attrName>style.visibility</p:attrName>
                                        </p:attrNameLst>
                                      </p:cBhvr>
                                      <p:to>
                                        <p:strVal val="visible"/>
                                      </p:to>
                                    </p:set>
                                    <p:anim calcmode="lin" valueType="num">
                                      <p:cBhvr additive="base">
                                        <p:cTn id="25" dur="500" fill="hold"/>
                                        <p:tgtEl>
                                          <p:spTgt spid="73"/>
                                        </p:tgtEl>
                                        <p:attrNameLst>
                                          <p:attrName>ppt_x</p:attrName>
                                        </p:attrNameLst>
                                      </p:cBhvr>
                                      <p:tavLst>
                                        <p:tav tm="0">
                                          <p:val>
                                            <p:strVal val="#ppt_x"/>
                                          </p:val>
                                        </p:tav>
                                        <p:tav tm="100000">
                                          <p:val>
                                            <p:strVal val="#ppt_x"/>
                                          </p:val>
                                        </p:tav>
                                      </p:tavLst>
                                    </p:anim>
                                    <p:anim calcmode="lin" valueType="num">
                                      <p:cBhvr additive="base">
                                        <p:cTn id="26" dur="500" fill="hold"/>
                                        <p:tgtEl>
                                          <p:spTgt spid="73"/>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73"/>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additive="base">
                                        <p:cTn id="31" dur="500" fill="hold"/>
                                        <p:tgtEl>
                                          <p:spTgt spid="51"/>
                                        </p:tgtEl>
                                        <p:attrNameLst>
                                          <p:attrName>ppt_x</p:attrName>
                                        </p:attrNameLst>
                                      </p:cBhvr>
                                      <p:tavLst>
                                        <p:tav tm="0">
                                          <p:val>
                                            <p:strVal val="#ppt_x"/>
                                          </p:val>
                                        </p:tav>
                                        <p:tav tm="100000">
                                          <p:val>
                                            <p:strVal val="#ppt_x"/>
                                          </p:val>
                                        </p:tav>
                                      </p:tavLst>
                                    </p:anim>
                                    <p:anim calcmode="lin" valueType="num">
                                      <p:cBhvr additive="base">
                                        <p:cTn id="32" dur="500" fill="hold"/>
                                        <p:tgtEl>
                                          <p:spTgt spid="51"/>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51"/>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additive="base">
                                        <p:cTn id="37" dur="500" fill="hold"/>
                                        <p:tgtEl>
                                          <p:spTgt spid="74"/>
                                        </p:tgtEl>
                                        <p:attrNameLst>
                                          <p:attrName>ppt_x</p:attrName>
                                        </p:attrNameLst>
                                      </p:cBhvr>
                                      <p:tavLst>
                                        <p:tav tm="0">
                                          <p:val>
                                            <p:strVal val="#ppt_x"/>
                                          </p:val>
                                        </p:tav>
                                        <p:tav tm="100000">
                                          <p:val>
                                            <p:strVal val="#ppt_x"/>
                                          </p:val>
                                        </p:tav>
                                      </p:tavLst>
                                    </p:anim>
                                    <p:anim calcmode="lin" valueType="num">
                                      <p:cBhvr additive="base">
                                        <p:cTn id="38" dur="500" fill="hold"/>
                                        <p:tgtEl>
                                          <p:spTgt spid="74"/>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74"/>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anim calcmode="lin" valueType="num">
                                      <p:cBhvr additive="base">
                                        <p:cTn id="43" dur="500" fill="hold"/>
                                        <p:tgtEl>
                                          <p:spTgt spid="50"/>
                                        </p:tgtEl>
                                        <p:attrNameLst>
                                          <p:attrName>ppt_x</p:attrName>
                                        </p:attrNameLst>
                                      </p:cBhvr>
                                      <p:tavLst>
                                        <p:tav tm="0">
                                          <p:val>
                                            <p:strVal val="#ppt_x"/>
                                          </p:val>
                                        </p:tav>
                                        <p:tav tm="100000">
                                          <p:val>
                                            <p:strVal val="#ppt_x"/>
                                          </p:val>
                                        </p:tav>
                                      </p:tavLst>
                                    </p:anim>
                                    <p:anim calcmode="lin" valueType="num">
                                      <p:cBhvr additive="base">
                                        <p:cTn id="44" dur="500" fill="hold"/>
                                        <p:tgtEl>
                                          <p:spTgt spid="50"/>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50"/>
                                        </p:tgtEl>
                                        <p:attrNameLst>
                                          <p:attrName>style.visibility</p:attrName>
                                        </p:attrNameLst>
                                      </p:cBhvr>
                                      <p:to>
                                        <p:strVal val="hidden"/>
                                      </p:to>
                                    </p:set>
                                  </p:sub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75"/>
                                        </p:tgtEl>
                                        <p:attrNameLst>
                                          <p:attrName>style.visibility</p:attrName>
                                        </p:attrNameLst>
                                      </p:cBhvr>
                                      <p:to>
                                        <p:strVal val="visible"/>
                                      </p:to>
                                    </p:set>
                                    <p:anim calcmode="lin" valueType="num">
                                      <p:cBhvr additive="base">
                                        <p:cTn id="49" dur="500" fill="hold"/>
                                        <p:tgtEl>
                                          <p:spTgt spid="75"/>
                                        </p:tgtEl>
                                        <p:attrNameLst>
                                          <p:attrName>ppt_x</p:attrName>
                                        </p:attrNameLst>
                                      </p:cBhvr>
                                      <p:tavLst>
                                        <p:tav tm="0">
                                          <p:val>
                                            <p:strVal val="#ppt_x"/>
                                          </p:val>
                                        </p:tav>
                                        <p:tav tm="100000">
                                          <p:val>
                                            <p:strVal val="#ppt_x"/>
                                          </p:val>
                                        </p:tav>
                                      </p:tavLst>
                                    </p:anim>
                                    <p:anim calcmode="lin" valueType="num">
                                      <p:cBhvr additive="base">
                                        <p:cTn id="50" dur="500" fill="hold"/>
                                        <p:tgtEl>
                                          <p:spTgt spid="75"/>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75"/>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10"/>
                                        </p:tgtEl>
                                        <p:attrNameLst>
                                          <p:attrName>style.visibility</p:attrName>
                                        </p:attrNameLst>
                                      </p:cBhvr>
                                      <p:to>
                                        <p:strVal val="visible"/>
                                      </p:to>
                                    </p:set>
                                    <p:anim calcmode="lin" valueType="num">
                                      <p:cBhvr additive="base">
                                        <p:cTn id="61" dur="500" fill="hold"/>
                                        <p:tgtEl>
                                          <p:spTgt spid="10"/>
                                        </p:tgtEl>
                                        <p:attrNameLst>
                                          <p:attrName>ppt_x</p:attrName>
                                        </p:attrNameLst>
                                      </p:cBhvr>
                                      <p:tavLst>
                                        <p:tav tm="0">
                                          <p:val>
                                            <p:strVal val="#ppt_x"/>
                                          </p:val>
                                        </p:tav>
                                        <p:tav tm="100000">
                                          <p:val>
                                            <p:strVal val="#ppt_x"/>
                                          </p:val>
                                        </p:tav>
                                      </p:tavLst>
                                    </p:anim>
                                    <p:anim calcmode="lin" valueType="num">
                                      <p:cBhvr additive="base">
                                        <p:cTn id="62" dur="500" fill="hold"/>
                                        <p:tgtEl>
                                          <p:spTgt spid="10"/>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76"/>
                                        </p:tgtEl>
                                        <p:attrNameLst>
                                          <p:attrName>style.visibility</p:attrName>
                                        </p:attrNameLst>
                                      </p:cBhvr>
                                      <p:to>
                                        <p:strVal val="visible"/>
                                      </p:to>
                                    </p:set>
                                    <p:anim calcmode="lin" valueType="num">
                                      <p:cBhvr additive="base">
                                        <p:cTn id="67" dur="500" fill="hold"/>
                                        <p:tgtEl>
                                          <p:spTgt spid="76"/>
                                        </p:tgtEl>
                                        <p:attrNameLst>
                                          <p:attrName>ppt_x</p:attrName>
                                        </p:attrNameLst>
                                      </p:cBhvr>
                                      <p:tavLst>
                                        <p:tav tm="0">
                                          <p:val>
                                            <p:strVal val="#ppt_x"/>
                                          </p:val>
                                        </p:tav>
                                        <p:tav tm="100000">
                                          <p:val>
                                            <p:strVal val="#ppt_x"/>
                                          </p:val>
                                        </p:tav>
                                      </p:tavLst>
                                    </p:anim>
                                    <p:anim calcmode="lin" valueType="num">
                                      <p:cBhvr additive="base">
                                        <p:cTn id="68" dur="500" fill="hold"/>
                                        <p:tgtEl>
                                          <p:spTgt spid="76"/>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76"/>
                                        </p:tgtEl>
                                        <p:attrNameLst>
                                          <p:attrName>style.visibility</p:attrName>
                                        </p:attrNameLst>
                                      </p:cBhvr>
                                      <p:to>
                                        <p:strVal val="hidden"/>
                                      </p:to>
                                    </p:set>
                                  </p:sub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4"/>
                                        </p:tgtEl>
                                        <p:attrNameLst>
                                          <p:attrName>style.visibility</p:attrName>
                                        </p:attrNameLst>
                                      </p:cBhvr>
                                      <p:to>
                                        <p:strVal val="visible"/>
                                      </p:to>
                                    </p:set>
                                    <p:anim calcmode="lin" valueType="num">
                                      <p:cBhvr additive="base">
                                        <p:cTn id="73" dur="500" fill="hold"/>
                                        <p:tgtEl>
                                          <p:spTgt spid="4"/>
                                        </p:tgtEl>
                                        <p:attrNameLst>
                                          <p:attrName>ppt_x</p:attrName>
                                        </p:attrNameLst>
                                      </p:cBhvr>
                                      <p:tavLst>
                                        <p:tav tm="0">
                                          <p:val>
                                            <p:strVal val="#ppt_x"/>
                                          </p:val>
                                        </p:tav>
                                        <p:tav tm="100000">
                                          <p:val>
                                            <p:strVal val="#ppt_x"/>
                                          </p:val>
                                        </p:tav>
                                      </p:tavLst>
                                    </p:anim>
                                    <p:anim calcmode="lin" valueType="num">
                                      <p:cBhvr additive="base">
                                        <p:cTn id="7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77"/>
                                        </p:tgtEl>
                                        <p:attrNameLst>
                                          <p:attrName>style.visibility</p:attrName>
                                        </p:attrNameLst>
                                      </p:cBhvr>
                                      <p:to>
                                        <p:strVal val="visible"/>
                                      </p:to>
                                    </p:set>
                                    <p:anim calcmode="lin" valueType="num">
                                      <p:cBhvr additive="base">
                                        <p:cTn id="79" dur="500" fill="hold"/>
                                        <p:tgtEl>
                                          <p:spTgt spid="77"/>
                                        </p:tgtEl>
                                        <p:attrNameLst>
                                          <p:attrName>ppt_x</p:attrName>
                                        </p:attrNameLst>
                                      </p:cBhvr>
                                      <p:tavLst>
                                        <p:tav tm="0">
                                          <p:val>
                                            <p:strVal val="#ppt_x"/>
                                          </p:val>
                                        </p:tav>
                                        <p:tav tm="100000">
                                          <p:val>
                                            <p:strVal val="#ppt_x"/>
                                          </p:val>
                                        </p:tav>
                                      </p:tavLst>
                                    </p:anim>
                                    <p:anim calcmode="lin" valueType="num">
                                      <p:cBhvr additive="base">
                                        <p:cTn id="80" dur="500" fill="hold"/>
                                        <p:tgtEl>
                                          <p:spTgt spid="77"/>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77"/>
                                        </p:tgtEl>
                                        <p:attrNameLst>
                                          <p:attrName>style.visibility</p:attrName>
                                        </p:attrNameLst>
                                      </p:cBhvr>
                                      <p:to>
                                        <p:strVal val="hidden"/>
                                      </p:to>
                                    </p:set>
                                  </p:subTnLst>
                                </p:cTn>
                              </p:par>
                            </p:childTnLst>
                          </p:cTn>
                        </p:par>
                      </p:childTnLst>
                    </p:cTn>
                  </p:par>
                  <p:par>
                    <p:cTn id="81" fill="hold">
                      <p:stCondLst>
                        <p:cond delay="indefinite"/>
                      </p:stCondLst>
                      <p:childTnLst>
                        <p:par>
                          <p:cTn id="82" fill="hold">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25"/>
                                        </p:tgtEl>
                                        <p:attrNameLst>
                                          <p:attrName>style.visibility</p:attrName>
                                        </p:attrNameLst>
                                      </p:cBhvr>
                                      <p:to>
                                        <p:strVal val="visible"/>
                                      </p:to>
                                    </p:set>
                                    <p:anim calcmode="lin" valueType="num">
                                      <p:cBhvr additive="base">
                                        <p:cTn id="85" dur="500" fill="hold"/>
                                        <p:tgtEl>
                                          <p:spTgt spid="25"/>
                                        </p:tgtEl>
                                        <p:attrNameLst>
                                          <p:attrName>ppt_x</p:attrName>
                                        </p:attrNameLst>
                                      </p:cBhvr>
                                      <p:tavLst>
                                        <p:tav tm="0">
                                          <p:val>
                                            <p:strVal val="#ppt_x"/>
                                          </p:val>
                                        </p:tav>
                                        <p:tav tm="100000">
                                          <p:val>
                                            <p:strVal val="#ppt_x"/>
                                          </p:val>
                                        </p:tav>
                                      </p:tavLst>
                                    </p:anim>
                                    <p:anim calcmode="lin" valueType="num">
                                      <p:cBhvr additive="base">
                                        <p:cTn id="8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grpId="0" nodeType="clickEffect">
                                  <p:stCondLst>
                                    <p:cond delay="0"/>
                                  </p:stCondLst>
                                  <p:childTnLst>
                                    <p:set>
                                      <p:cBhvr>
                                        <p:cTn id="90" dur="1" fill="hold">
                                          <p:stCondLst>
                                            <p:cond delay="0"/>
                                          </p:stCondLst>
                                        </p:cTn>
                                        <p:tgtEl>
                                          <p:spTgt spid="78"/>
                                        </p:tgtEl>
                                        <p:attrNameLst>
                                          <p:attrName>style.visibility</p:attrName>
                                        </p:attrNameLst>
                                      </p:cBhvr>
                                      <p:to>
                                        <p:strVal val="visible"/>
                                      </p:to>
                                    </p:set>
                                    <p:anim calcmode="lin" valueType="num">
                                      <p:cBhvr additive="base">
                                        <p:cTn id="91" dur="500" fill="hold"/>
                                        <p:tgtEl>
                                          <p:spTgt spid="78"/>
                                        </p:tgtEl>
                                        <p:attrNameLst>
                                          <p:attrName>ppt_x</p:attrName>
                                        </p:attrNameLst>
                                      </p:cBhvr>
                                      <p:tavLst>
                                        <p:tav tm="0">
                                          <p:val>
                                            <p:strVal val="#ppt_x"/>
                                          </p:val>
                                        </p:tav>
                                        <p:tav tm="100000">
                                          <p:val>
                                            <p:strVal val="#ppt_x"/>
                                          </p:val>
                                        </p:tav>
                                      </p:tavLst>
                                    </p:anim>
                                    <p:anim calcmode="lin" valueType="num">
                                      <p:cBhvr additive="base">
                                        <p:cTn id="92" dur="500" fill="hold"/>
                                        <p:tgtEl>
                                          <p:spTgt spid="78"/>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grpId="0" nodeType="clickEffect">
                                  <p:stCondLst>
                                    <p:cond delay="0"/>
                                  </p:stCondLst>
                                  <p:childTnLst>
                                    <p:set>
                                      <p:cBhvr>
                                        <p:cTn id="96" dur="1" fill="hold">
                                          <p:stCondLst>
                                            <p:cond delay="0"/>
                                          </p:stCondLst>
                                        </p:cTn>
                                        <p:tgtEl>
                                          <p:spTgt spid="80"/>
                                        </p:tgtEl>
                                        <p:attrNameLst>
                                          <p:attrName>style.visibility</p:attrName>
                                        </p:attrNameLst>
                                      </p:cBhvr>
                                      <p:to>
                                        <p:strVal val="visible"/>
                                      </p:to>
                                    </p:set>
                                    <p:anim calcmode="lin" valueType="num">
                                      <p:cBhvr additive="base">
                                        <p:cTn id="97" dur="500" fill="hold"/>
                                        <p:tgtEl>
                                          <p:spTgt spid="80"/>
                                        </p:tgtEl>
                                        <p:attrNameLst>
                                          <p:attrName>ppt_x</p:attrName>
                                        </p:attrNameLst>
                                      </p:cBhvr>
                                      <p:tavLst>
                                        <p:tav tm="0">
                                          <p:val>
                                            <p:strVal val="#ppt_x"/>
                                          </p:val>
                                        </p:tav>
                                        <p:tav tm="100000">
                                          <p:val>
                                            <p:strVal val="#ppt_x"/>
                                          </p:val>
                                        </p:tav>
                                      </p:tavLst>
                                    </p:anim>
                                    <p:anim calcmode="lin" valueType="num">
                                      <p:cBhvr additive="base">
                                        <p:cTn id="98" dur="500" fill="hold"/>
                                        <p:tgtEl>
                                          <p:spTgt spid="80"/>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79"/>
                                        </p:tgtEl>
                                        <p:attrNameLst>
                                          <p:attrName>style.visibility</p:attrName>
                                        </p:attrNameLst>
                                      </p:cBhvr>
                                      <p:to>
                                        <p:strVal val="visible"/>
                                      </p:to>
                                    </p:set>
                                    <p:anim calcmode="lin" valueType="num">
                                      <p:cBhvr additive="base">
                                        <p:cTn id="101" dur="500" fill="hold"/>
                                        <p:tgtEl>
                                          <p:spTgt spid="79"/>
                                        </p:tgtEl>
                                        <p:attrNameLst>
                                          <p:attrName>ppt_x</p:attrName>
                                        </p:attrNameLst>
                                      </p:cBhvr>
                                      <p:tavLst>
                                        <p:tav tm="0">
                                          <p:val>
                                            <p:strVal val="#ppt_x"/>
                                          </p:val>
                                        </p:tav>
                                        <p:tav tm="100000">
                                          <p:val>
                                            <p:strVal val="#ppt_x"/>
                                          </p:val>
                                        </p:tav>
                                      </p:tavLst>
                                    </p:anim>
                                    <p:anim calcmode="lin" valueType="num">
                                      <p:cBhvr additive="base">
                                        <p:cTn id="102" dur="500" fill="hold"/>
                                        <p:tgtEl>
                                          <p:spTgt spid="79"/>
                                        </p:tgtEl>
                                        <p:attrNameLst>
                                          <p:attrName>ppt_y</p:attrName>
                                        </p:attrNameLst>
                                      </p:cBhvr>
                                      <p:tavLst>
                                        <p:tav tm="0">
                                          <p:val>
                                            <p:strVal val="1+#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2" presetClass="entr" presetSubtype="4" fill="hold" nodeType="clickEffect">
                                  <p:stCondLst>
                                    <p:cond delay="0"/>
                                  </p:stCondLst>
                                  <p:childTnLst>
                                    <p:set>
                                      <p:cBhvr>
                                        <p:cTn id="106" dur="1" fill="hold">
                                          <p:stCondLst>
                                            <p:cond delay="0"/>
                                          </p:stCondLst>
                                        </p:cTn>
                                        <p:tgtEl>
                                          <p:spTgt spid="81"/>
                                        </p:tgtEl>
                                        <p:attrNameLst>
                                          <p:attrName>style.visibility</p:attrName>
                                        </p:attrNameLst>
                                      </p:cBhvr>
                                      <p:to>
                                        <p:strVal val="visible"/>
                                      </p:to>
                                    </p:set>
                                    <p:anim calcmode="lin" valueType="num">
                                      <p:cBhvr additive="base">
                                        <p:cTn id="107" dur="500" fill="hold"/>
                                        <p:tgtEl>
                                          <p:spTgt spid="81"/>
                                        </p:tgtEl>
                                        <p:attrNameLst>
                                          <p:attrName>ppt_x</p:attrName>
                                        </p:attrNameLst>
                                      </p:cBhvr>
                                      <p:tavLst>
                                        <p:tav tm="0">
                                          <p:val>
                                            <p:strVal val="#ppt_x"/>
                                          </p:val>
                                        </p:tav>
                                        <p:tav tm="100000">
                                          <p:val>
                                            <p:strVal val="#ppt_x"/>
                                          </p:val>
                                        </p:tav>
                                      </p:tavLst>
                                    </p:anim>
                                    <p:anim calcmode="lin" valueType="num">
                                      <p:cBhvr additive="base">
                                        <p:cTn id="108" dur="500" fill="hold"/>
                                        <p:tgtEl>
                                          <p:spTgt spid="81"/>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82"/>
                                        </p:tgtEl>
                                        <p:attrNameLst>
                                          <p:attrName>style.visibility</p:attrName>
                                        </p:attrNameLst>
                                      </p:cBhvr>
                                      <p:to>
                                        <p:strVal val="visible"/>
                                      </p:to>
                                    </p:set>
                                    <p:anim calcmode="lin" valueType="num">
                                      <p:cBhvr additive="base">
                                        <p:cTn id="111" dur="500" fill="hold"/>
                                        <p:tgtEl>
                                          <p:spTgt spid="82"/>
                                        </p:tgtEl>
                                        <p:attrNameLst>
                                          <p:attrName>ppt_x</p:attrName>
                                        </p:attrNameLst>
                                      </p:cBhvr>
                                      <p:tavLst>
                                        <p:tav tm="0">
                                          <p:val>
                                            <p:strVal val="#ppt_x"/>
                                          </p:val>
                                        </p:tav>
                                        <p:tav tm="100000">
                                          <p:val>
                                            <p:strVal val="#ppt_x"/>
                                          </p:val>
                                        </p:tav>
                                      </p:tavLst>
                                    </p:anim>
                                    <p:anim calcmode="lin" valueType="num">
                                      <p:cBhvr additive="base">
                                        <p:cTn id="112" dur="500" fill="hold"/>
                                        <p:tgtEl>
                                          <p:spTgt spid="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0" grpId="0" animBg="1"/>
      <p:bldP spid="50" grpId="0" animBg="1"/>
      <p:bldP spid="51" grpId="0" animBg="1"/>
      <p:bldP spid="4" grpId="0" animBg="1"/>
      <p:bldP spid="25" grpId="0" animBg="1"/>
      <p:bldP spid="78" grpId="0" animBg="1"/>
      <p:bldP spid="79" grpId="0" animBg="1"/>
      <p:bldP spid="80" grpId="0" animBg="1"/>
      <p:bldP spid="8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1">
            <a:extLst>
              <a:ext uri="{FF2B5EF4-FFF2-40B4-BE49-F238E27FC236}">
                <a16:creationId xmlns:a16="http://schemas.microsoft.com/office/drawing/2014/main" id="{BC52C7D5-CC99-4E84-98DC-B345723BC4CD}"/>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Footer Placeholder 2">
            <a:extLst>
              <a:ext uri="{FF2B5EF4-FFF2-40B4-BE49-F238E27FC236}">
                <a16:creationId xmlns:a16="http://schemas.microsoft.com/office/drawing/2014/main" id="{3E31FB30-3D88-4E1B-9E6D-A3E124B08EAD}"/>
              </a:ext>
            </a:extLst>
          </p:cNvPr>
          <p:cNvSpPr>
            <a:spLocks noGrp="1"/>
          </p:cNvSpPr>
          <p:nvPr>
            <p:ph type="ftr" sz="quarter" idx="11"/>
          </p:nvPr>
        </p:nvSpPr>
        <p:spPr/>
        <p:txBody>
          <a:bodyPr/>
          <a:lstStyle/>
          <a:p>
            <a:r>
              <a:rPr lang="en-US" dirty="0"/>
              <a:t>© 2019 Capgemini. All rights reserved.</a:t>
            </a:r>
          </a:p>
        </p:txBody>
      </p:sp>
      <p:sp>
        <p:nvSpPr>
          <p:cNvPr id="4" name="Slide Number Placeholder 3">
            <a:extLst>
              <a:ext uri="{FF2B5EF4-FFF2-40B4-BE49-F238E27FC236}">
                <a16:creationId xmlns:a16="http://schemas.microsoft.com/office/drawing/2014/main" id="{33777CB5-C595-4423-93BD-8AF1C249A524}"/>
              </a:ext>
            </a:extLst>
          </p:cNvPr>
          <p:cNvSpPr>
            <a:spLocks noGrp="1"/>
          </p:cNvSpPr>
          <p:nvPr>
            <p:ph type="sldNum" sz="quarter" idx="12"/>
          </p:nvPr>
        </p:nvSpPr>
        <p:spPr/>
        <p:txBody>
          <a:bodyPr/>
          <a:lstStyle/>
          <a:p>
            <a:fld id="{DD205EFF-948D-4AF6-B54C-65639188FB5F}" type="slidenum">
              <a:rPr lang="en-US" smtClean="0"/>
              <a:pPr/>
              <a:t>7</a:t>
            </a:fld>
            <a:endParaRPr lang="en-US" dirty="0"/>
          </a:p>
        </p:txBody>
      </p:sp>
      <p:sp>
        <p:nvSpPr>
          <p:cNvPr id="11" name="AutoShape 8" descr="Image result for visualization of ontology">
            <a:extLst>
              <a:ext uri="{FF2B5EF4-FFF2-40B4-BE49-F238E27FC236}">
                <a16:creationId xmlns:a16="http://schemas.microsoft.com/office/drawing/2014/main" id="{17DC1D9D-0A63-45DE-8941-7FFBD6CAE88C}"/>
              </a:ext>
            </a:extLst>
          </p:cNvPr>
          <p:cNvSpPr>
            <a:spLocks noChangeAspect="1" noChangeArrowheads="1"/>
          </p:cNvSpPr>
          <p:nvPr/>
        </p:nvSpPr>
        <p:spPr bwMode="auto">
          <a:xfrm>
            <a:off x="6918218" y="333064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AutoShape 10" descr="Image result for visualization of ontology">
            <a:extLst>
              <a:ext uri="{FF2B5EF4-FFF2-40B4-BE49-F238E27FC236}">
                <a16:creationId xmlns:a16="http://schemas.microsoft.com/office/drawing/2014/main" id="{90512FF2-9415-400C-AC7B-6D122519F37A}"/>
              </a:ext>
            </a:extLst>
          </p:cNvPr>
          <p:cNvSpPr>
            <a:spLocks noChangeAspect="1" noChangeArrowheads="1"/>
          </p:cNvSpPr>
          <p:nvPr/>
        </p:nvSpPr>
        <p:spPr bwMode="auto">
          <a:xfrm>
            <a:off x="7070618" y="348304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AutoShape 12" descr="Image result for sparql">
            <a:extLst>
              <a:ext uri="{FF2B5EF4-FFF2-40B4-BE49-F238E27FC236}">
                <a16:creationId xmlns:a16="http://schemas.microsoft.com/office/drawing/2014/main" id="{936930A6-7F25-4BFF-9043-B09BCC6BCDB9}"/>
              </a:ext>
            </a:extLst>
          </p:cNvPr>
          <p:cNvSpPr>
            <a:spLocks noChangeAspect="1" noChangeArrowheads="1"/>
          </p:cNvSpPr>
          <p:nvPr/>
        </p:nvSpPr>
        <p:spPr bwMode="auto">
          <a:xfrm>
            <a:off x="7223018" y="363544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TextBox 27">
            <a:extLst>
              <a:ext uri="{FF2B5EF4-FFF2-40B4-BE49-F238E27FC236}">
                <a16:creationId xmlns:a16="http://schemas.microsoft.com/office/drawing/2014/main" id="{B1D330E1-3909-461B-97F9-1917AD24CA78}"/>
              </a:ext>
            </a:extLst>
          </p:cNvPr>
          <p:cNvSpPr txBox="1"/>
          <p:nvPr/>
        </p:nvSpPr>
        <p:spPr bwMode="auto">
          <a:xfrm>
            <a:off x="1683387" y="2538097"/>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Relational Databases</a:t>
            </a:r>
          </a:p>
        </p:txBody>
      </p:sp>
      <p:pic>
        <p:nvPicPr>
          <p:cNvPr id="45057" name="Picture 45056">
            <a:extLst>
              <a:ext uri="{FF2B5EF4-FFF2-40B4-BE49-F238E27FC236}">
                <a16:creationId xmlns:a16="http://schemas.microsoft.com/office/drawing/2014/main" id="{FD7527CB-DC03-4485-A5D3-DCB57A43EEC5}"/>
              </a:ext>
            </a:extLst>
          </p:cNvPr>
          <p:cNvPicPr>
            <a:picLocks noChangeAspect="1"/>
          </p:cNvPicPr>
          <p:nvPr/>
        </p:nvPicPr>
        <p:blipFill>
          <a:blip r:embed="rId4"/>
          <a:stretch>
            <a:fillRect/>
          </a:stretch>
        </p:blipFill>
        <p:spPr>
          <a:xfrm>
            <a:off x="1609084" y="1481404"/>
            <a:ext cx="1138240" cy="1047460"/>
          </a:xfrm>
          <a:prstGeom prst="rect">
            <a:avLst/>
          </a:prstGeom>
        </p:spPr>
      </p:pic>
      <p:pic>
        <p:nvPicPr>
          <p:cNvPr id="45063" name="Picture 45062">
            <a:extLst>
              <a:ext uri="{FF2B5EF4-FFF2-40B4-BE49-F238E27FC236}">
                <a16:creationId xmlns:a16="http://schemas.microsoft.com/office/drawing/2014/main" id="{C0A311E4-3114-4CFF-93AE-5069EC8489C2}"/>
              </a:ext>
            </a:extLst>
          </p:cNvPr>
          <p:cNvPicPr>
            <a:picLocks noChangeAspect="1"/>
          </p:cNvPicPr>
          <p:nvPr/>
        </p:nvPicPr>
        <p:blipFill>
          <a:blip r:embed="rId5"/>
          <a:stretch>
            <a:fillRect/>
          </a:stretch>
        </p:blipFill>
        <p:spPr>
          <a:xfrm>
            <a:off x="1634585" y="2878394"/>
            <a:ext cx="1064353" cy="1047459"/>
          </a:xfrm>
          <a:prstGeom prst="rect">
            <a:avLst/>
          </a:prstGeom>
        </p:spPr>
      </p:pic>
      <p:sp>
        <p:nvSpPr>
          <p:cNvPr id="40" name="TextBox 39">
            <a:extLst>
              <a:ext uri="{FF2B5EF4-FFF2-40B4-BE49-F238E27FC236}">
                <a16:creationId xmlns:a16="http://schemas.microsoft.com/office/drawing/2014/main" id="{788759F1-F90F-443F-B15E-25799245B049}"/>
              </a:ext>
            </a:extLst>
          </p:cNvPr>
          <p:cNvSpPr txBox="1"/>
          <p:nvPr/>
        </p:nvSpPr>
        <p:spPr bwMode="auto">
          <a:xfrm>
            <a:off x="1847803" y="5480663"/>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Text in any format</a:t>
            </a:r>
          </a:p>
        </p:txBody>
      </p:sp>
      <p:sp>
        <p:nvSpPr>
          <p:cNvPr id="42" name="TextBox 41">
            <a:extLst>
              <a:ext uri="{FF2B5EF4-FFF2-40B4-BE49-F238E27FC236}">
                <a16:creationId xmlns:a16="http://schemas.microsoft.com/office/drawing/2014/main" id="{9140DEAC-D79A-4161-A0CC-E0E2A3A3D31A}"/>
              </a:ext>
            </a:extLst>
          </p:cNvPr>
          <p:cNvSpPr txBox="1"/>
          <p:nvPr/>
        </p:nvSpPr>
        <p:spPr bwMode="auto">
          <a:xfrm>
            <a:off x="1530882" y="3940243"/>
            <a:ext cx="168602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Content management systems</a:t>
            </a:r>
          </a:p>
        </p:txBody>
      </p:sp>
      <p:sp>
        <p:nvSpPr>
          <p:cNvPr id="45065" name="AutoShape 26" descr="Image result for document symbol">
            <a:extLst>
              <a:ext uri="{FF2B5EF4-FFF2-40B4-BE49-F238E27FC236}">
                <a16:creationId xmlns:a16="http://schemas.microsoft.com/office/drawing/2014/main" id="{EFEBEC1C-7057-40B9-BFEC-754E574907D0}"/>
              </a:ext>
            </a:extLst>
          </p:cNvPr>
          <p:cNvSpPr>
            <a:spLocks noChangeAspect="1" noChangeArrowheads="1"/>
          </p:cNvSpPr>
          <p:nvPr/>
        </p:nvSpPr>
        <p:spPr bwMode="auto">
          <a:xfrm>
            <a:off x="7375418" y="378784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45066" name="Picture 45065">
            <a:extLst>
              <a:ext uri="{FF2B5EF4-FFF2-40B4-BE49-F238E27FC236}">
                <a16:creationId xmlns:a16="http://schemas.microsoft.com/office/drawing/2014/main" id="{096B90A1-3796-48DA-878B-1CE2726B8EEB}"/>
              </a:ext>
            </a:extLst>
          </p:cNvPr>
          <p:cNvPicPr>
            <a:picLocks noChangeAspect="1"/>
          </p:cNvPicPr>
          <p:nvPr/>
        </p:nvPicPr>
        <p:blipFill>
          <a:blip r:embed="rId6">
            <a:duotone>
              <a:schemeClr val="accent2">
                <a:shade val="45000"/>
                <a:satMod val="135000"/>
              </a:schemeClr>
              <a:prstClr val="white"/>
            </a:duotone>
          </a:blip>
          <a:stretch>
            <a:fillRect/>
          </a:stretch>
        </p:blipFill>
        <p:spPr>
          <a:xfrm>
            <a:off x="1713432" y="4507873"/>
            <a:ext cx="1033892" cy="1033892"/>
          </a:xfrm>
          <a:prstGeom prst="rect">
            <a:avLst/>
          </a:prstGeom>
        </p:spPr>
      </p:pic>
      <p:pic>
        <p:nvPicPr>
          <p:cNvPr id="45068" name="Picture 45067">
            <a:extLst>
              <a:ext uri="{FF2B5EF4-FFF2-40B4-BE49-F238E27FC236}">
                <a16:creationId xmlns:a16="http://schemas.microsoft.com/office/drawing/2014/main" id="{E1BC7AE2-BCB5-450A-B1E5-0CE1B2E3A969}"/>
              </a:ext>
            </a:extLst>
          </p:cNvPr>
          <p:cNvPicPr>
            <a:picLocks noChangeAspect="1"/>
          </p:cNvPicPr>
          <p:nvPr/>
        </p:nvPicPr>
        <p:blipFill>
          <a:blip r:embed="rId7">
            <a:duotone>
              <a:schemeClr val="accent5">
                <a:shade val="45000"/>
                <a:satMod val="135000"/>
              </a:schemeClr>
              <a:prstClr val="white"/>
            </a:duotone>
          </a:blip>
          <a:stretch>
            <a:fillRect/>
          </a:stretch>
        </p:blipFill>
        <p:spPr>
          <a:xfrm>
            <a:off x="3848865" y="2995468"/>
            <a:ext cx="867334" cy="867334"/>
          </a:xfrm>
          <a:prstGeom prst="rect">
            <a:avLst/>
          </a:prstGeom>
        </p:spPr>
      </p:pic>
      <p:sp>
        <p:nvSpPr>
          <p:cNvPr id="48" name="TextBox 47">
            <a:extLst>
              <a:ext uri="{FF2B5EF4-FFF2-40B4-BE49-F238E27FC236}">
                <a16:creationId xmlns:a16="http://schemas.microsoft.com/office/drawing/2014/main" id="{409A936F-0DAF-425E-ACEE-A3FAABEA8E2A}"/>
              </a:ext>
            </a:extLst>
          </p:cNvPr>
          <p:cNvSpPr txBox="1"/>
          <p:nvPr/>
        </p:nvSpPr>
        <p:spPr bwMode="auto">
          <a:xfrm>
            <a:off x="3729494" y="3914767"/>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Information Extraction</a:t>
            </a:r>
          </a:p>
        </p:txBody>
      </p:sp>
      <p:pic>
        <p:nvPicPr>
          <p:cNvPr id="45069" name="Picture 45068">
            <a:extLst>
              <a:ext uri="{FF2B5EF4-FFF2-40B4-BE49-F238E27FC236}">
                <a16:creationId xmlns:a16="http://schemas.microsoft.com/office/drawing/2014/main" id="{19A861C0-40C8-464A-A1D5-D777EA41B9C4}"/>
              </a:ext>
            </a:extLst>
          </p:cNvPr>
          <p:cNvPicPr>
            <a:picLocks noChangeAspect="1"/>
          </p:cNvPicPr>
          <p:nvPr/>
        </p:nvPicPr>
        <p:blipFill>
          <a:blip r:embed="rId8">
            <a:duotone>
              <a:schemeClr val="accent4">
                <a:shade val="45000"/>
                <a:satMod val="135000"/>
              </a:schemeClr>
              <a:prstClr val="white"/>
            </a:duotone>
          </a:blip>
          <a:stretch>
            <a:fillRect/>
          </a:stretch>
        </p:blipFill>
        <p:spPr>
          <a:xfrm>
            <a:off x="5928458" y="2983819"/>
            <a:ext cx="769091" cy="888246"/>
          </a:xfrm>
          <a:prstGeom prst="rect">
            <a:avLst/>
          </a:prstGeom>
        </p:spPr>
      </p:pic>
      <p:pic>
        <p:nvPicPr>
          <p:cNvPr id="45071" name="Graphic 45070" descr="Browser window">
            <a:extLst>
              <a:ext uri="{FF2B5EF4-FFF2-40B4-BE49-F238E27FC236}">
                <a16:creationId xmlns:a16="http://schemas.microsoft.com/office/drawing/2014/main" id="{B312D73A-F665-4B9F-BD46-072F92A119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87491" y="2854265"/>
            <a:ext cx="914400" cy="914400"/>
          </a:xfrm>
          <a:prstGeom prst="rect">
            <a:avLst/>
          </a:prstGeom>
        </p:spPr>
      </p:pic>
      <p:pic>
        <p:nvPicPr>
          <p:cNvPr id="45073" name="Graphic 45072" descr="Internet">
            <a:extLst>
              <a:ext uri="{FF2B5EF4-FFF2-40B4-BE49-F238E27FC236}">
                <a16:creationId xmlns:a16="http://schemas.microsoft.com/office/drawing/2014/main" id="{70BDCD46-B6A0-4BE2-9060-A5AA9B564AA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11464" y="2276349"/>
            <a:ext cx="914400" cy="914400"/>
          </a:xfrm>
          <a:prstGeom prst="rect">
            <a:avLst/>
          </a:prstGeom>
        </p:spPr>
      </p:pic>
      <p:pic>
        <p:nvPicPr>
          <p:cNvPr id="45081" name="Picture 45080">
            <a:extLst>
              <a:ext uri="{FF2B5EF4-FFF2-40B4-BE49-F238E27FC236}">
                <a16:creationId xmlns:a16="http://schemas.microsoft.com/office/drawing/2014/main" id="{8F0899D4-6BFF-42D0-8DBE-4C4EC7A3519E}"/>
              </a:ext>
            </a:extLst>
          </p:cNvPr>
          <p:cNvPicPr>
            <a:picLocks noChangeAspect="1"/>
          </p:cNvPicPr>
          <p:nvPr/>
        </p:nvPicPr>
        <p:blipFill>
          <a:blip r:embed="rId13"/>
          <a:stretch>
            <a:fillRect/>
          </a:stretch>
        </p:blipFill>
        <p:spPr>
          <a:xfrm>
            <a:off x="9188004" y="2768472"/>
            <a:ext cx="968430" cy="935150"/>
          </a:xfrm>
          <a:prstGeom prst="rect">
            <a:avLst/>
          </a:prstGeom>
        </p:spPr>
      </p:pic>
      <p:sp>
        <p:nvSpPr>
          <p:cNvPr id="62" name="TextBox 61">
            <a:extLst>
              <a:ext uri="{FF2B5EF4-FFF2-40B4-BE49-F238E27FC236}">
                <a16:creationId xmlns:a16="http://schemas.microsoft.com/office/drawing/2014/main" id="{27E14E0A-A599-4CA2-848E-6AA36BA20840}"/>
              </a:ext>
            </a:extLst>
          </p:cNvPr>
          <p:cNvSpPr txBox="1"/>
          <p:nvPr/>
        </p:nvSpPr>
        <p:spPr bwMode="auto">
          <a:xfrm>
            <a:off x="5834826" y="3830220"/>
            <a:ext cx="1209039"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Unified rdf storage with meta data</a:t>
            </a:r>
          </a:p>
        </p:txBody>
      </p:sp>
      <p:sp>
        <p:nvSpPr>
          <p:cNvPr id="63" name="TextBox 62">
            <a:extLst>
              <a:ext uri="{FF2B5EF4-FFF2-40B4-BE49-F238E27FC236}">
                <a16:creationId xmlns:a16="http://schemas.microsoft.com/office/drawing/2014/main" id="{9F82F50D-02DA-42ED-8FD9-2AC6900C3AF3}"/>
              </a:ext>
            </a:extLst>
          </p:cNvPr>
          <p:cNvSpPr txBox="1"/>
          <p:nvPr/>
        </p:nvSpPr>
        <p:spPr bwMode="auto">
          <a:xfrm>
            <a:off x="7635908" y="3743437"/>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Unified interface</a:t>
            </a:r>
          </a:p>
        </p:txBody>
      </p:sp>
      <p:sp>
        <p:nvSpPr>
          <p:cNvPr id="64" name="TextBox 63">
            <a:extLst>
              <a:ext uri="{FF2B5EF4-FFF2-40B4-BE49-F238E27FC236}">
                <a16:creationId xmlns:a16="http://schemas.microsoft.com/office/drawing/2014/main" id="{6571B93B-2028-4D8E-9188-805B4643663A}"/>
              </a:ext>
            </a:extLst>
          </p:cNvPr>
          <p:cNvSpPr txBox="1"/>
          <p:nvPr/>
        </p:nvSpPr>
        <p:spPr bwMode="auto">
          <a:xfrm>
            <a:off x="9326577" y="3738246"/>
            <a:ext cx="838564"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User Acesses one interface</a:t>
            </a:r>
          </a:p>
        </p:txBody>
      </p:sp>
      <p:cxnSp>
        <p:nvCxnSpPr>
          <p:cNvPr id="45083" name="Straight Arrow Connector 45082">
            <a:extLst>
              <a:ext uri="{FF2B5EF4-FFF2-40B4-BE49-F238E27FC236}">
                <a16:creationId xmlns:a16="http://schemas.microsoft.com/office/drawing/2014/main" id="{00C62C5A-3C0A-4952-B71C-4FA3924D29F0}"/>
              </a:ext>
            </a:extLst>
          </p:cNvPr>
          <p:cNvCxnSpPr/>
          <p:nvPr/>
        </p:nvCxnSpPr>
        <p:spPr>
          <a:xfrm>
            <a:off x="2846428" y="3446785"/>
            <a:ext cx="98107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3" name="Straight Arrow Connector 32">
            <a:extLst>
              <a:ext uri="{FF2B5EF4-FFF2-40B4-BE49-F238E27FC236}">
                <a16:creationId xmlns:a16="http://schemas.microsoft.com/office/drawing/2014/main" id="{E4E98829-DFB1-4CC9-ACDB-F91101B51991}"/>
              </a:ext>
            </a:extLst>
          </p:cNvPr>
          <p:cNvCxnSpPr>
            <a:cxnSpLocks/>
          </p:cNvCxnSpPr>
          <p:nvPr/>
        </p:nvCxnSpPr>
        <p:spPr>
          <a:xfrm flipH="1">
            <a:off x="4306816" y="2125036"/>
            <a:ext cx="8984" cy="72922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6" name="Straight Connector 35">
            <a:extLst>
              <a:ext uri="{FF2B5EF4-FFF2-40B4-BE49-F238E27FC236}">
                <a16:creationId xmlns:a16="http://schemas.microsoft.com/office/drawing/2014/main" id="{464FDBCE-1D3F-48EF-9247-EF6385CB41C1}"/>
              </a:ext>
            </a:extLst>
          </p:cNvPr>
          <p:cNvCxnSpPr>
            <a:cxnSpLocks/>
          </p:cNvCxnSpPr>
          <p:nvPr/>
        </p:nvCxnSpPr>
        <p:spPr>
          <a:xfrm>
            <a:off x="2755472" y="2125036"/>
            <a:ext cx="1551344" cy="0"/>
          </a:xfrm>
          <a:prstGeom prst="line">
            <a:avLst/>
          </a:prstGeom>
          <a:ln/>
        </p:spPr>
        <p:style>
          <a:lnRef idx="2">
            <a:schemeClr val="dk1"/>
          </a:lnRef>
          <a:fillRef idx="0">
            <a:schemeClr val="dk1"/>
          </a:fillRef>
          <a:effectRef idx="1">
            <a:schemeClr val="dk1"/>
          </a:effectRef>
          <a:fontRef idx="minor">
            <a:schemeClr val="tx1"/>
          </a:fontRef>
        </p:style>
      </p:cxnSp>
      <p:cxnSp>
        <p:nvCxnSpPr>
          <p:cNvPr id="77" name="Straight Connector 76">
            <a:extLst>
              <a:ext uri="{FF2B5EF4-FFF2-40B4-BE49-F238E27FC236}">
                <a16:creationId xmlns:a16="http://schemas.microsoft.com/office/drawing/2014/main" id="{090191C4-B45F-44BB-A333-6458BB80F051}"/>
              </a:ext>
            </a:extLst>
          </p:cNvPr>
          <p:cNvCxnSpPr/>
          <p:nvPr/>
        </p:nvCxnSpPr>
        <p:spPr>
          <a:xfrm>
            <a:off x="2747324" y="5182420"/>
            <a:ext cx="1551344" cy="0"/>
          </a:xfrm>
          <a:prstGeom prst="line">
            <a:avLst/>
          </a:prstGeom>
          <a:ln/>
        </p:spPr>
        <p:style>
          <a:lnRef idx="2">
            <a:schemeClr val="dk1"/>
          </a:lnRef>
          <a:fillRef idx="0">
            <a:schemeClr val="dk1"/>
          </a:fillRef>
          <a:effectRef idx="1">
            <a:schemeClr val="dk1"/>
          </a:effectRef>
          <a:fontRef idx="minor">
            <a:schemeClr val="tx1"/>
          </a:fontRef>
        </p:style>
      </p:cxnSp>
      <p:cxnSp>
        <p:nvCxnSpPr>
          <p:cNvPr id="39" name="Straight Arrow Connector 38">
            <a:extLst>
              <a:ext uri="{FF2B5EF4-FFF2-40B4-BE49-F238E27FC236}">
                <a16:creationId xmlns:a16="http://schemas.microsoft.com/office/drawing/2014/main" id="{E59A49F8-1705-4A3F-BB9E-1057F69DB934}"/>
              </a:ext>
            </a:extLst>
          </p:cNvPr>
          <p:cNvCxnSpPr/>
          <p:nvPr/>
        </p:nvCxnSpPr>
        <p:spPr>
          <a:xfrm flipH="1" flipV="1">
            <a:off x="4298668" y="4173735"/>
            <a:ext cx="8148" cy="100868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0" name="Straight Arrow Connector 79">
            <a:extLst>
              <a:ext uri="{FF2B5EF4-FFF2-40B4-BE49-F238E27FC236}">
                <a16:creationId xmlns:a16="http://schemas.microsoft.com/office/drawing/2014/main" id="{24A2AC6E-4C33-4140-AC0A-47AFF189B1EE}"/>
              </a:ext>
            </a:extLst>
          </p:cNvPr>
          <p:cNvCxnSpPr>
            <a:cxnSpLocks/>
          </p:cNvCxnSpPr>
          <p:nvPr/>
        </p:nvCxnSpPr>
        <p:spPr>
          <a:xfrm>
            <a:off x="4995220" y="3496626"/>
            <a:ext cx="788913"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2" name="Straight Arrow Connector 81">
            <a:extLst>
              <a:ext uri="{FF2B5EF4-FFF2-40B4-BE49-F238E27FC236}">
                <a16:creationId xmlns:a16="http://schemas.microsoft.com/office/drawing/2014/main" id="{E28D78DA-DABA-4EAD-A713-FD64A3D08528}"/>
              </a:ext>
            </a:extLst>
          </p:cNvPr>
          <p:cNvCxnSpPr>
            <a:cxnSpLocks/>
          </p:cNvCxnSpPr>
          <p:nvPr/>
        </p:nvCxnSpPr>
        <p:spPr>
          <a:xfrm>
            <a:off x="6846995" y="3339162"/>
            <a:ext cx="788913"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3" name="Straight Arrow Connector 82">
            <a:extLst>
              <a:ext uri="{FF2B5EF4-FFF2-40B4-BE49-F238E27FC236}">
                <a16:creationId xmlns:a16="http://schemas.microsoft.com/office/drawing/2014/main" id="{850F3398-7E9D-4289-B9DC-80FADD56FACA}"/>
              </a:ext>
            </a:extLst>
          </p:cNvPr>
          <p:cNvCxnSpPr>
            <a:cxnSpLocks/>
          </p:cNvCxnSpPr>
          <p:nvPr/>
        </p:nvCxnSpPr>
        <p:spPr>
          <a:xfrm>
            <a:off x="8487276" y="3339162"/>
            <a:ext cx="637505" cy="1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5" name="Straight Arrow Connector 84">
            <a:extLst>
              <a:ext uri="{FF2B5EF4-FFF2-40B4-BE49-F238E27FC236}">
                <a16:creationId xmlns:a16="http://schemas.microsoft.com/office/drawing/2014/main" id="{95D98892-ED99-4490-A42C-1E9D1D488D1F}"/>
              </a:ext>
            </a:extLst>
          </p:cNvPr>
          <p:cNvCxnSpPr/>
          <p:nvPr/>
        </p:nvCxnSpPr>
        <p:spPr>
          <a:xfrm flipH="1" flipV="1">
            <a:off x="6079354" y="4173904"/>
            <a:ext cx="8148" cy="100868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pic>
        <p:nvPicPr>
          <p:cNvPr id="47" name="Picture 46" descr="A picture containing light, food&#10;&#10;Description automatically generated">
            <a:extLst>
              <a:ext uri="{FF2B5EF4-FFF2-40B4-BE49-F238E27FC236}">
                <a16:creationId xmlns:a16="http://schemas.microsoft.com/office/drawing/2014/main" id="{B51F066D-3F9A-43CD-9FEC-07459AF05D87}"/>
              </a:ext>
            </a:extLst>
          </p:cNvPr>
          <p:cNvPicPr>
            <a:picLocks noChangeAspect="1"/>
          </p:cNvPicPr>
          <p:nvPr/>
        </p:nvPicPr>
        <p:blipFill>
          <a:blip r:embed="rId14"/>
          <a:stretch>
            <a:fillRect/>
          </a:stretch>
        </p:blipFill>
        <p:spPr>
          <a:xfrm>
            <a:off x="5751748" y="5217745"/>
            <a:ext cx="655212" cy="655212"/>
          </a:xfrm>
          <a:prstGeom prst="rect">
            <a:avLst/>
          </a:prstGeom>
        </p:spPr>
      </p:pic>
      <p:sp>
        <p:nvSpPr>
          <p:cNvPr id="43" name="TextBox 42">
            <a:extLst>
              <a:ext uri="{FF2B5EF4-FFF2-40B4-BE49-F238E27FC236}">
                <a16:creationId xmlns:a16="http://schemas.microsoft.com/office/drawing/2014/main" id="{76519685-82AA-4440-A4EE-FDFDA356B3B9}"/>
              </a:ext>
            </a:extLst>
          </p:cNvPr>
          <p:cNvSpPr txBox="1"/>
          <p:nvPr/>
        </p:nvSpPr>
        <p:spPr bwMode="auto">
          <a:xfrm>
            <a:off x="6165502" y="4615605"/>
            <a:ext cx="168602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Upload rdf data</a:t>
            </a:r>
          </a:p>
        </p:txBody>
      </p:sp>
      <p:sp>
        <p:nvSpPr>
          <p:cNvPr id="44" name="TextBox 43">
            <a:extLst>
              <a:ext uri="{FF2B5EF4-FFF2-40B4-BE49-F238E27FC236}">
                <a16:creationId xmlns:a16="http://schemas.microsoft.com/office/drawing/2014/main" id="{F784864C-23F7-4917-B386-3ED343BF687A}"/>
              </a:ext>
            </a:extLst>
          </p:cNvPr>
          <p:cNvSpPr txBox="1"/>
          <p:nvPr/>
        </p:nvSpPr>
        <p:spPr bwMode="auto">
          <a:xfrm>
            <a:off x="5023066" y="3521391"/>
            <a:ext cx="917965"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Convert to rdf and adds meta data</a:t>
            </a:r>
          </a:p>
        </p:txBody>
      </p:sp>
      <p:sp>
        <p:nvSpPr>
          <p:cNvPr id="45" name="TextBox 44">
            <a:extLst>
              <a:ext uri="{FF2B5EF4-FFF2-40B4-BE49-F238E27FC236}">
                <a16:creationId xmlns:a16="http://schemas.microsoft.com/office/drawing/2014/main" id="{F13C17AE-4B2F-417C-9C62-47148949EF4F}"/>
              </a:ext>
            </a:extLst>
          </p:cNvPr>
          <p:cNvSpPr txBox="1"/>
          <p:nvPr/>
        </p:nvSpPr>
        <p:spPr bwMode="auto">
          <a:xfrm>
            <a:off x="4775693" y="2972499"/>
            <a:ext cx="1227965"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Meta data feedback into content extraction</a:t>
            </a:r>
          </a:p>
        </p:txBody>
      </p:sp>
      <p:cxnSp>
        <p:nvCxnSpPr>
          <p:cNvPr id="7" name="Straight Arrow Connector 6">
            <a:extLst>
              <a:ext uri="{FF2B5EF4-FFF2-40B4-BE49-F238E27FC236}">
                <a16:creationId xmlns:a16="http://schemas.microsoft.com/office/drawing/2014/main" id="{586CD58A-2C7E-4D96-9648-E333BBDBF848}"/>
              </a:ext>
            </a:extLst>
          </p:cNvPr>
          <p:cNvCxnSpPr/>
          <p:nvPr/>
        </p:nvCxnSpPr>
        <p:spPr>
          <a:xfrm flipH="1">
            <a:off x="4991208" y="3358016"/>
            <a:ext cx="72008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37BE863A-9874-43B5-AD91-08B260D4A581}"/>
              </a:ext>
            </a:extLst>
          </p:cNvPr>
          <p:cNvPicPr>
            <a:picLocks noChangeAspect="1"/>
          </p:cNvPicPr>
          <p:nvPr/>
        </p:nvPicPr>
        <p:blipFill>
          <a:blip r:embed="rId15">
            <a:duotone>
              <a:schemeClr val="bg2">
                <a:shade val="45000"/>
                <a:satMod val="135000"/>
              </a:schemeClr>
              <a:prstClr val="white"/>
            </a:duotone>
          </a:blip>
          <a:stretch>
            <a:fillRect/>
          </a:stretch>
        </p:blipFill>
        <p:spPr>
          <a:xfrm>
            <a:off x="5809390" y="1417176"/>
            <a:ext cx="556224" cy="600509"/>
          </a:xfrm>
          <a:prstGeom prst="rect">
            <a:avLst/>
          </a:prstGeom>
        </p:spPr>
      </p:pic>
      <p:sp>
        <p:nvSpPr>
          <p:cNvPr id="50" name="TextBox 49">
            <a:extLst>
              <a:ext uri="{FF2B5EF4-FFF2-40B4-BE49-F238E27FC236}">
                <a16:creationId xmlns:a16="http://schemas.microsoft.com/office/drawing/2014/main" id="{3831B115-847E-478A-9B73-37C3CD9E8065}"/>
              </a:ext>
            </a:extLst>
          </p:cNvPr>
          <p:cNvSpPr txBox="1"/>
          <p:nvPr/>
        </p:nvSpPr>
        <p:spPr bwMode="auto">
          <a:xfrm>
            <a:off x="5675319" y="2090445"/>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Human Inteligence</a:t>
            </a:r>
          </a:p>
        </p:txBody>
      </p:sp>
      <p:pic>
        <p:nvPicPr>
          <p:cNvPr id="51" name="Picture 50">
            <a:extLst>
              <a:ext uri="{FF2B5EF4-FFF2-40B4-BE49-F238E27FC236}">
                <a16:creationId xmlns:a16="http://schemas.microsoft.com/office/drawing/2014/main" id="{CD1A7B89-39B2-4B67-B396-39FF732ED018}"/>
              </a:ext>
            </a:extLst>
          </p:cNvPr>
          <p:cNvPicPr>
            <a:picLocks noChangeAspect="1"/>
          </p:cNvPicPr>
          <p:nvPr/>
        </p:nvPicPr>
        <p:blipFill>
          <a:blip r:embed="rId16"/>
          <a:stretch>
            <a:fillRect/>
          </a:stretch>
        </p:blipFill>
        <p:spPr>
          <a:xfrm>
            <a:off x="8919063" y="4084233"/>
            <a:ext cx="2474741" cy="2630132"/>
          </a:xfrm>
          <a:prstGeom prst="rect">
            <a:avLst/>
          </a:prstGeom>
        </p:spPr>
      </p:pic>
      <p:sp>
        <p:nvSpPr>
          <p:cNvPr id="6" name="TextBox 5">
            <a:extLst>
              <a:ext uri="{FF2B5EF4-FFF2-40B4-BE49-F238E27FC236}">
                <a16:creationId xmlns:a16="http://schemas.microsoft.com/office/drawing/2014/main" id="{B053469F-D784-4E67-AC63-5419A0CAD591}"/>
              </a:ext>
            </a:extLst>
          </p:cNvPr>
          <p:cNvSpPr txBox="1"/>
          <p:nvPr/>
        </p:nvSpPr>
        <p:spPr>
          <a:xfrm>
            <a:off x="1143537" y="5772965"/>
            <a:ext cx="2333393" cy="923330"/>
          </a:xfrm>
          <a:prstGeom prst="rect">
            <a:avLst/>
          </a:prstGeom>
          <a:solidFill>
            <a:schemeClr val="bg1">
              <a:lumMod val="85000"/>
            </a:schemeClr>
          </a:solidFill>
        </p:spPr>
        <p:txBody>
          <a:bodyPr wrap="square" rtlCol="0">
            <a:spAutoFit/>
          </a:bodyPr>
          <a:lstStyle/>
          <a:p>
            <a:r>
              <a:rPr lang="de-DE" sz="900" dirty="0"/>
              <a:t>Companies store lots of text (documentation, wikis etc.). A multitude of related documents could be used to support creation of domain-specific ontologies.</a:t>
            </a:r>
          </a:p>
          <a:p>
            <a:endParaRPr lang="de-DE" sz="900" dirty="0"/>
          </a:p>
        </p:txBody>
      </p:sp>
      <p:sp>
        <p:nvSpPr>
          <p:cNvPr id="54" name="Title 4">
            <a:extLst>
              <a:ext uri="{FF2B5EF4-FFF2-40B4-BE49-F238E27FC236}">
                <a16:creationId xmlns:a16="http://schemas.microsoft.com/office/drawing/2014/main" id="{B4025512-FCBA-41E1-9084-C2217F4A4DED}"/>
              </a:ext>
            </a:extLst>
          </p:cNvPr>
          <p:cNvSpPr txBox="1">
            <a:spLocks/>
          </p:cNvSpPr>
          <p:nvPr/>
        </p:nvSpPr>
        <p:spPr>
          <a:xfrm>
            <a:off x="1085673" y="353794"/>
            <a:ext cx="11016604" cy="8636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t>Knowledge Graphs for Better Data Management</a:t>
            </a:r>
          </a:p>
        </p:txBody>
      </p:sp>
      <p:cxnSp>
        <p:nvCxnSpPr>
          <p:cNvPr id="57" name="Straight Arrow Connector 56">
            <a:extLst>
              <a:ext uri="{FF2B5EF4-FFF2-40B4-BE49-F238E27FC236}">
                <a16:creationId xmlns:a16="http://schemas.microsoft.com/office/drawing/2014/main" id="{664A4066-6C42-4690-A502-F8CA71F0B88C}"/>
              </a:ext>
            </a:extLst>
          </p:cNvPr>
          <p:cNvCxnSpPr>
            <a:cxnSpLocks/>
          </p:cNvCxnSpPr>
          <p:nvPr/>
        </p:nvCxnSpPr>
        <p:spPr>
          <a:xfrm>
            <a:off x="6174872" y="2500387"/>
            <a:ext cx="0" cy="43200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6" name="TextBox 45">
            <a:extLst>
              <a:ext uri="{FF2B5EF4-FFF2-40B4-BE49-F238E27FC236}">
                <a16:creationId xmlns:a16="http://schemas.microsoft.com/office/drawing/2014/main" id="{AD980F39-6684-495A-88C7-2FCD5D374BA5}"/>
              </a:ext>
            </a:extLst>
          </p:cNvPr>
          <p:cNvSpPr txBox="1"/>
          <p:nvPr/>
        </p:nvSpPr>
        <p:spPr>
          <a:xfrm>
            <a:off x="6439345" y="1382408"/>
            <a:ext cx="2333393" cy="646331"/>
          </a:xfrm>
          <a:prstGeom prst="rect">
            <a:avLst/>
          </a:prstGeom>
          <a:solidFill>
            <a:schemeClr val="bg1">
              <a:lumMod val="85000"/>
            </a:schemeClr>
          </a:solidFill>
        </p:spPr>
        <p:txBody>
          <a:bodyPr wrap="square" rtlCol="0">
            <a:spAutoFit/>
          </a:bodyPr>
          <a:lstStyle/>
          <a:p>
            <a:r>
              <a:rPr lang="de-DE" sz="900" dirty="0"/>
              <a:t>Annotation tools are required by developers so as to better configure the quality and consistency of the results. </a:t>
            </a:r>
          </a:p>
        </p:txBody>
      </p:sp>
      <p:pic>
        <p:nvPicPr>
          <p:cNvPr id="13" name="Picture 12" descr="A close up of a logo&#10;&#10;Description automatically generated">
            <a:extLst>
              <a:ext uri="{FF2B5EF4-FFF2-40B4-BE49-F238E27FC236}">
                <a16:creationId xmlns:a16="http://schemas.microsoft.com/office/drawing/2014/main" id="{2C463BD3-504B-4B1A-9AF8-2749B857CF7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578322" y="4221610"/>
            <a:ext cx="893356" cy="842877"/>
          </a:xfrm>
          <a:prstGeom prst="rect">
            <a:avLst/>
          </a:prstGeom>
        </p:spPr>
      </p:pic>
      <p:pic>
        <p:nvPicPr>
          <p:cNvPr id="52" name="Picture 51">
            <a:extLst>
              <a:ext uri="{FF2B5EF4-FFF2-40B4-BE49-F238E27FC236}">
                <a16:creationId xmlns:a16="http://schemas.microsoft.com/office/drawing/2014/main" id="{2E6F7793-EFB8-4D58-9CA4-8AF4AC6CD8C0}"/>
              </a:ext>
            </a:extLst>
          </p:cNvPr>
          <p:cNvPicPr>
            <a:picLocks noChangeAspect="1"/>
          </p:cNvPicPr>
          <p:nvPr/>
        </p:nvPicPr>
        <p:blipFill>
          <a:blip r:embed="rId18"/>
          <a:stretch>
            <a:fillRect/>
          </a:stretch>
        </p:blipFill>
        <p:spPr>
          <a:xfrm>
            <a:off x="3596023" y="1230519"/>
            <a:ext cx="776825" cy="750532"/>
          </a:xfrm>
          <a:prstGeom prst="rect">
            <a:avLst/>
          </a:prstGeom>
        </p:spPr>
      </p:pic>
      <p:sp>
        <p:nvSpPr>
          <p:cNvPr id="17" name="Speech Bubble: Oval 16">
            <a:extLst>
              <a:ext uri="{FF2B5EF4-FFF2-40B4-BE49-F238E27FC236}">
                <a16:creationId xmlns:a16="http://schemas.microsoft.com/office/drawing/2014/main" id="{421DF7A7-EB2C-4C96-8199-D6634297184D}"/>
              </a:ext>
            </a:extLst>
          </p:cNvPr>
          <p:cNvSpPr/>
          <p:nvPr/>
        </p:nvSpPr>
        <p:spPr>
          <a:xfrm>
            <a:off x="3864104" y="747408"/>
            <a:ext cx="1209040" cy="603521"/>
          </a:xfrm>
          <a:prstGeom prst="wedgeEllipseCallou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de-DE" sz="900" dirty="0">
                <a:solidFill>
                  <a:schemeClr val="tx1"/>
                </a:solidFill>
              </a:rPr>
              <a:t>Hello What is my task here?</a:t>
            </a:r>
          </a:p>
        </p:txBody>
      </p:sp>
      <p:sp>
        <p:nvSpPr>
          <p:cNvPr id="58" name="TextBox 57">
            <a:extLst>
              <a:ext uri="{FF2B5EF4-FFF2-40B4-BE49-F238E27FC236}">
                <a16:creationId xmlns:a16="http://schemas.microsoft.com/office/drawing/2014/main" id="{12A1CDBE-597B-4280-9CE6-4B0DFB5F903B}"/>
              </a:ext>
            </a:extLst>
          </p:cNvPr>
          <p:cNvSpPr txBox="1"/>
          <p:nvPr/>
        </p:nvSpPr>
        <p:spPr bwMode="auto">
          <a:xfrm>
            <a:off x="3633711" y="1891942"/>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Data Manager</a:t>
            </a:r>
          </a:p>
        </p:txBody>
      </p:sp>
      <p:sp>
        <p:nvSpPr>
          <p:cNvPr id="21" name="Speech Bubble: Oval 20">
            <a:extLst>
              <a:ext uri="{FF2B5EF4-FFF2-40B4-BE49-F238E27FC236}">
                <a16:creationId xmlns:a16="http://schemas.microsoft.com/office/drawing/2014/main" id="{5C289E25-51AB-47AD-A5F4-A6DA94A8D0AA}"/>
              </a:ext>
            </a:extLst>
          </p:cNvPr>
          <p:cNvSpPr/>
          <p:nvPr/>
        </p:nvSpPr>
        <p:spPr>
          <a:xfrm rot="10800000">
            <a:off x="3835829" y="5193446"/>
            <a:ext cx="1237313" cy="772185"/>
          </a:xfrm>
          <a:prstGeom prst="wedgeEllipseCallou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de-DE" sz="1400" dirty="0">
              <a:solidFill>
                <a:schemeClr val="tx1"/>
              </a:solidFill>
            </a:endParaRPr>
          </a:p>
        </p:txBody>
      </p:sp>
      <p:sp>
        <p:nvSpPr>
          <p:cNvPr id="22" name="TextBox 21">
            <a:extLst>
              <a:ext uri="{FF2B5EF4-FFF2-40B4-BE49-F238E27FC236}">
                <a16:creationId xmlns:a16="http://schemas.microsoft.com/office/drawing/2014/main" id="{2F81F32A-4CBD-4F1B-B1BA-5A406E4B0A7C}"/>
              </a:ext>
            </a:extLst>
          </p:cNvPr>
          <p:cNvSpPr txBox="1"/>
          <p:nvPr/>
        </p:nvSpPr>
        <p:spPr>
          <a:xfrm>
            <a:off x="3935944" y="5375569"/>
            <a:ext cx="1055264" cy="369332"/>
          </a:xfrm>
          <a:prstGeom prst="rect">
            <a:avLst/>
          </a:prstGeom>
          <a:ln>
            <a:solidFill>
              <a:srgbClr val="E0EA9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de-DE" sz="900" dirty="0"/>
              <a:t>I will take care of it</a:t>
            </a:r>
          </a:p>
        </p:txBody>
      </p:sp>
      <p:sp>
        <p:nvSpPr>
          <p:cNvPr id="60" name="TextBox 59">
            <a:extLst>
              <a:ext uri="{FF2B5EF4-FFF2-40B4-BE49-F238E27FC236}">
                <a16:creationId xmlns:a16="http://schemas.microsoft.com/office/drawing/2014/main" id="{22E4B2FF-0970-4AED-BCD6-9E229039FDF3}"/>
              </a:ext>
            </a:extLst>
          </p:cNvPr>
          <p:cNvSpPr txBox="1"/>
          <p:nvPr/>
        </p:nvSpPr>
        <p:spPr bwMode="auto">
          <a:xfrm>
            <a:off x="4835000" y="5040768"/>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Data Scientist</a:t>
            </a:r>
          </a:p>
        </p:txBody>
      </p:sp>
      <p:pic>
        <p:nvPicPr>
          <p:cNvPr id="24" name="Picture 23" descr="A person in a suit and tie&#10;&#10;Description automatically generated">
            <a:extLst>
              <a:ext uri="{FF2B5EF4-FFF2-40B4-BE49-F238E27FC236}">
                <a16:creationId xmlns:a16="http://schemas.microsoft.com/office/drawing/2014/main" id="{EF43B910-C4A7-4787-B53F-B08B1F4D85EA}"/>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35901" y="2050622"/>
            <a:ext cx="1281284" cy="1706118"/>
          </a:xfrm>
          <a:prstGeom prst="rect">
            <a:avLst/>
          </a:prstGeom>
        </p:spPr>
      </p:pic>
      <p:sp>
        <p:nvSpPr>
          <p:cNvPr id="65" name="Speech Bubble: Oval 64">
            <a:extLst>
              <a:ext uri="{FF2B5EF4-FFF2-40B4-BE49-F238E27FC236}">
                <a16:creationId xmlns:a16="http://schemas.microsoft.com/office/drawing/2014/main" id="{16DAFD68-A1ED-4AA1-9F03-567CCFB72900}"/>
              </a:ext>
            </a:extLst>
          </p:cNvPr>
          <p:cNvSpPr/>
          <p:nvPr/>
        </p:nvSpPr>
        <p:spPr>
          <a:xfrm rot="10800000">
            <a:off x="-11774" y="3925339"/>
            <a:ext cx="1742240" cy="1149721"/>
          </a:xfrm>
          <a:prstGeom prst="wedgeEllipseCallou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de-DE" sz="1400" dirty="0">
              <a:solidFill>
                <a:schemeClr val="tx1"/>
              </a:solidFill>
            </a:endParaRPr>
          </a:p>
        </p:txBody>
      </p:sp>
      <p:sp>
        <p:nvSpPr>
          <p:cNvPr id="66" name="TextBox 65">
            <a:extLst>
              <a:ext uri="{FF2B5EF4-FFF2-40B4-BE49-F238E27FC236}">
                <a16:creationId xmlns:a16="http://schemas.microsoft.com/office/drawing/2014/main" id="{27EE8100-A853-4255-9BEC-BE75A5B79A15}"/>
              </a:ext>
            </a:extLst>
          </p:cNvPr>
          <p:cNvSpPr txBox="1"/>
          <p:nvPr/>
        </p:nvSpPr>
        <p:spPr>
          <a:xfrm>
            <a:off x="279827" y="4131168"/>
            <a:ext cx="1221201" cy="784830"/>
          </a:xfrm>
          <a:prstGeom prst="rect">
            <a:avLst/>
          </a:prstGeom>
          <a:ln>
            <a:solidFill>
              <a:srgbClr val="E0EA9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de-DE" sz="900" dirty="0"/>
              <a:t>I am providing all data and content based on domain and client‘s requirements</a:t>
            </a:r>
          </a:p>
        </p:txBody>
      </p:sp>
      <p:pic>
        <p:nvPicPr>
          <p:cNvPr id="26" name="Picture 25">
            <a:extLst>
              <a:ext uri="{FF2B5EF4-FFF2-40B4-BE49-F238E27FC236}">
                <a16:creationId xmlns:a16="http://schemas.microsoft.com/office/drawing/2014/main" id="{E2512235-5001-4F0C-806D-646ED9054447}"/>
              </a:ext>
            </a:extLst>
          </p:cNvPr>
          <p:cNvPicPr>
            <a:picLocks noChangeAspect="1"/>
          </p:cNvPicPr>
          <p:nvPr/>
        </p:nvPicPr>
        <p:blipFill>
          <a:blip r:embed="rId20"/>
          <a:stretch>
            <a:fillRect/>
          </a:stretch>
        </p:blipFill>
        <p:spPr>
          <a:xfrm>
            <a:off x="8794953" y="1481404"/>
            <a:ext cx="1133856" cy="914400"/>
          </a:xfrm>
          <a:prstGeom prst="rect">
            <a:avLst/>
          </a:prstGeom>
        </p:spPr>
      </p:pic>
      <p:sp>
        <p:nvSpPr>
          <p:cNvPr id="68" name="Speech Bubble: Oval 67">
            <a:extLst>
              <a:ext uri="{FF2B5EF4-FFF2-40B4-BE49-F238E27FC236}">
                <a16:creationId xmlns:a16="http://schemas.microsoft.com/office/drawing/2014/main" id="{B6EB8DF7-3E3B-46DA-9BED-49DAC7F1A5AD}"/>
              </a:ext>
            </a:extLst>
          </p:cNvPr>
          <p:cNvSpPr/>
          <p:nvPr/>
        </p:nvSpPr>
        <p:spPr>
          <a:xfrm>
            <a:off x="9238522" y="721209"/>
            <a:ext cx="2115452" cy="935189"/>
          </a:xfrm>
          <a:prstGeom prst="wedgeEllipseCallou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dirty="0"/>
              <a:t>We need to validate extracted information.</a:t>
            </a:r>
          </a:p>
          <a:p>
            <a:pPr algn="ctr"/>
            <a:r>
              <a:rPr lang="en-US" sz="900" dirty="0"/>
              <a:t>Don’t rely on machines</a:t>
            </a:r>
          </a:p>
        </p:txBody>
      </p:sp>
      <p:sp>
        <p:nvSpPr>
          <p:cNvPr id="69" name="TextBox 68">
            <a:extLst>
              <a:ext uri="{FF2B5EF4-FFF2-40B4-BE49-F238E27FC236}">
                <a16:creationId xmlns:a16="http://schemas.microsoft.com/office/drawing/2014/main" id="{8020184C-2716-4230-A4FB-61CB06AECAD6}"/>
              </a:ext>
            </a:extLst>
          </p:cNvPr>
          <p:cNvSpPr txBox="1"/>
          <p:nvPr/>
        </p:nvSpPr>
        <p:spPr bwMode="auto">
          <a:xfrm>
            <a:off x="9027420" y="2305394"/>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Data Manager</a:t>
            </a:r>
          </a:p>
        </p:txBody>
      </p:sp>
      <p:sp>
        <p:nvSpPr>
          <p:cNvPr id="70" name="TextBox 69">
            <a:extLst>
              <a:ext uri="{FF2B5EF4-FFF2-40B4-BE49-F238E27FC236}">
                <a16:creationId xmlns:a16="http://schemas.microsoft.com/office/drawing/2014/main" id="{F4FCFBAE-62AC-4BE3-A32B-1DFEBFFC26C4}"/>
              </a:ext>
            </a:extLst>
          </p:cNvPr>
          <p:cNvSpPr txBox="1"/>
          <p:nvPr/>
        </p:nvSpPr>
        <p:spPr bwMode="auto">
          <a:xfrm>
            <a:off x="122362" y="1857618"/>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Data Manager</a:t>
            </a:r>
          </a:p>
        </p:txBody>
      </p:sp>
      <p:pic>
        <p:nvPicPr>
          <p:cNvPr id="27" name="Picture 26">
            <a:extLst>
              <a:ext uri="{FF2B5EF4-FFF2-40B4-BE49-F238E27FC236}">
                <a16:creationId xmlns:a16="http://schemas.microsoft.com/office/drawing/2014/main" id="{443614BB-4017-479E-954D-9710FFCFC64B}"/>
              </a:ext>
            </a:extLst>
          </p:cNvPr>
          <p:cNvPicPr>
            <a:picLocks noChangeAspect="1"/>
          </p:cNvPicPr>
          <p:nvPr/>
        </p:nvPicPr>
        <p:blipFill>
          <a:blip r:embed="rId21"/>
          <a:stretch>
            <a:fillRect/>
          </a:stretch>
        </p:blipFill>
        <p:spPr>
          <a:xfrm>
            <a:off x="7993252" y="4643048"/>
            <a:ext cx="771089" cy="933622"/>
          </a:xfrm>
          <a:prstGeom prst="rect">
            <a:avLst/>
          </a:prstGeom>
        </p:spPr>
      </p:pic>
      <p:sp>
        <p:nvSpPr>
          <p:cNvPr id="72" name="Speech Bubble: Oval 71">
            <a:extLst>
              <a:ext uri="{FF2B5EF4-FFF2-40B4-BE49-F238E27FC236}">
                <a16:creationId xmlns:a16="http://schemas.microsoft.com/office/drawing/2014/main" id="{2A273E4B-4665-4D32-8974-D265FDF938A8}"/>
              </a:ext>
            </a:extLst>
          </p:cNvPr>
          <p:cNvSpPr/>
          <p:nvPr/>
        </p:nvSpPr>
        <p:spPr>
          <a:xfrm rot="10800000">
            <a:off x="7411464" y="5835224"/>
            <a:ext cx="1625853" cy="861071"/>
          </a:xfrm>
          <a:prstGeom prst="wedgeEllipseCallou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de-DE" sz="1400" dirty="0">
              <a:solidFill>
                <a:schemeClr val="tx1"/>
              </a:solidFill>
            </a:endParaRPr>
          </a:p>
        </p:txBody>
      </p:sp>
      <p:sp>
        <p:nvSpPr>
          <p:cNvPr id="73" name="TextBox 72">
            <a:extLst>
              <a:ext uri="{FF2B5EF4-FFF2-40B4-BE49-F238E27FC236}">
                <a16:creationId xmlns:a16="http://schemas.microsoft.com/office/drawing/2014/main" id="{0BCE0768-B7CC-4BA8-94E9-7FA054E8C843}"/>
              </a:ext>
            </a:extLst>
          </p:cNvPr>
          <p:cNvSpPr txBox="1"/>
          <p:nvPr/>
        </p:nvSpPr>
        <p:spPr>
          <a:xfrm>
            <a:off x="7650175" y="6081094"/>
            <a:ext cx="1238845" cy="369332"/>
          </a:xfrm>
          <a:prstGeom prst="rect">
            <a:avLst/>
          </a:prstGeom>
          <a:ln>
            <a:solidFill>
              <a:srgbClr val="E0EA9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de-DE" sz="900" dirty="0"/>
              <a:t>Now we have rich and smart data.</a:t>
            </a:r>
          </a:p>
        </p:txBody>
      </p:sp>
      <p:sp>
        <p:nvSpPr>
          <p:cNvPr id="74" name="TextBox 73">
            <a:extLst>
              <a:ext uri="{FF2B5EF4-FFF2-40B4-BE49-F238E27FC236}">
                <a16:creationId xmlns:a16="http://schemas.microsoft.com/office/drawing/2014/main" id="{A398A486-2509-4A02-A1AA-15A1D3DF6C8D}"/>
              </a:ext>
            </a:extLst>
          </p:cNvPr>
          <p:cNvSpPr txBox="1"/>
          <p:nvPr/>
        </p:nvSpPr>
        <p:spPr bwMode="auto">
          <a:xfrm>
            <a:off x="8029482" y="5508342"/>
            <a:ext cx="12090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800" dirty="0">
                <a:ln w="0"/>
                <a:effectLst>
                  <a:outerShdw blurRad="38100" dist="19050" dir="2700000" algn="tl" rotWithShape="0">
                    <a:schemeClr val="dk1">
                      <a:alpha val="40000"/>
                    </a:schemeClr>
                  </a:outerShdw>
                </a:effectLst>
                <a:latin typeface="Verdana" panose="020B0604030504040204" pitchFamily="34" charset="0"/>
              </a:rPr>
              <a:t>Data Manager</a:t>
            </a:r>
          </a:p>
        </p:txBody>
      </p:sp>
      <p:sp>
        <p:nvSpPr>
          <p:cNvPr id="30" name="Rectangle 6">
            <a:extLst>
              <a:ext uri="{FF2B5EF4-FFF2-40B4-BE49-F238E27FC236}">
                <a16:creationId xmlns:a16="http://schemas.microsoft.com/office/drawing/2014/main" id="{BC518601-A9BA-4DE0-8382-15B6D11542F5}"/>
              </a:ext>
            </a:extLst>
          </p:cNvPr>
          <p:cNvSpPr>
            <a:spLocks noChangeArrowheads="1"/>
          </p:cNvSpPr>
          <p:nvPr/>
        </p:nvSpPr>
        <p:spPr bwMode="auto">
          <a:xfrm>
            <a:off x="0" y="-318041"/>
            <a:ext cx="1842881" cy="1093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9829" tIns="899829" rIns="899829"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900" b="0" i="0" u="none" strike="noStrike" cap="none" normalizeH="0" baseline="0" dirty="0">
                <a:ln>
                  <a:noFill/>
                </a:ln>
                <a:solidFill>
                  <a:schemeClr val="tx1"/>
                </a:solidFill>
                <a:effectLst/>
                <a:latin typeface="Calibri" panose="020F0502020204030204" pitchFamily="34" charset="0"/>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1564505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ppt_x"/>
                                          </p:val>
                                        </p:tav>
                                        <p:tav tm="100000">
                                          <p:val>
                                            <p:strVal val="#ppt_x"/>
                                          </p:val>
                                        </p:tav>
                                      </p:tavLst>
                                    </p:anim>
                                    <p:anim calcmode="lin" valueType="num">
                                      <p:cBhvr additive="base">
                                        <p:cTn id="8" dur="500" fill="hold"/>
                                        <p:tgtEl>
                                          <p:spTgt spid="3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5083"/>
                                        </p:tgtEl>
                                        <p:attrNameLst>
                                          <p:attrName>style.visibility</p:attrName>
                                        </p:attrNameLst>
                                      </p:cBhvr>
                                      <p:to>
                                        <p:strVal val="visible"/>
                                      </p:to>
                                    </p:set>
                                    <p:anim calcmode="lin" valueType="num">
                                      <p:cBhvr additive="base">
                                        <p:cTn id="15" dur="500" fill="hold"/>
                                        <p:tgtEl>
                                          <p:spTgt spid="45083"/>
                                        </p:tgtEl>
                                        <p:attrNameLst>
                                          <p:attrName>ppt_x</p:attrName>
                                        </p:attrNameLst>
                                      </p:cBhvr>
                                      <p:tavLst>
                                        <p:tav tm="0">
                                          <p:val>
                                            <p:strVal val="#ppt_x"/>
                                          </p:val>
                                        </p:tav>
                                        <p:tav tm="100000">
                                          <p:val>
                                            <p:strVal val="#ppt_x"/>
                                          </p:val>
                                        </p:tav>
                                      </p:tavLst>
                                    </p:anim>
                                    <p:anim calcmode="lin" valueType="num">
                                      <p:cBhvr additive="base">
                                        <p:cTn id="16" dur="500" fill="hold"/>
                                        <p:tgtEl>
                                          <p:spTgt spid="4508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ppt_x"/>
                                          </p:val>
                                        </p:tav>
                                        <p:tav tm="100000">
                                          <p:val>
                                            <p:strVal val="#ppt_x"/>
                                          </p:val>
                                        </p:tav>
                                      </p:tavLst>
                                    </p:anim>
                                    <p:anim calcmode="lin" valueType="num">
                                      <p:cBhvr additive="base">
                                        <p:cTn id="20" dur="500" fill="hold"/>
                                        <p:tgtEl>
                                          <p:spTgt spid="39"/>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77"/>
                                        </p:tgtEl>
                                        <p:attrNameLst>
                                          <p:attrName>style.visibility</p:attrName>
                                        </p:attrNameLst>
                                      </p:cBhvr>
                                      <p:to>
                                        <p:strVal val="visible"/>
                                      </p:to>
                                    </p:set>
                                    <p:anim calcmode="lin" valueType="num">
                                      <p:cBhvr additive="base">
                                        <p:cTn id="23" dur="500" fill="hold"/>
                                        <p:tgtEl>
                                          <p:spTgt spid="77"/>
                                        </p:tgtEl>
                                        <p:attrNameLst>
                                          <p:attrName>ppt_x</p:attrName>
                                        </p:attrNameLst>
                                      </p:cBhvr>
                                      <p:tavLst>
                                        <p:tav tm="0">
                                          <p:val>
                                            <p:strVal val="#ppt_x"/>
                                          </p:val>
                                        </p:tav>
                                        <p:tav tm="100000">
                                          <p:val>
                                            <p:strVal val="#ppt_x"/>
                                          </p:val>
                                        </p:tav>
                                      </p:tavLst>
                                    </p:anim>
                                    <p:anim calcmode="lin" valueType="num">
                                      <p:cBhvr additive="base">
                                        <p:cTn id="24" dur="500" fill="hold"/>
                                        <p:tgtEl>
                                          <p:spTgt spid="77"/>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500" fill="hold"/>
                                        <p:tgtEl>
                                          <p:spTgt spid="48"/>
                                        </p:tgtEl>
                                        <p:attrNameLst>
                                          <p:attrName>ppt_x</p:attrName>
                                        </p:attrNameLst>
                                      </p:cBhvr>
                                      <p:tavLst>
                                        <p:tav tm="0">
                                          <p:val>
                                            <p:strVal val="#ppt_x"/>
                                          </p:val>
                                        </p:tav>
                                        <p:tav tm="100000">
                                          <p:val>
                                            <p:strVal val="#ppt_x"/>
                                          </p:val>
                                        </p:tav>
                                      </p:tavLst>
                                    </p:anim>
                                    <p:anim calcmode="lin" valueType="num">
                                      <p:cBhvr additive="base">
                                        <p:cTn id="28" dur="500" fill="hold"/>
                                        <p:tgtEl>
                                          <p:spTgt spid="4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5068"/>
                                        </p:tgtEl>
                                        <p:attrNameLst>
                                          <p:attrName>style.visibility</p:attrName>
                                        </p:attrNameLst>
                                      </p:cBhvr>
                                      <p:to>
                                        <p:strVal val="visible"/>
                                      </p:to>
                                    </p:set>
                                    <p:anim calcmode="lin" valueType="num">
                                      <p:cBhvr additive="base">
                                        <p:cTn id="31" dur="500" fill="hold"/>
                                        <p:tgtEl>
                                          <p:spTgt spid="45068"/>
                                        </p:tgtEl>
                                        <p:attrNameLst>
                                          <p:attrName>ppt_x</p:attrName>
                                        </p:attrNameLst>
                                      </p:cBhvr>
                                      <p:tavLst>
                                        <p:tav tm="0">
                                          <p:val>
                                            <p:strVal val="#ppt_x"/>
                                          </p:val>
                                        </p:tav>
                                        <p:tav tm="100000">
                                          <p:val>
                                            <p:strVal val="#ppt_x"/>
                                          </p:val>
                                        </p:tav>
                                      </p:tavLst>
                                    </p:anim>
                                    <p:anim calcmode="lin" valueType="num">
                                      <p:cBhvr additive="base">
                                        <p:cTn id="32" dur="500" fill="hold"/>
                                        <p:tgtEl>
                                          <p:spTgt spid="4506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additive="base">
                                        <p:cTn id="37" dur="500" fill="hold"/>
                                        <p:tgtEl>
                                          <p:spTgt spid="7"/>
                                        </p:tgtEl>
                                        <p:attrNameLst>
                                          <p:attrName>ppt_x</p:attrName>
                                        </p:attrNameLst>
                                      </p:cBhvr>
                                      <p:tavLst>
                                        <p:tav tm="0">
                                          <p:val>
                                            <p:strVal val="#ppt_x"/>
                                          </p:val>
                                        </p:tav>
                                        <p:tav tm="100000">
                                          <p:val>
                                            <p:strVal val="#ppt_x"/>
                                          </p:val>
                                        </p:tav>
                                      </p:tavLst>
                                    </p:anim>
                                    <p:anim calcmode="lin" valueType="num">
                                      <p:cBhvr additive="base">
                                        <p:cTn id="38" dur="500" fill="hold"/>
                                        <p:tgtEl>
                                          <p:spTgt spid="7"/>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80"/>
                                        </p:tgtEl>
                                        <p:attrNameLst>
                                          <p:attrName>style.visibility</p:attrName>
                                        </p:attrNameLst>
                                      </p:cBhvr>
                                      <p:to>
                                        <p:strVal val="visible"/>
                                      </p:to>
                                    </p:set>
                                    <p:anim calcmode="lin" valueType="num">
                                      <p:cBhvr additive="base">
                                        <p:cTn id="41" dur="500" fill="hold"/>
                                        <p:tgtEl>
                                          <p:spTgt spid="80"/>
                                        </p:tgtEl>
                                        <p:attrNameLst>
                                          <p:attrName>ppt_x</p:attrName>
                                        </p:attrNameLst>
                                      </p:cBhvr>
                                      <p:tavLst>
                                        <p:tav tm="0">
                                          <p:val>
                                            <p:strVal val="#ppt_x"/>
                                          </p:val>
                                        </p:tav>
                                        <p:tav tm="100000">
                                          <p:val>
                                            <p:strVal val="#ppt_x"/>
                                          </p:val>
                                        </p:tav>
                                      </p:tavLst>
                                    </p:anim>
                                    <p:anim calcmode="lin" valueType="num">
                                      <p:cBhvr additive="base">
                                        <p:cTn id="42" dur="500" fill="hold"/>
                                        <p:tgtEl>
                                          <p:spTgt spid="80"/>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additive="base">
                                        <p:cTn id="45" dur="500" fill="hold"/>
                                        <p:tgtEl>
                                          <p:spTgt spid="44"/>
                                        </p:tgtEl>
                                        <p:attrNameLst>
                                          <p:attrName>ppt_x</p:attrName>
                                        </p:attrNameLst>
                                      </p:cBhvr>
                                      <p:tavLst>
                                        <p:tav tm="0">
                                          <p:val>
                                            <p:strVal val="#ppt_x"/>
                                          </p:val>
                                        </p:tav>
                                        <p:tav tm="100000">
                                          <p:val>
                                            <p:strVal val="#ppt_x"/>
                                          </p:val>
                                        </p:tav>
                                      </p:tavLst>
                                    </p:anim>
                                    <p:anim calcmode="lin" valueType="num">
                                      <p:cBhvr additive="base">
                                        <p:cTn id="46" dur="500" fill="hold"/>
                                        <p:tgtEl>
                                          <p:spTgt spid="44"/>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 calcmode="lin" valueType="num">
                                      <p:cBhvr additive="base">
                                        <p:cTn id="49" dur="500" fill="hold"/>
                                        <p:tgtEl>
                                          <p:spTgt spid="45"/>
                                        </p:tgtEl>
                                        <p:attrNameLst>
                                          <p:attrName>ppt_x</p:attrName>
                                        </p:attrNameLst>
                                      </p:cBhvr>
                                      <p:tavLst>
                                        <p:tav tm="0">
                                          <p:val>
                                            <p:strVal val="#ppt_x"/>
                                          </p:val>
                                        </p:tav>
                                        <p:tav tm="100000">
                                          <p:val>
                                            <p:strVal val="#ppt_x"/>
                                          </p:val>
                                        </p:tav>
                                      </p:tavLst>
                                    </p:anim>
                                    <p:anim calcmode="lin" valueType="num">
                                      <p:cBhvr additive="base">
                                        <p:cTn id="50" dur="500" fill="hold"/>
                                        <p:tgtEl>
                                          <p:spTgt spid="45"/>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45069"/>
                                        </p:tgtEl>
                                        <p:attrNameLst>
                                          <p:attrName>style.visibility</p:attrName>
                                        </p:attrNameLst>
                                      </p:cBhvr>
                                      <p:to>
                                        <p:strVal val="visible"/>
                                      </p:to>
                                    </p:set>
                                    <p:anim calcmode="lin" valueType="num">
                                      <p:cBhvr additive="base">
                                        <p:cTn id="53" dur="500" fill="hold"/>
                                        <p:tgtEl>
                                          <p:spTgt spid="45069"/>
                                        </p:tgtEl>
                                        <p:attrNameLst>
                                          <p:attrName>ppt_x</p:attrName>
                                        </p:attrNameLst>
                                      </p:cBhvr>
                                      <p:tavLst>
                                        <p:tav tm="0">
                                          <p:val>
                                            <p:strVal val="#ppt_x"/>
                                          </p:val>
                                        </p:tav>
                                        <p:tav tm="100000">
                                          <p:val>
                                            <p:strVal val="#ppt_x"/>
                                          </p:val>
                                        </p:tav>
                                      </p:tavLst>
                                    </p:anim>
                                    <p:anim calcmode="lin" valueType="num">
                                      <p:cBhvr additive="base">
                                        <p:cTn id="54" dur="500" fill="hold"/>
                                        <p:tgtEl>
                                          <p:spTgt spid="45069"/>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62"/>
                                        </p:tgtEl>
                                        <p:attrNameLst>
                                          <p:attrName>style.visibility</p:attrName>
                                        </p:attrNameLst>
                                      </p:cBhvr>
                                      <p:to>
                                        <p:strVal val="visible"/>
                                      </p:to>
                                    </p:set>
                                    <p:anim calcmode="lin" valueType="num">
                                      <p:cBhvr additive="base">
                                        <p:cTn id="57" dur="500" fill="hold"/>
                                        <p:tgtEl>
                                          <p:spTgt spid="62"/>
                                        </p:tgtEl>
                                        <p:attrNameLst>
                                          <p:attrName>ppt_x</p:attrName>
                                        </p:attrNameLst>
                                      </p:cBhvr>
                                      <p:tavLst>
                                        <p:tav tm="0">
                                          <p:val>
                                            <p:strVal val="#ppt_x"/>
                                          </p:val>
                                        </p:tav>
                                        <p:tav tm="100000">
                                          <p:val>
                                            <p:strVal val="#ppt_x"/>
                                          </p:val>
                                        </p:tav>
                                      </p:tavLst>
                                    </p:anim>
                                    <p:anim calcmode="lin" valueType="num">
                                      <p:cBhvr additive="base">
                                        <p:cTn id="58" dur="500" fill="hold"/>
                                        <p:tgtEl>
                                          <p:spTgt spid="62"/>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nodeType="clickEffect">
                                  <p:stCondLst>
                                    <p:cond delay="0"/>
                                  </p:stCondLst>
                                  <p:childTnLst>
                                    <p:set>
                                      <p:cBhvr>
                                        <p:cTn id="62" dur="1" fill="hold">
                                          <p:stCondLst>
                                            <p:cond delay="0"/>
                                          </p:stCondLst>
                                        </p:cTn>
                                        <p:tgtEl>
                                          <p:spTgt spid="47"/>
                                        </p:tgtEl>
                                        <p:attrNameLst>
                                          <p:attrName>style.visibility</p:attrName>
                                        </p:attrNameLst>
                                      </p:cBhvr>
                                      <p:to>
                                        <p:strVal val="visible"/>
                                      </p:to>
                                    </p:set>
                                    <p:anim calcmode="lin" valueType="num">
                                      <p:cBhvr additive="base">
                                        <p:cTn id="63" dur="500" fill="hold"/>
                                        <p:tgtEl>
                                          <p:spTgt spid="47"/>
                                        </p:tgtEl>
                                        <p:attrNameLst>
                                          <p:attrName>ppt_x</p:attrName>
                                        </p:attrNameLst>
                                      </p:cBhvr>
                                      <p:tavLst>
                                        <p:tav tm="0">
                                          <p:val>
                                            <p:strVal val="#ppt_x"/>
                                          </p:val>
                                        </p:tav>
                                        <p:tav tm="100000">
                                          <p:val>
                                            <p:strVal val="#ppt_x"/>
                                          </p:val>
                                        </p:tav>
                                      </p:tavLst>
                                    </p:anim>
                                    <p:anim calcmode="lin" valueType="num">
                                      <p:cBhvr additive="base">
                                        <p:cTn id="64" dur="500" fill="hold"/>
                                        <p:tgtEl>
                                          <p:spTgt spid="47"/>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85"/>
                                        </p:tgtEl>
                                        <p:attrNameLst>
                                          <p:attrName>style.visibility</p:attrName>
                                        </p:attrNameLst>
                                      </p:cBhvr>
                                      <p:to>
                                        <p:strVal val="visible"/>
                                      </p:to>
                                    </p:set>
                                    <p:anim calcmode="lin" valueType="num">
                                      <p:cBhvr additive="base">
                                        <p:cTn id="67" dur="500" fill="hold"/>
                                        <p:tgtEl>
                                          <p:spTgt spid="85"/>
                                        </p:tgtEl>
                                        <p:attrNameLst>
                                          <p:attrName>ppt_x</p:attrName>
                                        </p:attrNameLst>
                                      </p:cBhvr>
                                      <p:tavLst>
                                        <p:tav tm="0">
                                          <p:val>
                                            <p:strVal val="#ppt_x"/>
                                          </p:val>
                                        </p:tav>
                                        <p:tav tm="100000">
                                          <p:val>
                                            <p:strVal val="#ppt_x"/>
                                          </p:val>
                                        </p:tav>
                                      </p:tavLst>
                                    </p:anim>
                                    <p:anim calcmode="lin" valueType="num">
                                      <p:cBhvr additive="base">
                                        <p:cTn id="68" dur="500" fill="hold"/>
                                        <p:tgtEl>
                                          <p:spTgt spid="85"/>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43"/>
                                        </p:tgtEl>
                                        <p:attrNameLst>
                                          <p:attrName>style.visibility</p:attrName>
                                        </p:attrNameLst>
                                      </p:cBhvr>
                                      <p:to>
                                        <p:strVal val="visible"/>
                                      </p:to>
                                    </p:set>
                                    <p:anim calcmode="lin" valueType="num">
                                      <p:cBhvr additive="base">
                                        <p:cTn id="71" dur="500" fill="hold"/>
                                        <p:tgtEl>
                                          <p:spTgt spid="43"/>
                                        </p:tgtEl>
                                        <p:attrNameLst>
                                          <p:attrName>ppt_x</p:attrName>
                                        </p:attrNameLst>
                                      </p:cBhvr>
                                      <p:tavLst>
                                        <p:tav tm="0">
                                          <p:val>
                                            <p:strVal val="#ppt_x"/>
                                          </p:val>
                                        </p:tav>
                                        <p:tav tm="100000">
                                          <p:val>
                                            <p:strVal val="#ppt_x"/>
                                          </p:val>
                                        </p:tav>
                                      </p:tavLst>
                                    </p:anim>
                                    <p:anim calcmode="lin" valueType="num">
                                      <p:cBhvr additive="base">
                                        <p:cTn id="72"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grpId="0" nodeType="clickEffect">
                                  <p:stCondLst>
                                    <p:cond delay="0"/>
                                  </p:stCondLst>
                                  <p:childTnLst>
                                    <p:set>
                                      <p:cBhvr>
                                        <p:cTn id="76" dur="1" fill="hold">
                                          <p:stCondLst>
                                            <p:cond delay="0"/>
                                          </p:stCondLst>
                                        </p:cTn>
                                        <p:tgtEl>
                                          <p:spTgt spid="46"/>
                                        </p:tgtEl>
                                        <p:attrNameLst>
                                          <p:attrName>style.visibility</p:attrName>
                                        </p:attrNameLst>
                                      </p:cBhvr>
                                      <p:to>
                                        <p:strVal val="visible"/>
                                      </p:to>
                                    </p:set>
                                    <p:anim calcmode="lin" valueType="num">
                                      <p:cBhvr additive="base">
                                        <p:cTn id="77" dur="500" fill="hold"/>
                                        <p:tgtEl>
                                          <p:spTgt spid="46"/>
                                        </p:tgtEl>
                                        <p:attrNameLst>
                                          <p:attrName>ppt_x</p:attrName>
                                        </p:attrNameLst>
                                      </p:cBhvr>
                                      <p:tavLst>
                                        <p:tav tm="0">
                                          <p:val>
                                            <p:strVal val="#ppt_x"/>
                                          </p:val>
                                        </p:tav>
                                        <p:tav tm="100000">
                                          <p:val>
                                            <p:strVal val="#ppt_x"/>
                                          </p:val>
                                        </p:tav>
                                      </p:tavLst>
                                    </p:anim>
                                    <p:anim calcmode="lin" valueType="num">
                                      <p:cBhvr additive="base">
                                        <p:cTn id="78" dur="500" fill="hold"/>
                                        <p:tgtEl>
                                          <p:spTgt spid="46"/>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8"/>
                                        </p:tgtEl>
                                        <p:attrNameLst>
                                          <p:attrName>style.visibility</p:attrName>
                                        </p:attrNameLst>
                                      </p:cBhvr>
                                      <p:to>
                                        <p:strVal val="visible"/>
                                      </p:to>
                                    </p:set>
                                    <p:anim calcmode="lin" valueType="num">
                                      <p:cBhvr additive="base">
                                        <p:cTn id="81" dur="500" fill="hold"/>
                                        <p:tgtEl>
                                          <p:spTgt spid="8"/>
                                        </p:tgtEl>
                                        <p:attrNameLst>
                                          <p:attrName>ppt_x</p:attrName>
                                        </p:attrNameLst>
                                      </p:cBhvr>
                                      <p:tavLst>
                                        <p:tav tm="0">
                                          <p:val>
                                            <p:strVal val="#ppt_x"/>
                                          </p:val>
                                        </p:tav>
                                        <p:tav tm="100000">
                                          <p:val>
                                            <p:strVal val="#ppt_x"/>
                                          </p:val>
                                        </p:tav>
                                      </p:tavLst>
                                    </p:anim>
                                    <p:anim calcmode="lin" valueType="num">
                                      <p:cBhvr additive="base">
                                        <p:cTn id="82" dur="500" fill="hold"/>
                                        <p:tgtEl>
                                          <p:spTgt spid="8"/>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50"/>
                                        </p:tgtEl>
                                        <p:attrNameLst>
                                          <p:attrName>style.visibility</p:attrName>
                                        </p:attrNameLst>
                                      </p:cBhvr>
                                      <p:to>
                                        <p:strVal val="visible"/>
                                      </p:to>
                                    </p:set>
                                    <p:anim calcmode="lin" valueType="num">
                                      <p:cBhvr additive="base">
                                        <p:cTn id="85" dur="500" fill="hold"/>
                                        <p:tgtEl>
                                          <p:spTgt spid="50"/>
                                        </p:tgtEl>
                                        <p:attrNameLst>
                                          <p:attrName>ppt_x</p:attrName>
                                        </p:attrNameLst>
                                      </p:cBhvr>
                                      <p:tavLst>
                                        <p:tav tm="0">
                                          <p:val>
                                            <p:strVal val="#ppt_x"/>
                                          </p:val>
                                        </p:tav>
                                        <p:tav tm="100000">
                                          <p:val>
                                            <p:strVal val="#ppt_x"/>
                                          </p:val>
                                        </p:tav>
                                      </p:tavLst>
                                    </p:anim>
                                    <p:anim calcmode="lin" valueType="num">
                                      <p:cBhvr additive="base">
                                        <p:cTn id="86" dur="500" fill="hold"/>
                                        <p:tgtEl>
                                          <p:spTgt spid="50"/>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57"/>
                                        </p:tgtEl>
                                        <p:attrNameLst>
                                          <p:attrName>style.visibility</p:attrName>
                                        </p:attrNameLst>
                                      </p:cBhvr>
                                      <p:to>
                                        <p:strVal val="visible"/>
                                      </p:to>
                                    </p:set>
                                    <p:anim calcmode="lin" valueType="num">
                                      <p:cBhvr additive="base">
                                        <p:cTn id="89" dur="500" fill="hold"/>
                                        <p:tgtEl>
                                          <p:spTgt spid="57"/>
                                        </p:tgtEl>
                                        <p:attrNameLst>
                                          <p:attrName>ppt_x</p:attrName>
                                        </p:attrNameLst>
                                      </p:cBhvr>
                                      <p:tavLst>
                                        <p:tav tm="0">
                                          <p:val>
                                            <p:strVal val="#ppt_x"/>
                                          </p:val>
                                        </p:tav>
                                        <p:tav tm="100000">
                                          <p:val>
                                            <p:strVal val="#ppt_x"/>
                                          </p:val>
                                        </p:tav>
                                      </p:tavLst>
                                    </p:anim>
                                    <p:anim calcmode="lin" valueType="num">
                                      <p:cBhvr additive="base">
                                        <p:cTn id="90"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nodeType="clickEffect">
                                  <p:stCondLst>
                                    <p:cond delay="0"/>
                                  </p:stCondLst>
                                  <p:childTnLst>
                                    <p:set>
                                      <p:cBhvr>
                                        <p:cTn id="94" dur="1" fill="hold">
                                          <p:stCondLst>
                                            <p:cond delay="0"/>
                                          </p:stCondLst>
                                        </p:cTn>
                                        <p:tgtEl>
                                          <p:spTgt spid="82"/>
                                        </p:tgtEl>
                                        <p:attrNameLst>
                                          <p:attrName>style.visibility</p:attrName>
                                        </p:attrNameLst>
                                      </p:cBhvr>
                                      <p:to>
                                        <p:strVal val="visible"/>
                                      </p:to>
                                    </p:set>
                                    <p:anim calcmode="lin" valueType="num">
                                      <p:cBhvr additive="base">
                                        <p:cTn id="95" dur="500" fill="hold"/>
                                        <p:tgtEl>
                                          <p:spTgt spid="82"/>
                                        </p:tgtEl>
                                        <p:attrNameLst>
                                          <p:attrName>ppt_x</p:attrName>
                                        </p:attrNameLst>
                                      </p:cBhvr>
                                      <p:tavLst>
                                        <p:tav tm="0">
                                          <p:val>
                                            <p:strVal val="#ppt_x"/>
                                          </p:val>
                                        </p:tav>
                                        <p:tav tm="100000">
                                          <p:val>
                                            <p:strVal val="#ppt_x"/>
                                          </p:val>
                                        </p:tav>
                                      </p:tavLst>
                                    </p:anim>
                                    <p:anim calcmode="lin" valueType="num">
                                      <p:cBhvr additive="base">
                                        <p:cTn id="96" dur="500" fill="hold"/>
                                        <p:tgtEl>
                                          <p:spTgt spid="82"/>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45071"/>
                                        </p:tgtEl>
                                        <p:attrNameLst>
                                          <p:attrName>style.visibility</p:attrName>
                                        </p:attrNameLst>
                                      </p:cBhvr>
                                      <p:to>
                                        <p:strVal val="visible"/>
                                      </p:to>
                                    </p:set>
                                    <p:anim calcmode="lin" valueType="num">
                                      <p:cBhvr additive="base">
                                        <p:cTn id="99" dur="500" fill="hold"/>
                                        <p:tgtEl>
                                          <p:spTgt spid="45071"/>
                                        </p:tgtEl>
                                        <p:attrNameLst>
                                          <p:attrName>ppt_x</p:attrName>
                                        </p:attrNameLst>
                                      </p:cBhvr>
                                      <p:tavLst>
                                        <p:tav tm="0">
                                          <p:val>
                                            <p:strVal val="#ppt_x"/>
                                          </p:val>
                                        </p:tav>
                                        <p:tav tm="100000">
                                          <p:val>
                                            <p:strVal val="#ppt_x"/>
                                          </p:val>
                                        </p:tav>
                                      </p:tavLst>
                                    </p:anim>
                                    <p:anim calcmode="lin" valueType="num">
                                      <p:cBhvr additive="base">
                                        <p:cTn id="100" dur="500" fill="hold"/>
                                        <p:tgtEl>
                                          <p:spTgt spid="45071"/>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45073"/>
                                        </p:tgtEl>
                                        <p:attrNameLst>
                                          <p:attrName>style.visibility</p:attrName>
                                        </p:attrNameLst>
                                      </p:cBhvr>
                                      <p:to>
                                        <p:strVal val="visible"/>
                                      </p:to>
                                    </p:set>
                                    <p:anim calcmode="lin" valueType="num">
                                      <p:cBhvr additive="base">
                                        <p:cTn id="103" dur="500" fill="hold"/>
                                        <p:tgtEl>
                                          <p:spTgt spid="45073"/>
                                        </p:tgtEl>
                                        <p:attrNameLst>
                                          <p:attrName>ppt_x</p:attrName>
                                        </p:attrNameLst>
                                      </p:cBhvr>
                                      <p:tavLst>
                                        <p:tav tm="0">
                                          <p:val>
                                            <p:strVal val="#ppt_x"/>
                                          </p:val>
                                        </p:tav>
                                        <p:tav tm="100000">
                                          <p:val>
                                            <p:strVal val="#ppt_x"/>
                                          </p:val>
                                        </p:tav>
                                      </p:tavLst>
                                    </p:anim>
                                    <p:anim calcmode="lin" valueType="num">
                                      <p:cBhvr additive="base">
                                        <p:cTn id="104" dur="500" fill="hold"/>
                                        <p:tgtEl>
                                          <p:spTgt spid="45073"/>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63"/>
                                        </p:tgtEl>
                                        <p:attrNameLst>
                                          <p:attrName>style.visibility</p:attrName>
                                        </p:attrNameLst>
                                      </p:cBhvr>
                                      <p:to>
                                        <p:strVal val="visible"/>
                                      </p:to>
                                    </p:set>
                                    <p:anim calcmode="lin" valueType="num">
                                      <p:cBhvr additive="base">
                                        <p:cTn id="107" dur="500" fill="hold"/>
                                        <p:tgtEl>
                                          <p:spTgt spid="63"/>
                                        </p:tgtEl>
                                        <p:attrNameLst>
                                          <p:attrName>ppt_x</p:attrName>
                                        </p:attrNameLst>
                                      </p:cBhvr>
                                      <p:tavLst>
                                        <p:tav tm="0">
                                          <p:val>
                                            <p:strVal val="#ppt_x"/>
                                          </p:val>
                                        </p:tav>
                                        <p:tav tm="100000">
                                          <p:val>
                                            <p:strVal val="#ppt_x"/>
                                          </p:val>
                                        </p:tav>
                                      </p:tavLst>
                                    </p:anim>
                                    <p:anim calcmode="lin" valueType="num">
                                      <p:cBhvr additive="base">
                                        <p:cTn id="108"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2" presetClass="entr" presetSubtype="4" fill="hold" nodeType="clickEffect">
                                  <p:stCondLst>
                                    <p:cond delay="0"/>
                                  </p:stCondLst>
                                  <p:childTnLst>
                                    <p:set>
                                      <p:cBhvr>
                                        <p:cTn id="112" dur="1" fill="hold">
                                          <p:stCondLst>
                                            <p:cond delay="0"/>
                                          </p:stCondLst>
                                        </p:cTn>
                                        <p:tgtEl>
                                          <p:spTgt spid="45081"/>
                                        </p:tgtEl>
                                        <p:attrNameLst>
                                          <p:attrName>style.visibility</p:attrName>
                                        </p:attrNameLst>
                                      </p:cBhvr>
                                      <p:to>
                                        <p:strVal val="visible"/>
                                      </p:to>
                                    </p:set>
                                    <p:anim calcmode="lin" valueType="num">
                                      <p:cBhvr additive="base">
                                        <p:cTn id="113" dur="500" fill="hold"/>
                                        <p:tgtEl>
                                          <p:spTgt spid="45081"/>
                                        </p:tgtEl>
                                        <p:attrNameLst>
                                          <p:attrName>ppt_x</p:attrName>
                                        </p:attrNameLst>
                                      </p:cBhvr>
                                      <p:tavLst>
                                        <p:tav tm="0">
                                          <p:val>
                                            <p:strVal val="#ppt_x"/>
                                          </p:val>
                                        </p:tav>
                                        <p:tav tm="100000">
                                          <p:val>
                                            <p:strVal val="#ppt_x"/>
                                          </p:val>
                                        </p:tav>
                                      </p:tavLst>
                                    </p:anim>
                                    <p:anim calcmode="lin" valueType="num">
                                      <p:cBhvr additive="base">
                                        <p:cTn id="114" dur="500" fill="hold"/>
                                        <p:tgtEl>
                                          <p:spTgt spid="45081"/>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64"/>
                                        </p:tgtEl>
                                        <p:attrNameLst>
                                          <p:attrName>style.visibility</p:attrName>
                                        </p:attrNameLst>
                                      </p:cBhvr>
                                      <p:to>
                                        <p:strVal val="visible"/>
                                      </p:to>
                                    </p:set>
                                    <p:anim calcmode="lin" valueType="num">
                                      <p:cBhvr additive="base">
                                        <p:cTn id="117" dur="500" fill="hold"/>
                                        <p:tgtEl>
                                          <p:spTgt spid="64"/>
                                        </p:tgtEl>
                                        <p:attrNameLst>
                                          <p:attrName>ppt_x</p:attrName>
                                        </p:attrNameLst>
                                      </p:cBhvr>
                                      <p:tavLst>
                                        <p:tav tm="0">
                                          <p:val>
                                            <p:strVal val="#ppt_x"/>
                                          </p:val>
                                        </p:tav>
                                        <p:tav tm="100000">
                                          <p:val>
                                            <p:strVal val="#ppt_x"/>
                                          </p:val>
                                        </p:tav>
                                      </p:tavLst>
                                    </p:anim>
                                    <p:anim calcmode="lin" valueType="num">
                                      <p:cBhvr additive="base">
                                        <p:cTn id="118" dur="500" fill="hold"/>
                                        <p:tgtEl>
                                          <p:spTgt spid="64"/>
                                        </p:tgtEl>
                                        <p:attrNameLst>
                                          <p:attrName>ppt_y</p:attrName>
                                        </p:attrNameLst>
                                      </p:cBhvr>
                                      <p:tavLst>
                                        <p:tav tm="0">
                                          <p:val>
                                            <p:strVal val="1+#ppt_h/2"/>
                                          </p:val>
                                        </p:tav>
                                        <p:tav tm="100000">
                                          <p:val>
                                            <p:strVal val="#ppt_y"/>
                                          </p:val>
                                        </p:tav>
                                      </p:tavLst>
                                    </p:anim>
                                  </p:childTnLst>
                                </p:cTn>
                              </p:par>
                              <p:par>
                                <p:cTn id="119" presetID="2" presetClass="entr" presetSubtype="4" fill="hold" nodeType="withEffect">
                                  <p:stCondLst>
                                    <p:cond delay="0"/>
                                  </p:stCondLst>
                                  <p:childTnLst>
                                    <p:set>
                                      <p:cBhvr>
                                        <p:cTn id="120" dur="1" fill="hold">
                                          <p:stCondLst>
                                            <p:cond delay="0"/>
                                          </p:stCondLst>
                                        </p:cTn>
                                        <p:tgtEl>
                                          <p:spTgt spid="83"/>
                                        </p:tgtEl>
                                        <p:attrNameLst>
                                          <p:attrName>style.visibility</p:attrName>
                                        </p:attrNameLst>
                                      </p:cBhvr>
                                      <p:to>
                                        <p:strVal val="visible"/>
                                      </p:to>
                                    </p:set>
                                    <p:anim calcmode="lin" valueType="num">
                                      <p:cBhvr additive="base">
                                        <p:cTn id="121" dur="500" fill="hold"/>
                                        <p:tgtEl>
                                          <p:spTgt spid="83"/>
                                        </p:tgtEl>
                                        <p:attrNameLst>
                                          <p:attrName>ppt_x</p:attrName>
                                        </p:attrNameLst>
                                      </p:cBhvr>
                                      <p:tavLst>
                                        <p:tav tm="0">
                                          <p:val>
                                            <p:strVal val="#ppt_x"/>
                                          </p:val>
                                        </p:tav>
                                        <p:tav tm="100000">
                                          <p:val>
                                            <p:strVal val="#ppt_x"/>
                                          </p:val>
                                        </p:tav>
                                      </p:tavLst>
                                    </p:anim>
                                    <p:anim calcmode="lin" valueType="num">
                                      <p:cBhvr additive="base">
                                        <p:cTn id="122"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4" fill="hold" grpId="0" nodeType="clickEffect">
                                  <p:stCondLst>
                                    <p:cond delay="0"/>
                                  </p:stCondLst>
                                  <p:childTnLst>
                                    <p:set>
                                      <p:cBhvr>
                                        <p:cTn id="126" dur="1" fill="hold">
                                          <p:stCondLst>
                                            <p:cond delay="0"/>
                                          </p:stCondLst>
                                        </p:cTn>
                                        <p:tgtEl>
                                          <p:spTgt spid="17"/>
                                        </p:tgtEl>
                                        <p:attrNameLst>
                                          <p:attrName>style.visibility</p:attrName>
                                        </p:attrNameLst>
                                      </p:cBhvr>
                                      <p:to>
                                        <p:strVal val="visible"/>
                                      </p:to>
                                    </p:set>
                                    <p:anim calcmode="lin" valueType="num">
                                      <p:cBhvr additive="base">
                                        <p:cTn id="127" dur="500" fill="hold"/>
                                        <p:tgtEl>
                                          <p:spTgt spid="17"/>
                                        </p:tgtEl>
                                        <p:attrNameLst>
                                          <p:attrName>ppt_x</p:attrName>
                                        </p:attrNameLst>
                                      </p:cBhvr>
                                      <p:tavLst>
                                        <p:tav tm="0">
                                          <p:val>
                                            <p:strVal val="#ppt_x"/>
                                          </p:val>
                                        </p:tav>
                                        <p:tav tm="100000">
                                          <p:val>
                                            <p:strVal val="#ppt_x"/>
                                          </p:val>
                                        </p:tav>
                                      </p:tavLst>
                                    </p:anim>
                                    <p:anim calcmode="lin" valueType="num">
                                      <p:cBhvr additive="base">
                                        <p:cTn id="128" dur="500" fill="hold"/>
                                        <p:tgtEl>
                                          <p:spTgt spid="17"/>
                                        </p:tgtEl>
                                        <p:attrNameLst>
                                          <p:attrName>ppt_y</p:attrName>
                                        </p:attrNameLst>
                                      </p:cBhvr>
                                      <p:tavLst>
                                        <p:tav tm="0">
                                          <p:val>
                                            <p:strVal val="1+#ppt_h/2"/>
                                          </p:val>
                                        </p:tav>
                                        <p:tav tm="100000">
                                          <p:val>
                                            <p:strVal val="#ppt_y"/>
                                          </p:val>
                                        </p:tav>
                                      </p:tavLst>
                                    </p:anim>
                                  </p:childTnLst>
                                </p:cTn>
                              </p:par>
                              <p:par>
                                <p:cTn id="129" presetID="2" presetClass="entr" presetSubtype="4" fill="hold" nodeType="withEffect">
                                  <p:stCondLst>
                                    <p:cond delay="0"/>
                                  </p:stCondLst>
                                  <p:childTnLst>
                                    <p:set>
                                      <p:cBhvr>
                                        <p:cTn id="130" dur="1" fill="hold">
                                          <p:stCondLst>
                                            <p:cond delay="0"/>
                                          </p:stCondLst>
                                        </p:cTn>
                                        <p:tgtEl>
                                          <p:spTgt spid="52"/>
                                        </p:tgtEl>
                                        <p:attrNameLst>
                                          <p:attrName>style.visibility</p:attrName>
                                        </p:attrNameLst>
                                      </p:cBhvr>
                                      <p:to>
                                        <p:strVal val="visible"/>
                                      </p:to>
                                    </p:set>
                                    <p:anim calcmode="lin" valueType="num">
                                      <p:cBhvr additive="base">
                                        <p:cTn id="131" dur="500" fill="hold"/>
                                        <p:tgtEl>
                                          <p:spTgt spid="52"/>
                                        </p:tgtEl>
                                        <p:attrNameLst>
                                          <p:attrName>ppt_x</p:attrName>
                                        </p:attrNameLst>
                                      </p:cBhvr>
                                      <p:tavLst>
                                        <p:tav tm="0">
                                          <p:val>
                                            <p:strVal val="#ppt_x"/>
                                          </p:val>
                                        </p:tav>
                                        <p:tav tm="100000">
                                          <p:val>
                                            <p:strVal val="#ppt_x"/>
                                          </p:val>
                                        </p:tav>
                                      </p:tavLst>
                                    </p:anim>
                                    <p:anim calcmode="lin" valueType="num">
                                      <p:cBhvr additive="base">
                                        <p:cTn id="132" dur="500" fill="hold"/>
                                        <p:tgtEl>
                                          <p:spTgt spid="52"/>
                                        </p:tgtEl>
                                        <p:attrNameLst>
                                          <p:attrName>ppt_y</p:attrName>
                                        </p:attrNameLst>
                                      </p:cBhvr>
                                      <p:tavLst>
                                        <p:tav tm="0">
                                          <p:val>
                                            <p:strVal val="1+#ppt_h/2"/>
                                          </p:val>
                                        </p:tav>
                                        <p:tav tm="100000">
                                          <p:val>
                                            <p:strVal val="#ppt_y"/>
                                          </p:val>
                                        </p:tav>
                                      </p:tavLst>
                                    </p:anim>
                                  </p:childTnLst>
                                </p:cTn>
                              </p:par>
                              <p:par>
                                <p:cTn id="133" presetID="2" presetClass="entr" presetSubtype="4" fill="hold" grpId="0" nodeType="withEffect">
                                  <p:stCondLst>
                                    <p:cond delay="0"/>
                                  </p:stCondLst>
                                  <p:childTnLst>
                                    <p:set>
                                      <p:cBhvr>
                                        <p:cTn id="134" dur="1" fill="hold">
                                          <p:stCondLst>
                                            <p:cond delay="0"/>
                                          </p:stCondLst>
                                        </p:cTn>
                                        <p:tgtEl>
                                          <p:spTgt spid="58"/>
                                        </p:tgtEl>
                                        <p:attrNameLst>
                                          <p:attrName>style.visibility</p:attrName>
                                        </p:attrNameLst>
                                      </p:cBhvr>
                                      <p:to>
                                        <p:strVal val="visible"/>
                                      </p:to>
                                    </p:set>
                                    <p:anim calcmode="lin" valueType="num">
                                      <p:cBhvr additive="base">
                                        <p:cTn id="135" dur="500" fill="hold"/>
                                        <p:tgtEl>
                                          <p:spTgt spid="58"/>
                                        </p:tgtEl>
                                        <p:attrNameLst>
                                          <p:attrName>ppt_x</p:attrName>
                                        </p:attrNameLst>
                                      </p:cBhvr>
                                      <p:tavLst>
                                        <p:tav tm="0">
                                          <p:val>
                                            <p:strVal val="#ppt_x"/>
                                          </p:val>
                                        </p:tav>
                                        <p:tav tm="100000">
                                          <p:val>
                                            <p:strVal val="#ppt_x"/>
                                          </p:val>
                                        </p:tav>
                                      </p:tavLst>
                                    </p:anim>
                                    <p:anim calcmode="lin" valueType="num">
                                      <p:cBhvr additive="base">
                                        <p:cTn id="136"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137" fill="hold">
                      <p:stCondLst>
                        <p:cond delay="indefinite"/>
                      </p:stCondLst>
                      <p:childTnLst>
                        <p:par>
                          <p:cTn id="138" fill="hold">
                            <p:stCondLst>
                              <p:cond delay="0"/>
                            </p:stCondLst>
                            <p:childTnLst>
                              <p:par>
                                <p:cTn id="139" presetID="2" presetClass="entr" presetSubtype="4" fill="hold" grpId="0" nodeType="clickEffect">
                                  <p:stCondLst>
                                    <p:cond delay="0"/>
                                  </p:stCondLst>
                                  <p:childTnLst>
                                    <p:set>
                                      <p:cBhvr>
                                        <p:cTn id="140" dur="1" fill="hold">
                                          <p:stCondLst>
                                            <p:cond delay="0"/>
                                          </p:stCondLst>
                                        </p:cTn>
                                        <p:tgtEl>
                                          <p:spTgt spid="66"/>
                                        </p:tgtEl>
                                        <p:attrNameLst>
                                          <p:attrName>style.visibility</p:attrName>
                                        </p:attrNameLst>
                                      </p:cBhvr>
                                      <p:to>
                                        <p:strVal val="visible"/>
                                      </p:to>
                                    </p:set>
                                    <p:anim calcmode="lin" valueType="num">
                                      <p:cBhvr additive="base">
                                        <p:cTn id="141" dur="500" fill="hold"/>
                                        <p:tgtEl>
                                          <p:spTgt spid="66"/>
                                        </p:tgtEl>
                                        <p:attrNameLst>
                                          <p:attrName>ppt_x</p:attrName>
                                        </p:attrNameLst>
                                      </p:cBhvr>
                                      <p:tavLst>
                                        <p:tav tm="0">
                                          <p:val>
                                            <p:strVal val="#ppt_x"/>
                                          </p:val>
                                        </p:tav>
                                        <p:tav tm="100000">
                                          <p:val>
                                            <p:strVal val="#ppt_x"/>
                                          </p:val>
                                        </p:tav>
                                      </p:tavLst>
                                    </p:anim>
                                    <p:anim calcmode="lin" valueType="num">
                                      <p:cBhvr additive="base">
                                        <p:cTn id="142" dur="500" fill="hold"/>
                                        <p:tgtEl>
                                          <p:spTgt spid="66"/>
                                        </p:tgtEl>
                                        <p:attrNameLst>
                                          <p:attrName>ppt_y</p:attrName>
                                        </p:attrNameLst>
                                      </p:cBhvr>
                                      <p:tavLst>
                                        <p:tav tm="0">
                                          <p:val>
                                            <p:strVal val="1+#ppt_h/2"/>
                                          </p:val>
                                        </p:tav>
                                        <p:tav tm="100000">
                                          <p:val>
                                            <p:strVal val="#ppt_y"/>
                                          </p:val>
                                        </p:tav>
                                      </p:tavLst>
                                    </p:anim>
                                  </p:childTnLst>
                                </p:cTn>
                              </p:par>
                              <p:par>
                                <p:cTn id="143" presetID="2" presetClass="entr" presetSubtype="4" fill="hold" grpId="0" nodeType="withEffect">
                                  <p:stCondLst>
                                    <p:cond delay="0"/>
                                  </p:stCondLst>
                                  <p:childTnLst>
                                    <p:set>
                                      <p:cBhvr>
                                        <p:cTn id="144" dur="1" fill="hold">
                                          <p:stCondLst>
                                            <p:cond delay="0"/>
                                          </p:stCondLst>
                                        </p:cTn>
                                        <p:tgtEl>
                                          <p:spTgt spid="65"/>
                                        </p:tgtEl>
                                        <p:attrNameLst>
                                          <p:attrName>style.visibility</p:attrName>
                                        </p:attrNameLst>
                                      </p:cBhvr>
                                      <p:to>
                                        <p:strVal val="visible"/>
                                      </p:to>
                                    </p:set>
                                    <p:anim calcmode="lin" valueType="num">
                                      <p:cBhvr additive="base">
                                        <p:cTn id="145" dur="500" fill="hold"/>
                                        <p:tgtEl>
                                          <p:spTgt spid="65"/>
                                        </p:tgtEl>
                                        <p:attrNameLst>
                                          <p:attrName>ppt_x</p:attrName>
                                        </p:attrNameLst>
                                      </p:cBhvr>
                                      <p:tavLst>
                                        <p:tav tm="0">
                                          <p:val>
                                            <p:strVal val="#ppt_x"/>
                                          </p:val>
                                        </p:tav>
                                        <p:tav tm="100000">
                                          <p:val>
                                            <p:strVal val="#ppt_x"/>
                                          </p:val>
                                        </p:tav>
                                      </p:tavLst>
                                    </p:anim>
                                    <p:anim calcmode="lin" valueType="num">
                                      <p:cBhvr additive="base">
                                        <p:cTn id="146" dur="500" fill="hold"/>
                                        <p:tgtEl>
                                          <p:spTgt spid="65"/>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24"/>
                                        </p:tgtEl>
                                        <p:attrNameLst>
                                          <p:attrName>style.visibility</p:attrName>
                                        </p:attrNameLst>
                                      </p:cBhvr>
                                      <p:to>
                                        <p:strVal val="visible"/>
                                      </p:to>
                                    </p:set>
                                    <p:anim calcmode="lin" valueType="num">
                                      <p:cBhvr additive="base">
                                        <p:cTn id="149" dur="500" fill="hold"/>
                                        <p:tgtEl>
                                          <p:spTgt spid="24"/>
                                        </p:tgtEl>
                                        <p:attrNameLst>
                                          <p:attrName>ppt_x</p:attrName>
                                        </p:attrNameLst>
                                      </p:cBhvr>
                                      <p:tavLst>
                                        <p:tav tm="0">
                                          <p:val>
                                            <p:strVal val="#ppt_x"/>
                                          </p:val>
                                        </p:tav>
                                        <p:tav tm="100000">
                                          <p:val>
                                            <p:strVal val="#ppt_x"/>
                                          </p:val>
                                        </p:tav>
                                      </p:tavLst>
                                    </p:anim>
                                    <p:anim calcmode="lin" valueType="num">
                                      <p:cBhvr additive="base">
                                        <p:cTn id="150" dur="500" fill="hold"/>
                                        <p:tgtEl>
                                          <p:spTgt spid="24"/>
                                        </p:tgtEl>
                                        <p:attrNameLst>
                                          <p:attrName>ppt_y</p:attrName>
                                        </p:attrNameLst>
                                      </p:cBhvr>
                                      <p:tavLst>
                                        <p:tav tm="0">
                                          <p:val>
                                            <p:strVal val="1+#ppt_h/2"/>
                                          </p:val>
                                        </p:tav>
                                        <p:tav tm="100000">
                                          <p:val>
                                            <p:strVal val="#ppt_y"/>
                                          </p:val>
                                        </p:tav>
                                      </p:tavLst>
                                    </p:anim>
                                  </p:childTnLst>
                                </p:cTn>
                              </p:par>
                              <p:par>
                                <p:cTn id="151" presetID="2" presetClass="entr" presetSubtype="4" fill="hold" grpId="0" nodeType="withEffect">
                                  <p:stCondLst>
                                    <p:cond delay="0"/>
                                  </p:stCondLst>
                                  <p:childTnLst>
                                    <p:set>
                                      <p:cBhvr>
                                        <p:cTn id="152" dur="1" fill="hold">
                                          <p:stCondLst>
                                            <p:cond delay="0"/>
                                          </p:stCondLst>
                                        </p:cTn>
                                        <p:tgtEl>
                                          <p:spTgt spid="70"/>
                                        </p:tgtEl>
                                        <p:attrNameLst>
                                          <p:attrName>style.visibility</p:attrName>
                                        </p:attrNameLst>
                                      </p:cBhvr>
                                      <p:to>
                                        <p:strVal val="visible"/>
                                      </p:to>
                                    </p:set>
                                    <p:anim calcmode="lin" valueType="num">
                                      <p:cBhvr additive="base">
                                        <p:cTn id="153" dur="500" fill="hold"/>
                                        <p:tgtEl>
                                          <p:spTgt spid="70"/>
                                        </p:tgtEl>
                                        <p:attrNameLst>
                                          <p:attrName>ppt_x</p:attrName>
                                        </p:attrNameLst>
                                      </p:cBhvr>
                                      <p:tavLst>
                                        <p:tav tm="0">
                                          <p:val>
                                            <p:strVal val="#ppt_x"/>
                                          </p:val>
                                        </p:tav>
                                        <p:tav tm="100000">
                                          <p:val>
                                            <p:strVal val="#ppt_x"/>
                                          </p:val>
                                        </p:tav>
                                      </p:tavLst>
                                    </p:anim>
                                    <p:anim calcmode="lin" valueType="num">
                                      <p:cBhvr additive="base">
                                        <p:cTn id="154" dur="500" fill="hold"/>
                                        <p:tgtEl>
                                          <p:spTgt spid="70"/>
                                        </p:tgtEl>
                                        <p:attrNameLst>
                                          <p:attrName>ppt_y</p:attrName>
                                        </p:attrNameLst>
                                      </p:cBhvr>
                                      <p:tavLst>
                                        <p:tav tm="0">
                                          <p:val>
                                            <p:strVal val="1+#ppt_h/2"/>
                                          </p:val>
                                        </p:tav>
                                        <p:tav tm="100000">
                                          <p:val>
                                            <p:strVal val="#ppt_y"/>
                                          </p:val>
                                        </p:tav>
                                      </p:tavLst>
                                    </p:anim>
                                  </p:childTnLst>
                                </p:cTn>
                              </p:par>
                            </p:childTnLst>
                          </p:cTn>
                        </p:par>
                      </p:childTnLst>
                    </p:cTn>
                  </p:par>
                  <p:par>
                    <p:cTn id="155" fill="hold">
                      <p:stCondLst>
                        <p:cond delay="indefinite"/>
                      </p:stCondLst>
                      <p:childTnLst>
                        <p:par>
                          <p:cTn id="156" fill="hold">
                            <p:stCondLst>
                              <p:cond delay="0"/>
                            </p:stCondLst>
                            <p:childTnLst>
                              <p:par>
                                <p:cTn id="157" presetID="2" presetClass="entr" presetSubtype="4" fill="hold" grpId="0" nodeType="clickEffect">
                                  <p:stCondLst>
                                    <p:cond delay="0"/>
                                  </p:stCondLst>
                                  <p:childTnLst>
                                    <p:set>
                                      <p:cBhvr>
                                        <p:cTn id="158" dur="1" fill="hold">
                                          <p:stCondLst>
                                            <p:cond delay="0"/>
                                          </p:stCondLst>
                                        </p:cTn>
                                        <p:tgtEl>
                                          <p:spTgt spid="22"/>
                                        </p:tgtEl>
                                        <p:attrNameLst>
                                          <p:attrName>style.visibility</p:attrName>
                                        </p:attrNameLst>
                                      </p:cBhvr>
                                      <p:to>
                                        <p:strVal val="visible"/>
                                      </p:to>
                                    </p:set>
                                    <p:anim calcmode="lin" valueType="num">
                                      <p:cBhvr additive="base">
                                        <p:cTn id="159" dur="500" fill="hold"/>
                                        <p:tgtEl>
                                          <p:spTgt spid="22"/>
                                        </p:tgtEl>
                                        <p:attrNameLst>
                                          <p:attrName>ppt_x</p:attrName>
                                        </p:attrNameLst>
                                      </p:cBhvr>
                                      <p:tavLst>
                                        <p:tav tm="0">
                                          <p:val>
                                            <p:strVal val="#ppt_x"/>
                                          </p:val>
                                        </p:tav>
                                        <p:tav tm="100000">
                                          <p:val>
                                            <p:strVal val="#ppt_x"/>
                                          </p:val>
                                        </p:tav>
                                      </p:tavLst>
                                    </p:anim>
                                    <p:anim calcmode="lin" valueType="num">
                                      <p:cBhvr additive="base">
                                        <p:cTn id="160" dur="500" fill="hold"/>
                                        <p:tgtEl>
                                          <p:spTgt spid="22"/>
                                        </p:tgtEl>
                                        <p:attrNameLst>
                                          <p:attrName>ppt_y</p:attrName>
                                        </p:attrNameLst>
                                      </p:cBhvr>
                                      <p:tavLst>
                                        <p:tav tm="0">
                                          <p:val>
                                            <p:strVal val="1+#ppt_h/2"/>
                                          </p:val>
                                        </p:tav>
                                        <p:tav tm="100000">
                                          <p:val>
                                            <p:strVal val="#ppt_y"/>
                                          </p:val>
                                        </p:tav>
                                      </p:tavLst>
                                    </p:anim>
                                  </p:childTnLst>
                                </p:cTn>
                              </p:par>
                              <p:par>
                                <p:cTn id="161" presetID="2" presetClass="entr" presetSubtype="4" fill="hold" grpId="0" nodeType="withEffect">
                                  <p:stCondLst>
                                    <p:cond delay="0"/>
                                  </p:stCondLst>
                                  <p:childTnLst>
                                    <p:set>
                                      <p:cBhvr>
                                        <p:cTn id="162" dur="1" fill="hold">
                                          <p:stCondLst>
                                            <p:cond delay="0"/>
                                          </p:stCondLst>
                                        </p:cTn>
                                        <p:tgtEl>
                                          <p:spTgt spid="21"/>
                                        </p:tgtEl>
                                        <p:attrNameLst>
                                          <p:attrName>style.visibility</p:attrName>
                                        </p:attrNameLst>
                                      </p:cBhvr>
                                      <p:to>
                                        <p:strVal val="visible"/>
                                      </p:to>
                                    </p:set>
                                    <p:anim calcmode="lin" valueType="num">
                                      <p:cBhvr additive="base">
                                        <p:cTn id="163" dur="500" fill="hold"/>
                                        <p:tgtEl>
                                          <p:spTgt spid="21"/>
                                        </p:tgtEl>
                                        <p:attrNameLst>
                                          <p:attrName>ppt_x</p:attrName>
                                        </p:attrNameLst>
                                      </p:cBhvr>
                                      <p:tavLst>
                                        <p:tav tm="0">
                                          <p:val>
                                            <p:strVal val="#ppt_x"/>
                                          </p:val>
                                        </p:tav>
                                        <p:tav tm="100000">
                                          <p:val>
                                            <p:strVal val="#ppt_x"/>
                                          </p:val>
                                        </p:tav>
                                      </p:tavLst>
                                    </p:anim>
                                    <p:anim calcmode="lin" valueType="num">
                                      <p:cBhvr additive="base">
                                        <p:cTn id="164" dur="500" fill="hold"/>
                                        <p:tgtEl>
                                          <p:spTgt spid="21"/>
                                        </p:tgtEl>
                                        <p:attrNameLst>
                                          <p:attrName>ppt_y</p:attrName>
                                        </p:attrNameLst>
                                      </p:cBhvr>
                                      <p:tavLst>
                                        <p:tav tm="0">
                                          <p:val>
                                            <p:strVal val="1+#ppt_h/2"/>
                                          </p:val>
                                        </p:tav>
                                        <p:tav tm="100000">
                                          <p:val>
                                            <p:strVal val="#ppt_y"/>
                                          </p:val>
                                        </p:tav>
                                      </p:tavLst>
                                    </p:anim>
                                  </p:childTnLst>
                                </p:cTn>
                              </p:par>
                              <p:par>
                                <p:cTn id="165" presetID="2" presetClass="entr" presetSubtype="4" fill="hold" nodeType="withEffect">
                                  <p:stCondLst>
                                    <p:cond delay="0"/>
                                  </p:stCondLst>
                                  <p:childTnLst>
                                    <p:set>
                                      <p:cBhvr>
                                        <p:cTn id="166" dur="1" fill="hold">
                                          <p:stCondLst>
                                            <p:cond delay="0"/>
                                          </p:stCondLst>
                                        </p:cTn>
                                        <p:tgtEl>
                                          <p:spTgt spid="13"/>
                                        </p:tgtEl>
                                        <p:attrNameLst>
                                          <p:attrName>style.visibility</p:attrName>
                                        </p:attrNameLst>
                                      </p:cBhvr>
                                      <p:to>
                                        <p:strVal val="visible"/>
                                      </p:to>
                                    </p:set>
                                    <p:anim calcmode="lin" valueType="num">
                                      <p:cBhvr additive="base">
                                        <p:cTn id="167" dur="500" fill="hold"/>
                                        <p:tgtEl>
                                          <p:spTgt spid="13"/>
                                        </p:tgtEl>
                                        <p:attrNameLst>
                                          <p:attrName>ppt_x</p:attrName>
                                        </p:attrNameLst>
                                      </p:cBhvr>
                                      <p:tavLst>
                                        <p:tav tm="0">
                                          <p:val>
                                            <p:strVal val="#ppt_x"/>
                                          </p:val>
                                        </p:tav>
                                        <p:tav tm="100000">
                                          <p:val>
                                            <p:strVal val="#ppt_x"/>
                                          </p:val>
                                        </p:tav>
                                      </p:tavLst>
                                    </p:anim>
                                    <p:anim calcmode="lin" valueType="num">
                                      <p:cBhvr additive="base">
                                        <p:cTn id="168" dur="500" fill="hold"/>
                                        <p:tgtEl>
                                          <p:spTgt spid="13"/>
                                        </p:tgtEl>
                                        <p:attrNameLst>
                                          <p:attrName>ppt_y</p:attrName>
                                        </p:attrNameLst>
                                      </p:cBhvr>
                                      <p:tavLst>
                                        <p:tav tm="0">
                                          <p:val>
                                            <p:strVal val="1+#ppt_h/2"/>
                                          </p:val>
                                        </p:tav>
                                        <p:tav tm="100000">
                                          <p:val>
                                            <p:strVal val="#ppt_y"/>
                                          </p:val>
                                        </p:tav>
                                      </p:tavLst>
                                    </p:anim>
                                  </p:childTnLst>
                                </p:cTn>
                              </p:par>
                              <p:par>
                                <p:cTn id="169" presetID="2" presetClass="entr" presetSubtype="4" fill="hold" grpId="0" nodeType="withEffect">
                                  <p:stCondLst>
                                    <p:cond delay="0"/>
                                  </p:stCondLst>
                                  <p:childTnLst>
                                    <p:set>
                                      <p:cBhvr>
                                        <p:cTn id="170" dur="1" fill="hold">
                                          <p:stCondLst>
                                            <p:cond delay="0"/>
                                          </p:stCondLst>
                                        </p:cTn>
                                        <p:tgtEl>
                                          <p:spTgt spid="60"/>
                                        </p:tgtEl>
                                        <p:attrNameLst>
                                          <p:attrName>style.visibility</p:attrName>
                                        </p:attrNameLst>
                                      </p:cBhvr>
                                      <p:to>
                                        <p:strVal val="visible"/>
                                      </p:to>
                                    </p:set>
                                    <p:anim calcmode="lin" valueType="num">
                                      <p:cBhvr additive="base">
                                        <p:cTn id="171" dur="500" fill="hold"/>
                                        <p:tgtEl>
                                          <p:spTgt spid="60"/>
                                        </p:tgtEl>
                                        <p:attrNameLst>
                                          <p:attrName>ppt_x</p:attrName>
                                        </p:attrNameLst>
                                      </p:cBhvr>
                                      <p:tavLst>
                                        <p:tav tm="0">
                                          <p:val>
                                            <p:strVal val="#ppt_x"/>
                                          </p:val>
                                        </p:tav>
                                        <p:tav tm="100000">
                                          <p:val>
                                            <p:strVal val="#ppt_x"/>
                                          </p:val>
                                        </p:tav>
                                      </p:tavLst>
                                    </p:anim>
                                    <p:anim calcmode="lin" valueType="num">
                                      <p:cBhvr additive="base">
                                        <p:cTn id="172"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173" fill="hold">
                      <p:stCondLst>
                        <p:cond delay="indefinite"/>
                      </p:stCondLst>
                      <p:childTnLst>
                        <p:par>
                          <p:cTn id="174" fill="hold">
                            <p:stCondLst>
                              <p:cond delay="0"/>
                            </p:stCondLst>
                            <p:childTnLst>
                              <p:par>
                                <p:cTn id="175" presetID="42" presetClass="entr" presetSubtype="0" fill="hold" grpId="0" nodeType="clickEffect">
                                  <p:stCondLst>
                                    <p:cond delay="0"/>
                                  </p:stCondLst>
                                  <p:childTnLst>
                                    <p:set>
                                      <p:cBhvr>
                                        <p:cTn id="176" dur="1" fill="hold">
                                          <p:stCondLst>
                                            <p:cond delay="0"/>
                                          </p:stCondLst>
                                        </p:cTn>
                                        <p:tgtEl>
                                          <p:spTgt spid="68"/>
                                        </p:tgtEl>
                                        <p:attrNameLst>
                                          <p:attrName>style.visibility</p:attrName>
                                        </p:attrNameLst>
                                      </p:cBhvr>
                                      <p:to>
                                        <p:strVal val="visible"/>
                                      </p:to>
                                    </p:set>
                                    <p:animEffect transition="in" filter="fade">
                                      <p:cBhvr>
                                        <p:cTn id="177" dur="1000"/>
                                        <p:tgtEl>
                                          <p:spTgt spid="68"/>
                                        </p:tgtEl>
                                      </p:cBhvr>
                                    </p:animEffect>
                                    <p:anim calcmode="lin" valueType="num">
                                      <p:cBhvr>
                                        <p:cTn id="178" dur="1000" fill="hold"/>
                                        <p:tgtEl>
                                          <p:spTgt spid="68"/>
                                        </p:tgtEl>
                                        <p:attrNameLst>
                                          <p:attrName>ppt_x</p:attrName>
                                        </p:attrNameLst>
                                      </p:cBhvr>
                                      <p:tavLst>
                                        <p:tav tm="0">
                                          <p:val>
                                            <p:strVal val="#ppt_x"/>
                                          </p:val>
                                        </p:tav>
                                        <p:tav tm="100000">
                                          <p:val>
                                            <p:strVal val="#ppt_x"/>
                                          </p:val>
                                        </p:tav>
                                      </p:tavLst>
                                    </p:anim>
                                    <p:anim calcmode="lin" valueType="num">
                                      <p:cBhvr>
                                        <p:cTn id="179" dur="1000" fill="hold"/>
                                        <p:tgtEl>
                                          <p:spTgt spid="68"/>
                                        </p:tgtEl>
                                        <p:attrNameLst>
                                          <p:attrName>ppt_y</p:attrName>
                                        </p:attrNameLst>
                                      </p:cBhvr>
                                      <p:tavLst>
                                        <p:tav tm="0">
                                          <p:val>
                                            <p:strVal val="#ppt_y+.1"/>
                                          </p:val>
                                        </p:tav>
                                        <p:tav tm="100000">
                                          <p:val>
                                            <p:strVal val="#ppt_y"/>
                                          </p:val>
                                        </p:tav>
                                      </p:tavLst>
                                    </p:anim>
                                  </p:childTnLst>
                                </p:cTn>
                              </p:par>
                              <p:par>
                                <p:cTn id="180" presetID="42" presetClass="entr" presetSubtype="0" fill="hold" nodeType="withEffect">
                                  <p:stCondLst>
                                    <p:cond delay="0"/>
                                  </p:stCondLst>
                                  <p:childTnLst>
                                    <p:set>
                                      <p:cBhvr>
                                        <p:cTn id="181" dur="1" fill="hold">
                                          <p:stCondLst>
                                            <p:cond delay="0"/>
                                          </p:stCondLst>
                                        </p:cTn>
                                        <p:tgtEl>
                                          <p:spTgt spid="26"/>
                                        </p:tgtEl>
                                        <p:attrNameLst>
                                          <p:attrName>style.visibility</p:attrName>
                                        </p:attrNameLst>
                                      </p:cBhvr>
                                      <p:to>
                                        <p:strVal val="visible"/>
                                      </p:to>
                                    </p:set>
                                    <p:animEffect transition="in" filter="fade">
                                      <p:cBhvr>
                                        <p:cTn id="182" dur="1000"/>
                                        <p:tgtEl>
                                          <p:spTgt spid="26"/>
                                        </p:tgtEl>
                                      </p:cBhvr>
                                    </p:animEffect>
                                    <p:anim calcmode="lin" valueType="num">
                                      <p:cBhvr>
                                        <p:cTn id="183" dur="1000" fill="hold"/>
                                        <p:tgtEl>
                                          <p:spTgt spid="26"/>
                                        </p:tgtEl>
                                        <p:attrNameLst>
                                          <p:attrName>ppt_x</p:attrName>
                                        </p:attrNameLst>
                                      </p:cBhvr>
                                      <p:tavLst>
                                        <p:tav tm="0">
                                          <p:val>
                                            <p:strVal val="#ppt_x"/>
                                          </p:val>
                                        </p:tav>
                                        <p:tav tm="100000">
                                          <p:val>
                                            <p:strVal val="#ppt_x"/>
                                          </p:val>
                                        </p:tav>
                                      </p:tavLst>
                                    </p:anim>
                                    <p:anim calcmode="lin" valueType="num">
                                      <p:cBhvr>
                                        <p:cTn id="184" dur="1000" fill="hold"/>
                                        <p:tgtEl>
                                          <p:spTgt spid="26"/>
                                        </p:tgtEl>
                                        <p:attrNameLst>
                                          <p:attrName>ppt_y</p:attrName>
                                        </p:attrNameLst>
                                      </p:cBhvr>
                                      <p:tavLst>
                                        <p:tav tm="0">
                                          <p:val>
                                            <p:strVal val="#ppt_y+.1"/>
                                          </p:val>
                                        </p:tav>
                                        <p:tav tm="100000">
                                          <p:val>
                                            <p:strVal val="#ppt_y"/>
                                          </p:val>
                                        </p:tav>
                                      </p:tavLst>
                                    </p:anim>
                                  </p:childTnLst>
                                </p:cTn>
                              </p:par>
                              <p:par>
                                <p:cTn id="185" presetID="42" presetClass="entr" presetSubtype="0" fill="hold" grpId="0" nodeType="withEffect">
                                  <p:stCondLst>
                                    <p:cond delay="0"/>
                                  </p:stCondLst>
                                  <p:childTnLst>
                                    <p:set>
                                      <p:cBhvr>
                                        <p:cTn id="186" dur="1" fill="hold">
                                          <p:stCondLst>
                                            <p:cond delay="0"/>
                                          </p:stCondLst>
                                        </p:cTn>
                                        <p:tgtEl>
                                          <p:spTgt spid="69"/>
                                        </p:tgtEl>
                                        <p:attrNameLst>
                                          <p:attrName>style.visibility</p:attrName>
                                        </p:attrNameLst>
                                      </p:cBhvr>
                                      <p:to>
                                        <p:strVal val="visible"/>
                                      </p:to>
                                    </p:set>
                                    <p:animEffect transition="in" filter="fade">
                                      <p:cBhvr>
                                        <p:cTn id="187" dur="1000"/>
                                        <p:tgtEl>
                                          <p:spTgt spid="69"/>
                                        </p:tgtEl>
                                      </p:cBhvr>
                                    </p:animEffect>
                                    <p:anim calcmode="lin" valueType="num">
                                      <p:cBhvr>
                                        <p:cTn id="188" dur="1000" fill="hold"/>
                                        <p:tgtEl>
                                          <p:spTgt spid="69"/>
                                        </p:tgtEl>
                                        <p:attrNameLst>
                                          <p:attrName>ppt_x</p:attrName>
                                        </p:attrNameLst>
                                      </p:cBhvr>
                                      <p:tavLst>
                                        <p:tav tm="0">
                                          <p:val>
                                            <p:strVal val="#ppt_x"/>
                                          </p:val>
                                        </p:tav>
                                        <p:tav tm="100000">
                                          <p:val>
                                            <p:strVal val="#ppt_x"/>
                                          </p:val>
                                        </p:tav>
                                      </p:tavLst>
                                    </p:anim>
                                    <p:anim calcmode="lin" valueType="num">
                                      <p:cBhvr>
                                        <p:cTn id="189"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190" fill="hold">
                      <p:stCondLst>
                        <p:cond delay="indefinite"/>
                      </p:stCondLst>
                      <p:childTnLst>
                        <p:par>
                          <p:cTn id="191" fill="hold">
                            <p:stCondLst>
                              <p:cond delay="0"/>
                            </p:stCondLst>
                            <p:childTnLst>
                              <p:par>
                                <p:cTn id="192" presetID="2" presetClass="entr" presetSubtype="4" fill="hold" nodeType="clickEffect">
                                  <p:stCondLst>
                                    <p:cond delay="0"/>
                                  </p:stCondLst>
                                  <p:childTnLst>
                                    <p:set>
                                      <p:cBhvr>
                                        <p:cTn id="193" dur="1" fill="hold">
                                          <p:stCondLst>
                                            <p:cond delay="0"/>
                                          </p:stCondLst>
                                        </p:cTn>
                                        <p:tgtEl>
                                          <p:spTgt spid="51"/>
                                        </p:tgtEl>
                                        <p:attrNameLst>
                                          <p:attrName>style.visibility</p:attrName>
                                        </p:attrNameLst>
                                      </p:cBhvr>
                                      <p:to>
                                        <p:strVal val="visible"/>
                                      </p:to>
                                    </p:set>
                                    <p:anim calcmode="lin" valueType="num">
                                      <p:cBhvr additive="base">
                                        <p:cTn id="194" dur="500" fill="hold"/>
                                        <p:tgtEl>
                                          <p:spTgt spid="51"/>
                                        </p:tgtEl>
                                        <p:attrNameLst>
                                          <p:attrName>ppt_x</p:attrName>
                                        </p:attrNameLst>
                                      </p:cBhvr>
                                      <p:tavLst>
                                        <p:tav tm="0">
                                          <p:val>
                                            <p:strVal val="#ppt_x"/>
                                          </p:val>
                                        </p:tav>
                                        <p:tav tm="100000">
                                          <p:val>
                                            <p:strVal val="#ppt_x"/>
                                          </p:val>
                                        </p:tav>
                                      </p:tavLst>
                                    </p:anim>
                                    <p:anim calcmode="lin" valueType="num">
                                      <p:cBhvr additive="base">
                                        <p:cTn id="195"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96" fill="hold">
                      <p:stCondLst>
                        <p:cond delay="indefinite"/>
                      </p:stCondLst>
                      <p:childTnLst>
                        <p:par>
                          <p:cTn id="197" fill="hold">
                            <p:stCondLst>
                              <p:cond delay="0"/>
                            </p:stCondLst>
                            <p:childTnLst>
                              <p:par>
                                <p:cTn id="198" presetID="2" presetClass="entr" presetSubtype="4" fill="hold" grpId="0" nodeType="clickEffect">
                                  <p:stCondLst>
                                    <p:cond delay="0"/>
                                  </p:stCondLst>
                                  <p:childTnLst>
                                    <p:set>
                                      <p:cBhvr>
                                        <p:cTn id="199" dur="1" fill="hold">
                                          <p:stCondLst>
                                            <p:cond delay="0"/>
                                          </p:stCondLst>
                                        </p:cTn>
                                        <p:tgtEl>
                                          <p:spTgt spid="74"/>
                                        </p:tgtEl>
                                        <p:attrNameLst>
                                          <p:attrName>style.visibility</p:attrName>
                                        </p:attrNameLst>
                                      </p:cBhvr>
                                      <p:to>
                                        <p:strVal val="visible"/>
                                      </p:to>
                                    </p:set>
                                    <p:anim calcmode="lin" valueType="num">
                                      <p:cBhvr additive="base">
                                        <p:cTn id="200" dur="500" fill="hold"/>
                                        <p:tgtEl>
                                          <p:spTgt spid="74"/>
                                        </p:tgtEl>
                                        <p:attrNameLst>
                                          <p:attrName>ppt_x</p:attrName>
                                        </p:attrNameLst>
                                      </p:cBhvr>
                                      <p:tavLst>
                                        <p:tav tm="0">
                                          <p:val>
                                            <p:strVal val="#ppt_x"/>
                                          </p:val>
                                        </p:tav>
                                        <p:tav tm="100000">
                                          <p:val>
                                            <p:strVal val="#ppt_x"/>
                                          </p:val>
                                        </p:tav>
                                      </p:tavLst>
                                    </p:anim>
                                    <p:anim calcmode="lin" valueType="num">
                                      <p:cBhvr additive="base">
                                        <p:cTn id="201" dur="500" fill="hold"/>
                                        <p:tgtEl>
                                          <p:spTgt spid="74"/>
                                        </p:tgtEl>
                                        <p:attrNameLst>
                                          <p:attrName>ppt_y</p:attrName>
                                        </p:attrNameLst>
                                      </p:cBhvr>
                                      <p:tavLst>
                                        <p:tav tm="0">
                                          <p:val>
                                            <p:strVal val="1+#ppt_h/2"/>
                                          </p:val>
                                        </p:tav>
                                        <p:tav tm="100000">
                                          <p:val>
                                            <p:strVal val="#ppt_y"/>
                                          </p:val>
                                        </p:tav>
                                      </p:tavLst>
                                    </p:anim>
                                  </p:childTnLst>
                                </p:cTn>
                              </p:par>
                              <p:par>
                                <p:cTn id="202" presetID="2" presetClass="entr" presetSubtype="4" fill="hold" grpId="0" nodeType="withEffect">
                                  <p:stCondLst>
                                    <p:cond delay="0"/>
                                  </p:stCondLst>
                                  <p:childTnLst>
                                    <p:set>
                                      <p:cBhvr>
                                        <p:cTn id="203" dur="1" fill="hold">
                                          <p:stCondLst>
                                            <p:cond delay="0"/>
                                          </p:stCondLst>
                                        </p:cTn>
                                        <p:tgtEl>
                                          <p:spTgt spid="72"/>
                                        </p:tgtEl>
                                        <p:attrNameLst>
                                          <p:attrName>style.visibility</p:attrName>
                                        </p:attrNameLst>
                                      </p:cBhvr>
                                      <p:to>
                                        <p:strVal val="visible"/>
                                      </p:to>
                                    </p:set>
                                    <p:anim calcmode="lin" valueType="num">
                                      <p:cBhvr additive="base">
                                        <p:cTn id="204" dur="500" fill="hold"/>
                                        <p:tgtEl>
                                          <p:spTgt spid="72"/>
                                        </p:tgtEl>
                                        <p:attrNameLst>
                                          <p:attrName>ppt_x</p:attrName>
                                        </p:attrNameLst>
                                      </p:cBhvr>
                                      <p:tavLst>
                                        <p:tav tm="0">
                                          <p:val>
                                            <p:strVal val="#ppt_x"/>
                                          </p:val>
                                        </p:tav>
                                        <p:tav tm="100000">
                                          <p:val>
                                            <p:strVal val="#ppt_x"/>
                                          </p:val>
                                        </p:tav>
                                      </p:tavLst>
                                    </p:anim>
                                    <p:anim calcmode="lin" valueType="num">
                                      <p:cBhvr additive="base">
                                        <p:cTn id="205" dur="500" fill="hold"/>
                                        <p:tgtEl>
                                          <p:spTgt spid="72"/>
                                        </p:tgtEl>
                                        <p:attrNameLst>
                                          <p:attrName>ppt_y</p:attrName>
                                        </p:attrNameLst>
                                      </p:cBhvr>
                                      <p:tavLst>
                                        <p:tav tm="0">
                                          <p:val>
                                            <p:strVal val="1+#ppt_h/2"/>
                                          </p:val>
                                        </p:tav>
                                        <p:tav tm="100000">
                                          <p:val>
                                            <p:strVal val="#ppt_y"/>
                                          </p:val>
                                        </p:tav>
                                      </p:tavLst>
                                    </p:anim>
                                  </p:childTnLst>
                                </p:cTn>
                              </p:par>
                              <p:par>
                                <p:cTn id="206" presetID="2" presetClass="entr" presetSubtype="4" fill="hold" grpId="0" nodeType="withEffect">
                                  <p:stCondLst>
                                    <p:cond delay="0"/>
                                  </p:stCondLst>
                                  <p:childTnLst>
                                    <p:set>
                                      <p:cBhvr>
                                        <p:cTn id="207" dur="1" fill="hold">
                                          <p:stCondLst>
                                            <p:cond delay="0"/>
                                          </p:stCondLst>
                                        </p:cTn>
                                        <p:tgtEl>
                                          <p:spTgt spid="73"/>
                                        </p:tgtEl>
                                        <p:attrNameLst>
                                          <p:attrName>style.visibility</p:attrName>
                                        </p:attrNameLst>
                                      </p:cBhvr>
                                      <p:to>
                                        <p:strVal val="visible"/>
                                      </p:to>
                                    </p:set>
                                    <p:anim calcmode="lin" valueType="num">
                                      <p:cBhvr additive="base">
                                        <p:cTn id="208" dur="500" fill="hold"/>
                                        <p:tgtEl>
                                          <p:spTgt spid="73"/>
                                        </p:tgtEl>
                                        <p:attrNameLst>
                                          <p:attrName>ppt_x</p:attrName>
                                        </p:attrNameLst>
                                      </p:cBhvr>
                                      <p:tavLst>
                                        <p:tav tm="0">
                                          <p:val>
                                            <p:strVal val="#ppt_x"/>
                                          </p:val>
                                        </p:tav>
                                        <p:tav tm="100000">
                                          <p:val>
                                            <p:strVal val="#ppt_x"/>
                                          </p:val>
                                        </p:tav>
                                      </p:tavLst>
                                    </p:anim>
                                    <p:anim calcmode="lin" valueType="num">
                                      <p:cBhvr additive="base">
                                        <p:cTn id="209" dur="500" fill="hold"/>
                                        <p:tgtEl>
                                          <p:spTgt spid="73"/>
                                        </p:tgtEl>
                                        <p:attrNameLst>
                                          <p:attrName>ppt_y</p:attrName>
                                        </p:attrNameLst>
                                      </p:cBhvr>
                                      <p:tavLst>
                                        <p:tav tm="0">
                                          <p:val>
                                            <p:strVal val="1+#ppt_h/2"/>
                                          </p:val>
                                        </p:tav>
                                        <p:tav tm="100000">
                                          <p:val>
                                            <p:strVal val="#ppt_y"/>
                                          </p:val>
                                        </p:tav>
                                      </p:tavLst>
                                    </p:anim>
                                  </p:childTnLst>
                                </p:cTn>
                              </p:par>
                              <p:par>
                                <p:cTn id="210" presetID="2" presetClass="entr" presetSubtype="4" fill="hold" nodeType="withEffect">
                                  <p:stCondLst>
                                    <p:cond delay="0"/>
                                  </p:stCondLst>
                                  <p:childTnLst>
                                    <p:set>
                                      <p:cBhvr>
                                        <p:cTn id="211" dur="1" fill="hold">
                                          <p:stCondLst>
                                            <p:cond delay="0"/>
                                          </p:stCondLst>
                                        </p:cTn>
                                        <p:tgtEl>
                                          <p:spTgt spid="27"/>
                                        </p:tgtEl>
                                        <p:attrNameLst>
                                          <p:attrName>style.visibility</p:attrName>
                                        </p:attrNameLst>
                                      </p:cBhvr>
                                      <p:to>
                                        <p:strVal val="visible"/>
                                      </p:to>
                                    </p:set>
                                    <p:anim calcmode="lin" valueType="num">
                                      <p:cBhvr additive="base">
                                        <p:cTn id="212" dur="500" fill="hold"/>
                                        <p:tgtEl>
                                          <p:spTgt spid="27"/>
                                        </p:tgtEl>
                                        <p:attrNameLst>
                                          <p:attrName>ppt_x</p:attrName>
                                        </p:attrNameLst>
                                      </p:cBhvr>
                                      <p:tavLst>
                                        <p:tav tm="0">
                                          <p:val>
                                            <p:strVal val="#ppt_x"/>
                                          </p:val>
                                        </p:tav>
                                        <p:tav tm="100000">
                                          <p:val>
                                            <p:strVal val="#ppt_x"/>
                                          </p:val>
                                        </p:tav>
                                      </p:tavLst>
                                    </p:anim>
                                    <p:anim calcmode="lin" valueType="num">
                                      <p:cBhvr additive="base">
                                        <p:cTn id="213"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2" grpId="0" animBg="1"/>
      <p:bldP spid="63" grpId="0" animBg="1"/>
      <p:bldP spid="64" grpId="0" animBg="1"/>
      <p:bldP spid="43" grpId="0" animBg="1"/>
      <p:bldP spid="44" grpId="0" animBg="1"/>
      <p:bldP spid="45" grpId="0" animBg="1"/>
      <p:bldP spid="50" grpId="0" animBg="1"/>
      <p:bldP spid="46" grpId="0" animBg="1"/>
      <p:bldP spid="17" grpId="0" animBg="1"/>
      <p:bldP spid="58" grpId="0" animBg="1"/>
      <p:bldP spid="21" grpId="0" animBg="1"/>
      <p:bldP spid="22" grpId="0" animBg="1"/>
      <p:bldP spid="60" grpId="0" animBg="1"/>
      <p:bldP spid="65" grpId="0" animBg="1"/>
      <p:bldP spid="66" grpId="0" animBg="1"/>
      <p:bldP spid="68" grpId="0" animBg="1"/>
      <p:bldP spid="69" grpId="0" animBg="1"/>
      <p:bldP spid="70" grpId="0" animBg="1"/>
      <p:bldP spid="72" grpId="0" animBg="1"/>
      <p:bldP spid="73" grpId="0" animBg="1"/>
      <p:bldP spid="7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0915E-9A3C-4BCE-86EB-97ABF89B8D46}"/>
              </a:ext>
            </a:extLst>
          </p:cNvPr>
          <p:cNvSpPr>
            <a:spLocks noGrp="1"/>
          </p:cNvSpPr>
          <p:nvPr>
            <p:ph type="title"/>
          </p:nvPr>
        </p:nvSpPr>
        <p:spPr/>
        <p:txBody>
          <a:bodyPr/>
          <a:lstStyle/>
          <a:p>
            <a:r>
              <a:rPr lang="de-DE" dirty="0"/>
              <a:t>Findings</a:t>
            </a:r>
          </a:p>
        </p:txBody>
      </p:sp>
      <p:sp>
        <p:nvSpPr>
          <p:cNvPr id="3" name="Text Placeholder 2">
            <a:extLst>
              <a:ext uri="{FF2B5EF4-FFF2-40B4-BE49-F238E27FC236}">
                <a16:creationId xmlns:a16="http://schemas.microsoft.com/office/drawing/2014/main" id="{5B9A04BD-F493-46DE-8B60-688C56407D94}"/>
              </a:ext>
            </a:extLst>
          </p:cNvPr>
          <p:cNvSpPr>
            <a:spLocks noGrp="1"/>
          </p:cNvSpPr>
          <p:nvPr>
            <p:ph type="body" sz="quarter" idx="10"/>
          </p:nvPr>
        </p:nvSpPr>
        <p:spPr>
          <a:xfrm>
            <a:off x="407987" y="1052737"/>
            <a:ext cx="8028273" cy="3456353"/>
          </a:xfrm>
        </p:spPr>
        <p:txBody>
          <a:bodyPr>
            <a:normAutofit/>
          </a:bodyPr>
          <a:lstStyle/>
          <a:p>
            <a:pPr marL="285750" indent="-285750">
              <a:buFont typeface="Arial" panose="020B0604020202020204" pitchFamily="34" charset="0"/>
              <a:buChar char="•"/>
            </a:pPr>
            <a:r>
              <a:rPr lang="en-US" dirty="0"/>
              <a:t>if we want to measure the success of automatic creation of knowledge graphs through NLP, we need a human factor as a benchmark  - so what defines a good knowledge graph? </a:t>
            </a:r>
          </a:p>
          <a:p>
            <a:pPr marL="742950" lvl="2" indent="-285750">
              <a:buFont typeface="Courier New" panose="02070309020205020404" pitchFamily="49" charset="0"/>
              <a:buChar char="o"/>
            </a:pPr>
            <a:r>
              <a:rPr lang="en-US" sz="1500" dirty="0">
                <a:solidFill>
                  <a:schemeClr val="tx2"/>
                </a:solidFill>
                <a:latin typeface="Ubuntu" panose="020B0504030602030204"/>
              </a:rPr>
              <a:t>correct identification of domain</a:t>
            </a:r>
          </a:p>
          <a:p>
            <a:pPr marL="742950" lvl="2" indent="-285750">
              <a:buFont typeface="Courier New" panose="02070309020205020404" pitchFamily="49" charset="0"/>
              <a:buChar char="o"/>
            </a:pPr>
            <a:r>
              <a:rPr lang="en-US" sz="1500" dirty="0">
                <a:solidFill>
                  <a:schemeClr val="tx2"/>
                </a:solidFill>
                <a:latin typeface="Ubuntu" panose="020B0504030602030204"/>
              </a:rPr>
              <a:t>accuracy of naming for entities and relationships</a:t>
            </a:r>
            <a:endParaRPr lang="de-DE" sz="1500" dirty="0"/>
          </a:p>
          <a:p>
            <a:pPr marL="742950" lvl="2" indent="-285750">
              <a:buFont typeface="Courier New" panose="02070309020205020404" pitchFamily="49" charset="0"/>
              <a:buChar char="o"/>
            </a:pPr>
            <a:r>
              <a:rPr lang="en-US" sz="1500" dirty="0">
                <a:solidFill>
                  <a:schemeClr val="tx2"/>
                </a:solidFill>
                <a:latin typeface="Ubuntu" panose="020B0504030602030204"/>
              </a:rPr>
              <a:t>quality of derived relations</a:t>
            </a:r>
          </a:p>
          <a:p>
            <a:pPr marL="742950" lvl="2" indent="-285750">
              <a:buFont typeface="Courier New" panose="02070309020205020404" pitchFamily="49" charset="0"/>
              <a:buChar char="o"/>
            </a:pPr>
            <a:r>
              <a:rPr lang="en-US" sz="1500" dirty="0">
                <a:solidFill>
                  <a:schemeClr val="tx2"/>
                </a:solidFill>
                <a:latin typeface="Ubuntu" panose="020B0504030602030204"/>
              </a:rPr>
              <a:t>high breadth and depth of entity and relationship variance (“nested” constructs, amount)</a:t>
            </a:r>
          </a:p>
          <a:p>
            <a:pPr marL="742950" lvl="2" indent="-285750">
              <a:spcAft>
                <a:spcPts val="1200"/>
              </a:spcAft>
              <a:buFont typeface="Courier New" panose="02070309020205020404" pitchFamily="49" charset="0"/>
              <a:buChar char="o"/>
            </a:pPr>
            <a:r>
              <a:rPr lang="en-US" sz="1500" dirty="0">
                <a:solidFill>
                  <a:schemeClr val="tx2"/>
                </a:solidFill>
                <a:latin typeface="Ubuntu" panose="020B0504030602030204"/>
              </a:rPr>
              <a:t>reuse of existing vocabulary (being used in other knowledge representations on the web)</a:t>
            </a:r>
          </a:p>
          <a:p>
            <a:pPr marL="285750" indent="-285750">
              <a:buFont typeface="Arial" panose="020B0604020202020204" pitchFamily="34" charset="0"/>
              <a:buChar char="•"/>
            </a:pPr>
            <a:r>
              <a:rPr lang="en-US" dirty="0">
                <a:solidFill>
                  <a:schemeClr val="tx2"/>
                </a:solidFill>
                <a:latin typeface="Ubuntu" panose="020B0504030602030204"/>
              </a:rPr>
              <a:t>while NLP APIs are becoming more and more versatile in recognizing peculiarities in human language, human guidance is needed</a:t>
            </a:r>
          </a:p>
          <a:p>
            <a:pPr marL="285750" indent="-285750">
              <a:buFont typeface="Arial" panose="020B0604020202020204" pitchFamily="34" charset="0"/>
              <a:buChar char="•"/>
            </a:pPr>
            <a:r>
              <a:rPr lang="en-US" dirty="0">
                <a:solidFill>
                  <a:schemeClr val="tx2"/>
                </a:solidFill>
                <a:latin typeface="Ubuntu" panose="020B0504030602030204"/>
              </a:rPr>
              <a:t>Does it shift the role of a data manager? </a:t>
            </a:r>
          </a:p>
        </p:txBody>
      </p:sp>
      <p:sp>
        <p:nvSpPr>
          <p:cNvPr id="5" name="Flowchart: Connector 4">
            <a:extLst>
              <a:ext uri="{FF2B5EF4-FFF2-40B4-BE49-F238E27FC236}">
                <a16:creationId xmlns:a16="http://schemas.microsoft.com/office/drawing/2014/main" id="{092C33D6-8214-47E8-87A9-753F1A0FF24B}"/>
              </a:ext>
            </a:extLst>
          </p:cNvPr>
          <p:cNvSpPr/>
          <p:nvPr/>
        </p:nvSpPr>
        <p:spPr>
          <a:xfrm>
            <a:off x="7788188" y="4309888"/>
            <a:ext cx="1224136" cy="1093083"/>
          </a:xfrm>
          <a:prstGeom prst="flowChartConnector">
            <a:avLst/>
          </a:prstGeom>
          <a:solidFill>
            <a:schemeClr val="tx2">
              <a:lumMod val="20000"/>
              <a:lumOff val="80000"/>
            </a:schemeClr>
          </a:solidFill>
          <a:ln w="635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1" dirty="0">
                <a:solidFill>
                  <a:schemeClr val="tx2">
                    <a:lumMod val="75000"/>
                  </a:schemeClr>
                </a:solidFill>
              </a:rPr>
              <a:t>Data Strategist</a:t>
            </a:r>
          </a:p>
        </p:txBody>
      </p:sp>
      <p:sp>
        <p:nvSpPr>
          <p:cNvPr id="6" name="Flowchart: Connector 5">
            <a:extLst>
              <a:ext uri="{FF2B5EF4-FFF2-40B4-BE49-F238E27FC236}">
                <a16:creationId xmlns:a16="http://schemas.microsoft.com/office/drawing/2014/main" id="{A63A2366-BC33-4BF5-B0D6-D9CA4B84A4B7}"/>
              </a:ext>
            </a:extLst>
          </p:cNvPr>
          <p:cNvSpPr/>
          <p:nvPr/>
        </p:nvSpPr>
        <p:spPr>
          <a:xfrm>
            <a:off x="5483932" y="4309888"/>
            <a:ext cx="1224136" cy="1093083"/>
          </a:xfrm>
          <a:prstGeom prst="flowChartConnector">
            <a:avLst/>
          </a:prstGeom>
          <a:solidFill>
            <a:schemeClr val="accent2">
              <a:lumMod val="40000"/>
              <a:lumOff val="60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1" dirty="0">
                <a:solidFill>
                  <a:schemeClr val="tx2">
                    <a:lumMod val="75000"/>
                  </a:schemeClr>
                </a:solidFill>
              </a:rPr>
              <a:t>Data Manager</a:t>
            </a:r>
          </a:p>
        </p:txBody>
      </p:sp>
      <p:cxnSp>
        <p:nvCxnSpPr>
          <p:cNvPr id="8" name="Straight Arrow Connector 7">
            <a:extLst>
              <a:ext uri="{FF2B5EF4-FFF2-40B4-BE49-F238E27FC236}">
                <a16:creationId xmlns:a16="http://schemas.microsoft.com/office/drawing/2014/main" id="{8F30A1F5-4EC2-4D0D-B70D-97897C33B69E}"/>
              </a:ext>
            </a:extLst>
          </p:cNvPr>
          <p:cNvCxnSpPr>
            <a:stCxn id="6" idx="6"/>
            <a:endCxn id="5" idx="2"/>
          </p:cNvCxnSpPr>
          <p:nvPr/>
        </p:nvCxnSpPr>
        <p:spPr>
          <a:xfrm>
            <a:off x="6708068" y="4856430"/>
            <a:ext cx="1080120" cy="0"/>
          </a:xfrm>
          <a:prstGeom prst="straightConnector1">
            <a:avLst/>
          </a:prstGeom>
          <a:ln w="15875">
            <a:prstDash val="lgDash"/>
            <a:tailEnd type="stealth" w="med" len="lg"/>
          </a:ln>
        </p:spPr>
        <p:style>
          <a:lnRef idx="1">
            <a:schemeClr val="accent1"/>
          </a:lnRef>
          <a:fillRef idx="0">
            <a:schemeClr val="accent1"/>
          </a:fillRef>
          <a:effectRef idx="0">
            <a:schemeClr val="accent1"/>
          </a:effectRef>
          <a:fontRef idx="minor">
            <a:schemeClr val="tx1"/>
          </a:fontRef>
        </p:style>
      </p:cxnSp>
      <p:sp>
        <p:nvSpPr>
          <p:cNvPr id="9" name="Flowchart: Connector 8">
            <a:extLst>
              <a:ext uri="{FF2B5EF4-FFF2-40B4-BE49-F238E27FC236}">
                <a16:creationId xmlns:a16="http://schemas.microsoft.com/office/drawing/2014/main" id="{AF94C0BA-E658-4C85-AF1A-19A40A0E49B7}"/>
              </a:ext>
            </a:extLst>
          </p:cNvPr>
          <p:cNvSpPr/>
          <p:nvPr/>
        </p:nvSpPr>
        <p:spPr>
          <a:xfrm>
            <a:off x="8544272" y="2997200"/>
            <a:ext cx="936104" cy="863600"/>
          </a:xfrm>
          <a:prstGeom prst="flowChartConnector">
            <a:avLst/>
          </a:prstGeom>
          <a:solidFill>
            <a:schemeClr val="tx2">
              <a:lumMod val="20000"/>
              <a:lumOff val="80000"/>
            </a:schemeClr>
          </a:solidFill>
          <a:ln w="254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2">
                    <a:lumMod val="75000"/>
                  </a:schemeClr>
                </a:solidFill>
              </a:rPr>
              <a:t>point &amp; provide</a:t>
            </a:r>
          </a:p>
        </p:txBody>
      </p:sp>
      <p:sp>
        <p:nvSpPr>
          <p:cNvPr id="10" name="Flowchart: Connector 9">
            <a:extLst>
              <a:ext uri="{FF2B5EF4-FFF2-40B4-BE49-F238E27FC236}">
                <a16:creationId xmlns:a16="http://schemas.microsoft.com/office/drawing/2014/main" id="{2F1D26F5-4122-42A0-B6CE-97BBBACB1087}"/>
              </a:ext>
            </a:extLst>
          </p:cNvPr>
          <p:cNvSpPr/>
          <p:nvPr/>
        </p:nvSpPr>
        <p:spPr>
          <a:xfrm>
            <a:off x="9552384" y="3860800"/>
            <a:ext cx="936104" cy="863600"/>
          </a:xfrm>
          <a:prstGeom prst="flowChartConnector">
            <a:avLst/>
          </a:prstGeom>
          <a:solidFill>
            <a:schemeClr val="tx2">
              <a:lumMod val="20000"/>
              <a:lumOff val="80000"/>
            </a:schemeClr>
          </a:solidFill>
          <a:ln w="254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2">
                    <a:lumMod val="75000"/>
                  </a:schemeClr>
                </a:solidFill>
              </a:rPr>
              <a:t>validate &amp; correct</a:t>
            </a:r>
          </a:p>
        </p:txBody>
      </p:sp>
      <p:sp>
        <p:nvSpPr>
          <p:cNvPr id="11" name="Flowchart: Connector 10">
            <a:extLst>
              <a:ext uri="{FF2B5EF4-FFF2-40B4-BE49-F238E27FC236}">
                <a16:creationId xmlns:a16="http://schemas.microsoft.com/office/drawing/2014/main" id="{29C2B033-DBD1-481A-B9D2-486EC0FAD89B}"/>
              </a:ext>
            </a:extLst>
          </p:cNvPr>
          <p:cNvSpPr/>
          <p:nvPr/>
        </p:nvSpPr>
        <p:spPr>
          <a:xfrm>
            <a:off x="9336360" y="5157787"/>
            <a:ext cx="936104" cy="863600"/>
          </a:xfrm>
          <a:prstGeom prst="flowChartConnector">
            <a:avLst/>
          </a:prstGeom>
          <a:solidFill>
            <a:schemeClr val="tx2">
              <a:lumMod val="20000"/>
              <a:lumOff val="80000"/>
            </a:schemeClr>
          </a:solidFill>
          <a:ln w="254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chemeClr val="tx2">
                    <a:lumMod val="75000"/>
                  </a:schemeClr>
                </a:solidFill>
              </a:rPr>
              <a:t>domain expertise</a:t>
            </a:r>
          </a:p>
        </p:txBody>
      </p:sp>
      <p:sp>
        <p:nvSpPr>
          <p:cNvPr id="12" name="Flowchart: Connector 11">
            <a:extLst>
              <a:ext uri="{FF2B5EF4-FFF2-40B4-BE49-F238E27FC236}">
                <a16:creationId xmlns:a16="http://schemas.microsoft.com/office/drawing/2014/main" id="{A6B1350B-0620-40DB-9740-E500BB756C60}"/>
              </a:ext>
            </a:extLst>
          </p:cNvPr>
          <p:cNvSpPr/>
          <p:nvPr/>
        </p:nvSpPr>
        <p:spPr>
          <a:xfrm>
            <a:off x="8238238" y="5852059"/>
            <a:ext cx="936104" cy="863600"/>
          </a:xfrm>
          <a:prstGeom prst="flowChartConnector">
            <a:avLst/>
          </a:prstGeom>
          <a:solidFill>
            <a:schemeClr val="tx2">
              <a:lumMod val="20000"/>
              <a:lumOff val="80000"/>
            </a:schemeClr>
          </a:solidFill>
          <a:ln w="254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chemeClr val="tx2">
                    <a:lumMod val="75000"/>
                  </a:schemeClr>
                </a:solidFill>
              </a:rPr>
              <a:t>Retrieval patterns</a:t>
            </a:r>
          </a:p>
        </p:txBody>
      </p:sp>
      <p:sp>
        <p:nvSpPr>
          <p:cNvPr id="14" name="Flowchart: Connector 13">
            <a:extLst>
              <a:ext uri="{FF2B5EF4-FFF2-40B4-BE49-F238E27FC236}">
                <a16:creationId xmlns:a16="http://schemas.microsoft.com/office/drawing/2014/main" id="{52CE6787-00A4-4C12-BE54-95044861CCCF}"/>
              </a:ext>
            </a:extLst>
          </p:cNvPr>
          <p:cNvSpPr/>
          <p:nvPr/>
        </p:nvSpPr>
        <p:spPr>
          <a:xfrm>
            <a:off x="6852084" y="5538115"/>
            <a:ext cx="936104" cy="863600"/>
          </a:xfrm>
          <a:prstGeom prst="flowChartConnector">
            <a:avLst/>
          </a:prstGeom>
          <a:solidFill>
            <a:schemeClr val="tx2">
              <a:lumMod val="20000"/>
              <a:lumOff val="80000"/>
            </a:schemeClr>
          </a:solidFill>
          <a:ln w="254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2">
                    <a:lumMod val="75000"/>
                  </a:schemeClr>
                </a:solidFill>
              </a:rPr>
              <a:t>…</a:t>
            </a:r>
          </a:p>
        </p:txBody>
      </p:sp>
      <p:cxnSp>
        <p:nvCxnSpPr>
          <p:cNvPr id="16" name="Straight Connector 15">
            <a:extLst>
              <a:ext uri="{FF2B5EF4-FFF2-40B4-BE49-F238E27FC236}">
                <a16:creationId xmlns:a16="http://schemas.microsoft.com/office/drawing/2014/main" id="{6B081CAD-46C0-49CE-B987-776B762FC4AA}"/>
              </a:ext>
            </a:extLst>
          </p:cNvPr>
          <p:cNvCxnSpPr>
            <a:cxnSpLocks/>
          </p:cNvCxnSpPr>
          <p:nvPr/>
        </p:nvCxnSpPr>
        <p:spPr>
          <a:xfrm flipV="1">
            <a:off x="8616280" y="3860800"/>
            <a:ext cx="216024" cy="449088"/>
          </a:xfrm>
          <a:prstGeom prst="line">
            <a:avLst/>
          </a:prstGeom>
          <a:ln>
            <a:solidFill>
              <a:schemeClr val="accent3">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24A2C46-F4C9-40C7-8A5A-CE047661DD44}"/>
              </a:ext>
            </a:extLst>
          </p:cNvPr>
          <p:cNvCxnSpPr>
            <a:cxnSpLocks/>
            <a:stCxn id="14" idx="7"/>
          </p:cNvCxnSpPr>
          <p:nvPr/>
        </p:nvCxnSpPr>
        <p:spPr>
          <a:xfrm flipV="1">
            <a:off x="7651099" y="5308118"/>
            <a:ext cx="389117" cy="356468"/>
          </a:xfrm>
          <a:prstGeom prst="line">
            <a:avLst/>
          </a:prstGeom>
          <a:ln>
            <a:solidFill>
              <a:schemeClr val="accent3">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8B40200-FC9C-4440-8A5F-1C701522BEC6}"/>
              </a:ext>
            </a:extLst>
          </p:cNvPr>
          <p:cNvCxnSpPr>
            <a:cxnSpLocks/>
          </p:cNvCxnSpPr>
          <p:nvPr/>
        </p:nvCxnSpPr>
        <p:spPr>
          <a:xfrm flipV="1">
            <a:off x="9012324" y="4509120"/>
            <a:ext cx="540060" cy="169076"/>
          </a:xfrm>
          <a:prstGeom prst="line">
            <a:avLst/>
          </a:prstGeom>
          <a:ln>
            <a:solidFill>
              <a:schemeClr val="accent3">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DC20283-1C97-4390-95C5-269FC44955A1}"/>
              </a:ext>
            </a:extLst>
          </p:cNvPr>
          <p:cNvCxnSpPr>
            <a:cxnSpLocks/>
          </p:cNvCxnSpPr>
          <p:nvPr/>
        </p:nvCxnSpPr>
        <p:spPr>
          <a:xfrm>
            <a:off x="8983247" y="5127284"/>
            <a:ext cx="396044" cy="237418"/>
          </a:xfrm>
          <a:prstGeom prst="line">
            <a:avLst/>
          </a:prstGeom>
          <a:ln>
            <a:solidFill>
              <a:schemeClr val="accent3">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D43EF37-27EB-4CA3-A4B4-AF2B56AC8798}"/>
              </a:ext>
            </a:extLst>
          </p:cNvPr>
          <p:cNvCxnSpPr>
            <a:cxnSpLocks/>
            <a:endCxn id="12" idx="0"/>
          </p:cNvCxnSpPr>
          <p:nvPr/>
        </p:nvCxnSpPr>
        <p:spPr>
          <a:xfrm>
            <a:off x="8544272" y="5364702"/>
            <a:ext cx="162018" cy="487357"/>
          </a:xfrm>
          <a:prstGeom prst="line">
            <a:avLst/>
          </a:prstGeom>
          <a:ln>
            <a:solidFill>
              <a:schemeClr val="accent3">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7118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1+#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1+#ppt_w/2"/>
                                          </p:val>
                                        </p:tav>
                                        <p:tav tm="100000">
                                          <p:val>
                                            <p:strVal val="#ppt_x"/>
                                          </p:val>
                                        </p:tav>
                                      </p:tavLst>
                                    </p:anim>
                                    <p:anim calcmode="lin" valueType="num">
                                      <p:cBhvr additive="base">
                                        <p:cTn id="20" dur="5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1+#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1+#ppt_w/2"/>
                                          </p:val>
                                        </p:tav>
                                        <p:tav tm="100000">
                                          <p:val>
                                            <p:strVal val="#ppt_x"/>
                                          </p:val>
                                        </p:tav>
                                      </p:tavLst>
                                    </p:anim>
                                    <p:anim calcmode="lin" valueType="num">
                                      <p:cBhvr additive="base">
                                        <p:cTn id="28" dur="500" fill="hold"/>
                                        <p:tgtEl>
                                          <p:spTgt spid="11"/>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1+#ppt_w/2"/>
                                          </p:val>
                                        </p:tav>
                                        <p:tav tm="100000">
                                          <p:val>
                                            <p:strVal val="#ppt_x"/>
                                          </p:val>
                                        </p:tav>
                                      </p:tavLst>
                                    </p:anim>
                                    <p:anim calcmode="lin" valueType="num">
                                      <p:cBhvr additive="base">
                                        <p:cTn id="32" dur="500" fill="hold"/>
                                        <p:tgtEl>
                                          <p:spTgt spid="12"/>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1+#ppt_w/2"/>
                                          </p:val>
                                        </p:tav>
                                        <p:tav tm="100000">
                                          <p:val>
                                            <p:strVal val="#ppt_x"/>
                                          </p:val>
                                        </p:tav>
                                      </p:tavLst>
                                    </p:anim>
                                    <p:anim calcmode="lin" valueType="num">
                                      <p:cBhvr additive="base">
                                        <p:cTn id="36" dur="500" fill="hold"/>
                                        <p:tgtEl>
                                          <p:spTgt spid="14"/>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anim calcmode="lin" valueType="num">
                                      <p:cBhvr additive="base">
                                        <p:cTn id="39" dur="500" fill="hold"/>
                                        <p:tgtEl>
                                          <p:spTgt spid="16"/>
                                        </p:tgtEl>
                                        <p:attrNameLst>
                                          <p:attrName>ppt_x</p:attrName>
                                        </p:attrNameLst>
                                      </p:cBhvr>
                                      <p:tavLst>
                                        <p:tav tm="0">
                                          <p:val>
                                            <p:strVal val="1+#ppt_w/2"/>
                                          </p:val>
                                        </p:tav>
                                        <p:tav tm="100000">
                                          <p:val>
                                            <p:strVal val="#ppt_x"/>
                                          </p:val>
                                        </p:tav>
                                      </p:tavLst>
                                    </p:anim>
                                    <p:anim calcmode="lin" valueType="num">
                                      <p:cBhvr additive="base">
                                        <p:cTn id="40" dur="500" fill="hold"/>
                                        <p:tgtEl>
                                          <p:spTgt spid="1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anim calcmode="lin" valueType="num">
                                      <p:cBhvr additive="base">
                                        <p:cTn id="47" dur="500" fill="hold"/>
                                        <p:tgtEl>
                                          <p:spTgt spid="24"/>
                                        </p:tgtEl>
                                        <p:attrNameLst>
                                          <p:attrName>ppt_x</p:attrName>
                                        </p:attrNameLst>
                                      </p:cBhvr>
                                      <p:tavLst>
                                        <p:tav tm="0">
                                          <p:val>
                                            <p:strVal val="1+#ppt_w/2"/>
                                          </p:val>
                                        </p:tav>
                                        <p:tav tm="100000">
                                          <p:val>
                                            <p:strVal val="#ppt_x"/>
                                          </p:val>
                                        </p:tav>
                                      </p:tavLst>
                                    </p:anim>
                                    <p:anim calcmode="lin" valueType="num">
                                      <p:cBhvr additive="base">
                                        <p:cTn id="48" dur="500" fill="hold"/>
                                        <p:tgtEl>
                                          <p:spTgt spid="24"/>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anim calcmode="lin" valueType="num">
                                      <p:cBhvr additive="base">
                                        <p:cTn id="51" dur="500" fill="hold"/>
                                        <p:tgtEl>
                                          <p:spTgt spid="29"/>
                                        </p:tgtEl>
                                        <p:attrNameLst>
                                          <p:attrName>ppt_x</p:attrName>
                                        </p:attrNameLst>
                                      </p:cBhvr>
                                      <p:tavLst>
                                        <p:tav tm="0">
                                          <p:val>
                                            <p:strVal val="1+#ppt_w/2"/>
                                          </p:val>
                                        </p:tav>
                                        <p:tav tm="100000">
                                          <p:val>
                                            <p:strVal val="#ppt_x"/>
                                          </p:val>
                                        </p:tav>
                                      </p:tavLst>
                                    </p:anim>
                                    <p:anim calcmode="lin" valueType="num">
                                      <p:cBhvr additive="base">
                                        <p:cTn id="52" dur="500" fill="hold"/>
                                        <p:tgtEl>
                                          <p:spTgt spid="29"/>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1+#ppt_w/2"/>
                                          </p:val>
                                        </p:tav>
                                        <p:tav tm="100000">
                                          <p:val>
                                            <p:strVal val="#ppt_x"/>
                                          </p:val>
                                        </p:tav>
                                      </p:tavLst>
                                    </p:anim>
                                    <p:anim calcmode="lin" valueType="num">
                                      <p:cBhvr additive="base">
                                        <p:cTn id="56" dur="5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P spid="10" grpId="0" animBg="1"/>
      <p:bldP spid="11" grpId="0" animBg="1"/>
      <p:bldP spid="12" grpId="0" animBg="1"/>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G_SECLEVEL" val="SEC1"/>
</p:tagLst>
</file>

<file path=ppt/tags/tag4.xml><?xml version="1.0" encoding="utf-8"?>
<p:tagLst xmlns:a="http://schemas.openxmlformats.org/drawingml/2006/main" xmlns:r="http://schemas.openxmlformats.org/officeDocument/2006/relationships" xmlns:p="http://schemas.openxmlformats.org/presentationml/2006/main">
  <p:tag name="CG_SECLEVEL" val="SEC1"/>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D_Capgemini 2018_Final.potx  -  Read-Only" id="{03BC5D47-B018-46FB-87A9-97E000F354C3}" vid="{4C0418F6-DD04-4F6B-96DD-D59F57EAD061}"/>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D_Capgemini 2018_Final.potx  -  Read-Only" id="{03BC5D47-B018-46FB-87A9-97E000F354C3}" vid="{EA48F85B-54A3-4257-8419-A5F8E90666DE}"/>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D_Capgemini 2018_Final.potx  -  Read-Only" id="{03BC5D47-B018-46FB-87A9-97E000F354C3}" vid="{EF447670-0EFF-4F9E-BB5C-DE5FCCE3E37D}"/>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D_Capgemini 2018_Final.potx  -  Read-Only" id="{03BC5D47-B018-46FB-87A9-97E000F354C3}" vid="{86420E5C-D6A8-43C5-86D3-FC755CF6FA75}"/>
    </a:ext>
  </a:ext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0B4AE839BDA9B4BB84E0DB0D66D6608" ma:contentTypeVersion="1" ma:contentTypeDescription="Create a new document." ma:contentTypeScope="" ma:versionID="66d016973438bd74f26b5ad22c6082c9">
  <xsd:schema xmlns:xsd="http://www.w3.org/2001/XMLSchema" xmlns:xs="http://www.w3.org/2001/XMLSchema" xmlns:p="http://schemas.microsoft.com/office/2006/metadata/properties" xmlns:ns2="http://schemas.microsoft.com/sharepoint/v4" targetNamespace="http://schemas.microsoft.com/office/2006/metadata/properties" ma:root="true" ma:fieldsID="c79c8594d4fa4c9fd200c91a62336472"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FA466D-C89D-4628-A386-BAE3618D8081}">
  <ds:schemaRefs>
    <ds:schemaRef ds:uri="http://schemas.microsoft.com/sharepoint/v3/contenttype/forms"/>
  </ds:schemaRefs>
</ds:datastoreItem>
</file>

<file path=customXml/itemProps2.xml><?xml version="1.0" encoding="utf-8"?>
<ds:datastoreItem xmlns:ds="http://schemas.openxmlformats.org/officeDocument/2006/customXml" ds:itemID="{D2325FB2-E7FD-41EF-AFFB-331248C04FBF}">
  <ds:schemaRefs>
    <ds:schemaRef ds:uri="http://purl.org/dc/dcmitype/"/>
    <ds:schemaRef ds:uri="http://schemas.microsoft.com/office/2006/documentManagement/types"/>
    <ds:schemaRef ds:uri="http://schemas.openxmlformats.org/package/2006/metadata/core-properties"/>
    <ds:schemaRef ds:uri="http://purl.org/dc/elements/1.1/"/>
    <ds:schemaRef ds:uri="http://www.w3.org/XML/1998/namespace"/>
    <ds:schemaRef ds:uri="http://purl.org/dc/terms/"/>
    <ds:schemaRef ds:uri="http://schemas.microsoft.com/office/infopath/2007/PartnerControls"/>
    <ds:schemaRef ds:uri="http://schemas.microsoft.com/sharepoint/v4"/>
    <ds:schemaRef ds:uri="http://schemas.microsoft.com/office/2006/metadata/properties"/>
  </ds:schemaRefs>
</ds:datastoreItem>
</file>

<file path=customXml/itemProps3.xml><?xml version="1.0" encoding="utf-8"?>
<ds:datastoreItem xmlns:ds="http://schemas.openxmlformats.org/officeDocument/2006/customXml" ds:itemID="{589A4DB4-A793-49BF-8134-3236172B75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D_Capgemini 2018_Final</Template>
  <TotalTime>0</TotalTime>
  <Words>748</Words>
  <Application>Microsoft Office PowerPoint</Application>
  <PresentationFormat>Widescreen</PresentationFormat>
  <Paragraphs>152</Paragraphs>
  <Slides>9</Slides>
  <Notes>7</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3" baseType="lpstr">
      <vt:lpstr>Arial</vt:lpstr>
      <vt:lpstr>Calibri</vt:lpstr>
      <vt:lpstr>Courier New</vt:lpstr>
      <vt:lpstr>Myriad Pro</vt:lpstr>
      <vt:lpstr>Ubuntu</vt:lpstr>
      <vt:lpstr>Ubuntu Bold</vt:lpstr>
      <vt:lpstr>Ubuntu Light</vt:lpstr>
      <vt:lpstr>Verdana</vt:lpstr>
      <vt:lpstr>Wingdings</vt:lpstr>
      <vt:lpstr>Capgemini 2017_Cover slides</vt:lpstr>
      <vt:lpstr>Section slides</vt:lpstr>
      <vt:lpstr>Content Layouts</vt:lpstr>
      <vt:lpstr>Content and Image Layouts</vt:lpstr>
      <vt:lpstr>think-cell Slide</vt:lpstr>
      <vt:lpstr>Semi-automated knowledge graph creation Overlaps between AI and Data Management  Data Management Community Call</vt:lpstr>
      <vt:lpstr>Promises of knowledge graphs ...</vt:lpstr>
      <vt:lpstr>NLP speeds up the (mostly tedious) creation of a knowledge graph</vt:lpstr>
      <vt:lpstr>Every corporate AI project is closely intertwined with information management</vt:lpstr>
      <vt:lpstr>How can we convert unstructured data to structured data?  </vt:lpstr>
      <vt:lpstr>PowerPoint Presentation</vt:lpstr>
      <vt:lpstr>PowerPoint Presentation</vt:lpstr>
      <vt:lpstr>Findings</vt:lpstr>
      <vt:lpstr>PowerPoint Presentation</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Tim Kettenacker</dc:creator>
  <cp:lastModifiedBy>Jabeen, Gul</cp:lastModifiedBy>
  <cp:revision>290</cp:revision>
  <dcterms:created xsi:type="dcterms:W3CDTF">2018-12-06T08:17:30Z</dcterms:created>
  <dcterms:modified xsi:type="dcterms:W3CDTF">2019-11-22T14:3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B4AE839BDA9B4BB84E0DB0D66D6608</vt:lpwstr>
  </property>
</Properties>
</file>